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5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7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74.xml" ContentType="application/vnd.openxmlformats-officedocument.presentationml.tags+xml"/>
  <Override PartName="/ppt/notesSlides/notesSlide5.xml" ContentType="application/vnd.openxmlformats-officedocument.presentationml.notesSlide+xml"/>
  <Override PartName="/ppt/tags/tag75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76.xml" ContentType="application/vnd.openxmlformats-officedocument.presentationml.tags+xml"/>
  <Override PartName="/ppt/notesSlides/notesSlide9.xml" ContentType="application/vnd.openxmlformats-officedocument.presentationml.notesSlide+xml"/>
  <Override PartName="/ppt/tags/tag77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8.xml" ContentType="application/vnd.openxmlformats-officedocument.presentationml.tags+xml"/>
  <Override PartName="/ppt/notesSlides/notesSlide12.xml" ContentType="application/vnd.openxmlformats-officedocument.presentationml.notesSlide+xml"/>
  <Override PartName="/ppt/tags/tag79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80.xml" ContentType="application/vnd.openxmlformats-officedocument.presentationml.tags+xml"/>
  <Override PartName="/ppt/notesSlides/notesSlide15.xml" ContentType="application/vnd.openxmlformats-officedocument.presentationml.notesSlide+xml"/>
  <Override PartName="/ppt/tags/tag81.xml" ContentType="application/vnd.openxmlformats-officedocument.presentationml.tags+xml"/>
  <Override PartName="/ppt/notesSlides/notesSlide16.xml" ContentType="application/vnd.openxmlformats-officedocument.presentationml.notesSlide+xml"/>
  <Override PartName="/ppt/tags/tag82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83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84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85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tags/tag86.xml" ContentType="application/vnd.openxmlformats-officedocument.presentationml.tags+xml"/>
  <Override PartName="/ppt/notesSlides/notesSlide33.xml" ContentType="application/vnd.openxmlformats-officedocument.presentationml.notesSlide+xml"/>
  <Override PartName="/ppt/tags/tag87.xml" ContentType="application/vnd.openxmlformats-officedocument.presentationml.tags+xml"/>
  <Override PartName="/ppt/notesSlides/notesSlide3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836" r:id="rId5"/>
    <p:sldMasterId id="2147483852" r:id="rId6"/>
    <p:sldMasterId id="2147483868" r:id="rId7"/>
    <p:sldMasterId id="2147483883" r:id="rId8"/>
  </p:sldMasterIdLst>
  <p:notesMasterIdLst>
    <p:notesMasterId r:id="rId43"/>
  </p:notesMasterIdLst>
  <p:handoutMasterIdLst>
    <p:handoutMasterId r:id="rId44"/>
  </p:handoutMasterIdLst>
  <p:sldIdLst>
    <p:sldId id="14061" r:id="rId9"/>
    <p:sldId id="5415" r:id="rId10"/>
    <p:sldId id="14071" r:id="rId11"/>
    <p:sldId id="5329" r:id="rId12"/>
    <p:sldId id="14073" r:id="rId13"/>
    <p:sldId id="5174" r:id="rId14"/>
    <p:sldId id="334" r:id="rId15"/>
    <p:sldId id="5392" r:id="rId16"/>
    <p:sldId id="5175" r:id="rId17"/>
    <p:sldId id="5176" r:id="rId18"/>
    <p:sldId id="4992" r:id="rId19"/>
    <p:sldId id="14057" r:id="rId20"/>
    <p:sldId id="5387" r:id="rId21"/>
    <p:sldId id="14064" r:id="rId22"/>
    <p:sldId id="5179" r:id="rId23"/>
    <p:sldId id="5071" r:id="rId24"/>
    <p:sldId id="5391" r:id="rId25"/>
    <p:sldId id="5347" r:id="rId26"/>
    <p:sldId id="5397" r:id="rId27"/>
    <p:sldId id="5096" r:id="rId28"/>
    <p:sldId id="5396" r:id="rId29"/>
    <p:sldId id="14062" r:id="rId30"/>
    <p:sldId id="339" r:id="rId31"/>
    <p:sldId id="14072" r:id="rId32"/>
    <p:sldId id="14063" r:id="rId33"/>
    <p:sldId id="5369" r:id="rId34"/>
    <p:sldId id="14065" r:id="rId35"/>
    <p:sldId id="14066" r:id="rId36"/>
    <p:sldId id="14067" r:id="rId37"/>
    <p:sldId id="14068" r:id="rId38"/>
    <p:sldId id="14069" r:id="rId39"/>
    <p:sldId id="14070" r:id="rId40"/>
    <p:sldId id="4954" r:id="rId41"/>
    <p:sldId id="5131" r:id="rId42"/>
  </p:sldIdLst>
  <p:sldSz cx="12192000" cy="6858000"/>
  <p:notesSz cx="6797675" cy="9926638"/>
  <p:custDataLst>
    <p:tags r:id="rId4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045B3663-C98E-4520-A96D-30B65C8F55DD}">
          <p14:sldIdLst>
            <p14:sldId id="14061"/>
            <p14:sldId id="5415"/>
            <p14:sldId id="14071"/>
            <p14:sldId id="5329"/>
            <p14:sldId id="14073"/>
            <p14:sldId id="5174"/>
            <p14:sldId id="334"/>
            <p14:sldId id="5392"/>
            <p14:sldId id="5175"/>
            <p14:sldId id="5176"/>
            <p14:sldId id="4992"/>
            <p14:sldId id="14057"/>
            <p14:sldId id="5387"/>
            <p14:sldId id="14064"/>
            <p14:sldId id="5179"/>
            <p14:sldId id="5071"/>
            <p14:sldId id="5391"/>
            <p14:sldId id="5347"/>
            <p14:sldId id="5397"/>
            <p14:sldId id="5096"/>
            <p14:sldId id="5396"/>
            <p14:sldId id="14062"/>
            <p14:sldId id="339"/>
            <p14:sldId id="14072"/>
            <p14:sldId id="14063"/>
            <p14:sldId id="5369"/>
            <p14:sldId id="14065"/>
            <p14:sldId id="14066"/>
            <p14:sldId id="14067"/>
            <p14:sldId id="14068"/>
            <p14:sldId id="14069"/>
            <p14:sldId id="14070"/>
            <p14:sldId id="4954"/>
            <p14:sldId id="513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E6320F"/>
    <a:srgbClr val="C0C0C0"/>
    <a:srgbClr val="F3EDED"/>
    <a:srgbClr val="46CD8B"/>
    <a:srgbClr val="46928B"/>
    <a:srgbClr val="E10000"/>
    <a:srgbClr val="E1320F"/>
    <a:srgbClr val="E6304B"/>
    <a:srgbClr val="F3F2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137" autoAdjust="0"/>
    <p:restoredTop sz="80774" autoAdjust="0"/>
  </p:normalViewPr>
  <p:slideViewPr>
    <p:cSldViewPr snapToGrid="0" showGuides="1">
      <p:cViewPr varScale="1">
        <p:scale>
          <a:sx n="77" d="100"/>
          <a:sy n="77" d="100"/>
        </p:scale>
        <p:origin x="120" y="4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7128"/>
    </p:cViewPr>
  </p:sorterViewPr>
  <p:notesViewPr>
    <p:cSldViewPr snapToGrid="0" showGuides="1">
      <p:cViewPr varScale="1">
        <p:scale>
          <a:sx n="80" d="100"/>
          <a:sy n="80" d="100"/>
        </p:scale>
        <p:origin x="379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slide" Target="slides/slide3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Master" Target="slideMasters/slideMaster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378734133981314"/>
          <c:y val="1.6586214766632433E-2"/>
          <c:w val="0.80504812563416017"/>
          <c:h val="0.9615352903458472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C0C0C0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E6320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6136-4E20-9991-B9A4E62B678A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136-4E20-9991-B9A4E62B678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rgbClr val="004669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5</c:f>
              <c:strCache>
                <c:ptCount val="14"/>
                <c:pt idx="0">
                  <c:v>Bucharest</c:v>
                </c:pt>
                <c:pt idx="1">
                  <c:v>Vienna</c:v>
                </c:pt>
                <c:pt idx="2">
                  <c:v>Copenhagen</c:v>
                </c:pt>
                <c:pt idx="3">
                  <c:v>Budapest</c:v>
                </c:pt>
                <c:pt idx="4">
                  <c:v>Warsaw</c:v>
                </c:pt>
                <c:pt idx="5">
                  <c:v>Prague</c:v>
                </c:pt>
                <c:pt idx="6">
                  <c:v>Berlin</c:v>
                </c:pt>
                <c:pt idx="7">
                  <c:v>Brussels</c:v>
                </c:pt>
                <c:pt idx="8">
                  <c:v>Rome</c:v>
                </c:pt>
                <c:pt idx="9">
                  <c:v>Amsterdam</c:v>
                </c:pt>
                <c:pt idx="10">
                  <c:v>Zurich</c:v>
                </c:pt>
                <c:pt idx="11">
                  <c:v>Moscow</c:v>
                </c:pt>
                <c:pt idx="12">
                  <c:v>Paris</c:v>
                </c:pt>
                <c:pt idx="13">
                  <c:v>London</c:v>
                </c:pt>
              </c:strCache>
            </c:strRef>
          </c:cat>
          <c:val>
            <c:numRef>
              <c:f>Tabelle1!$B$2:$B$15</c:f>
              <c:numCache>
                <c:formatCode>General</c:formatCode>
                <c:ptCount val="14"/>
                <c:pt idx="0">
                  <c:v>287</c:v>
                </c:pt>
                <c:pt idx="1">
                  <c:v>366</c:v>
                </c:pt>
                <c:pt idx="2">
                  <c:v>371</c:v>
                </c:pt>
                <c:pt idx="3">
                  <c:v>397</c:v>
                </c:pt>
                <c:pt idx="4">
                  <c:v>400</c:v>
                </c:pt>
                <c:pt idx="5">
                  <c:v>412</c:v>
                </c:pt>
                <c:pt idx="6">
                  <c:v>460</c:v>
                </c:pt>
                <c:pt idx="7">
                  <c:v>479</c:v>
                </c:pt>
                <c:pt idx="8">
                  <c:v>505</c:v>
                </c:pt>
                <c:pt idx="9">
                  <c:v>509</c:v>
                </c:pt>
                <c:pt idx="10">
                  <c:v>706</c:v>
                </c:pt>
                <c:pt idx="11">
                  <c:v>904</c:v>
                </c:pt>
                <c:pt idx="12">
                  <c:v>1055</c:v>
                </c:pt>
                <c:pt idx="13">
                  <c:v>21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136-4E20-9991-B9A4E62B67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10"/>
        <c:axId val="227559016"/>
        <c:axId val="227275096"/>
      </c:barChart>
      <c:catAx>
        <c:axId val="227559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rgbClr val="004669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de-DE"/>
          </a:p>
        </c:txPr>
        <c:crossAx val="227275096"/>
        <c:crosses val="autoZero"/>
        <c:auto val="1"/>
        <c:lblAlgn val="ctr"/>
        <c:lblOffset val="100"/>
        <c:noMultiLvlLbl val="0"/>
      </c:catAx>
      <c:valAx>
        <c:axId val="227275096"/>
        <c:scaling>
          <c:orientation val="minMax"/>
          <c:max val="3100"/>
          <c:min val="200"/>
        </c:scaling>
        <c:delete val="1"/>
        <c:axPos val="t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227559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latin typeface="Corbel" panose="020B0503020204020204" pitchFamily="34" charset="0"/>
        </a:defRPr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687398701516338"/>
          <c:y val="2.0209282527071687E-2"/>
          <c:w val="0.69032823602107973"/>
          <c:h val="0.9595814349458566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C0C0C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6320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94C-4FC5-8343-F014EC0FCB86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rgbClr val="004669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3</c:f>
              <c:strCache>
                <c:ptCount val="12"/>
                <c:pt idx="0">
                  <c:v>Frankreich/Belgien/Österreich</c:v>
                </c:pt>
                <c:pt idx="1">
                  <c:v>Portugal</c:v>
                </c:pt>
                <c:pt idx="2">
                  <c:v>Niederlande</c:v>
                </c:pt>
                <c:pt idx="3">
                  <c:v>Ungarn</c:v>
                </c:pt>
                <c:pt idx="4">
                  <c:v>Irland</c:v>
                </c:pt>
                <c:pt idx="5">
                  <c:v>Slowenien</c:v>
                </c:pt>
                <c:pt idx="6">
                  <c:v>EU</c:v>
                </c:pt>
                <c:pt idx="7">
                  <c:v>Polen</c:v>
                </c:pt>
                <c:pt idx="8">
                  <c:v>Italien</c:v>
                </c:pt>
                <c:pt idx="9">
                  <c:v>Schweden</c:v>
                </c:pt>
                <c:pt idx="10">
                  <c:v>Tschechische Republik</c:v>
                </c:pt>
                <c:pt idx="11">
                  <c:v>Kroatien</c:v>
                </c:pt>
              </c:strCache>
            </c:strRef>
          </c:cat>
          <c:val>
            <c:numRef>
              <c:f>Tabelle1!$B$2:$B$13</c:f>
              <c:numCache>
                <c:formatCode>General</c:formatCode>
                <c:ptCount val="12"/>
                <c:pt idx="0">
                  <c:v>210.96100000000001</c:v>
                </c:pt>
                <c:pt idx="1">
                  <c:v>195.48699999999999</c:v>
                </c:pt>
                <c:pt idx="2">
                  <c:v>170.55799999999999</c:v>
                </c:pt>
                <c:pt idx="3">
                  <c:v>151.77699999999999</c:v>
                </c:pt>
                <c:pt idx="4">
                  <c:v>137.626</c:v>
                </c:pt>
                <c:pt idx="5">
                  <c:v>128.435</c:v>
                </c:pt>
                <c:pt idx="6">
                  <c:v>119.83799999999999</c:v>
                </c:pt>
                <c:pt idx="7">
                  <c:v>96.957999999999998</c:v>
                </c:pt>
                <c:pt idx="8">
                  <c:v>95.635999999999996</c:v>
                </c:pt>
                <c:pt idx="9">
                  <c:v>91.733999999999995</c:v>
                </c:pt>
                <c:pt idx="10">
                  <c:v>78.706999999999994</c:v>
                </c:pt>
                <c:pt idx="11">
                  <c:v>75.06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4C-4FC5-8343-F014EC0FCB8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10"/>
        <c:axId val="227559016"/>
        <c:axId val="227275096"/>
      </c:barChart>
      <c:catAx>
        <c:axId val="2275590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rgbClr val="004669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de-DE"/>
          </a:p>
        </c:txPr>
        <c:crossAx val="227275096"/>
        <c:crosses val="autoZero"/>
        <c:auto val="1"/>
        <c:lblAlgn val="ctr"/>
        <c:lblOffset val="100"/>
        <c:noMultiLvlLbl val="0"/>
      </c:catAx>
      <c:valAx>
        <c:axId val="227275096"/>
        <c:scaling>
          <c:orientation val="minMax"/>
          <c:min val="30"/>
        </c:scaling>
        <c:delete val="1"/>
        <c:axPos val="t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227559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latin typeface="Corbel" panose="020B0503020204020204" pitchFamily="34" charset="0"/>
        </a:defRPr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321" tIns="45661" rIns="91321" bIns="45661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321" tIns="45661" rIns="91321" bIns="45661" rtlCol="0"/>
          <a:lstStyle>
            <a:lvl1pPr algn="r">
              <a:defRPr sz="1200"/>
            </a:lvl1pPr>
          </a:lstStyle>
          <a:p>
            <a:fld id="{42691DDE-BA6A-4F57-909C-98F49C72955F}" type="datetimeFigureOut">
              <a:rPr lang="en-GB" smtClean="0"/>
              <a:t>04/03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8055"/>
          </a:xfrm>
          <a:prstGeom prst="rect">
            <a:avLst/>
          </a:prstGeom>
        </p:spPr>
        <p:txBody>
          <a:bodyPr vert="horz" lIns="91321" tIns="45661" rIns="91321" bIns="45661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321" tIns="45661" rIns="91321" bIns="45661" rtlCol="0" anchor="b"/>
          <a:lstStyle>
            <a:lvl1pPr algn="r">
              <a:defRPr sz="1200"/>
            </a:lvl1pPr>
          </a:lstStyle>
          <a:p>
            <a:fld id="{3DC50D33-42BE-4A7B-9A0E-84D31BC6EF4B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4553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321" tIns="45661" rIns="91321" bIns="45661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321" tIns="45661" rIns="91321" bIns="45661" rtlCol="0"/>
          <a:lstStyle>
            <a:lvl1pPr algn="r">
              <a:defRPr sz="1200"/>
            </a:lvl1pPr>
          </a:lstStyle>
          <a:p>
            <a:fld id="{CBAAC5B1-F58D-4268-BB75-9856A9D794A6}" type="datetimeFigureOut">
              <a:rPr lang="en-GB" smtClean="0"/>
              <a:t>04/03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21" tIns="45661" rIns="91321" bIns="45661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3"/>
          </a:xfrm>
          <a:prstGeom prst="rect">
            <a:avLst/>
          </a:prstGeom>
        </p:spPr>
        <p:txBody>
          <a:bodyPr vert="horz" lIns="91321" tIns="45661" rIns="91321" bIns="4566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8055"/>
          </a:xfrm>
          <a:prstGeom prst="rect">
            <a:avLst/>
          </a:prstGeom>
        </p:spPr>
        <p:txBody>
          <a:bodyPr vert="horz" lIns="91321" tIns="45661" rIns="91321" bIns="45661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321" tIns="45661" rIns="91321" bIns="45661" rtlCol="0" anchor="b"/>
          <a:lstStyle>
            <a:lvl1pPr algn="r">
              <a:defRPr sz="1200"/>
            </a:lvl1pPr>
          </a:lstStyle>
          <a:p>
            <a:fld id="{65900C33-90AE-4963-9AD8-3B07939F57E9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9606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cbre.vo.llnwd.net/grgservices/secure/2019%20CBRE%20POOC_Q9bx.pdf?e=1636497438&amp;h=87ddaf24885732b8b545266cc1b6c779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dirty="0" err="1"/>
              <a:t>Lep</a:t>
            </a:r>
            <a:r>
              <a:rPr lang="de-AT" dirty="0"/>
              <a:t> </a:t>
            </a:r>
            <a:r>
              <a:rPr lang="de-AT" dirty="0" err="1"/>
              <a:t>pozdrav</a:t>
            </a:r>
            <a:r>
              <a:rPr lang="sl-SI" dirty="0"/>
              <a:t> vsem udeležencem</a:t>
            </a:r>
            <a:r>
              <a:rPr lang="de-AT" dirty="0"/>
              <a:t> </a:t>
            </a:r>
            <a:r>
              <a:rPr lang="de-AT" dirty="0" err="1"/>
              <a:t>iz</a:t>
            </a:r>
            <a:r>
              <a:rPr lang="de-AT" dirty="0"/>
              <a:t> </a:t>
            </a:r>
            <a:r>
              <a:rPr lang="de-AT" dirty="0" err="1"/>
              <a:t>Celovca</a:t>
            </a:r>
            <a:r>
              <a:rPr lang="de-AT" dirty="0"/>
              <a:t>, </a:t>
            </a:r>
            <a:r>
              <a:rPr lang="sl-SI" dirty="0"/>
              <a:t>javim se vam </a:t>
            </a:r>
            <a:r>
              <a:rPr lang="de-AT" dirty="0" err="1"/>
              <a:t>iz</a:t>
            </a:r>
            <a:r>
              <a:rPr lang="de-AT" dirty="0"/>
              <a:t> </a:t>
            </a:r>
            <a:r>
              <a:rPr lang="de-AT" dirty="0" err="1"/>
              <a:t>prostorov</a:t>
            </a:r>
            <a:r>
              <a:rPr lang="de-AT" dirty="0"/>
              <a:t> </a:t>
            </a:r>
            <a:r>
              <a:rPr lang="de-AT" dirty="0" err="1"/>
              <a:t>Slovenske</a:t>
            </a:r>
            <a:r>
              <a:rPr lang="de-AT" dirty="0"/>
              <a:t> </a:t>
            </a:r>
            <a:r>
              <a:rPr lang="de-AT" dirty="0" err="1"/>
              <a:t>gospodarske</a:t>
            </a:r>
            <a:r>
              <a:rPr lang="de-AT" dirty="0"/>
              <a:t> </a:t>
            </a:r>
            <a:r>
              <a:rPr lang="de-AT" dirty="0" err="1"/>
              <a:t>zveze</a:t>
            </a:r>
            <a:r>
              <a:rPr lang="de-AT" dirty="0"/>
              <a:t>.</a:t>
            </a:r>
          </a:p>
          <a:p>
            <a:r>
              <a:rPr lang="de-AT" dirty="0"/>
              <a:t>Na </a:t>
            </a:r>
            <a:r>
              <a:rPr lang="de-AT" dirty="0" err="1"/>
              <a:t>za</a:t>
            </a:r>
            <a:r>
              <a:rPr lang="sl-SI" dirty="0"/>
              <a:t>č</a:t>
            </a:r>
            <a:r>
              <a:rPr lang="de-AT" dirty="0" err="1"/>
              <a:t>etku</a:t>
            </a:r>
            <a:r>
              <a:rPr lang="de-AT" dirty="0"/>
              <a:t> se bi </a:t>
            </a:r>
            <a:r>
              <a:rPr lang="de-AT" dirty="0" err="1"/>
              <a:t>rad</a:t>
            </a:r>
            <a:r>
              <a:rPr lang="de-AT" dirty="0"/>
              <a:t> </a:t>
            </a:r>
            <a:r>
              <a:rPr lang="de-AT" dirty="0" err="1"/>
              <a:t>zahvalil</a:t>
            </a:r>
            <a:r>
              <a:rPr lang="de-AT" dirty="0"/>
              <a:t> Niko </a:t>
            </a:r>
            <a:r>
              <a:rPr lang="de-AT" dirty="0" err="1"/>
              <a:t>Wakounigu</a:t>
            </a:r>
            <a:r>
              <a:rPr lang="de-AT" dirty="0"/>
              <a:t> </a:t>
            </a:r>
            <a:r>
              <a:rPr lang="de-AT" dirty="0" err="1"/>
              <a:t>za</a:t>
            </a:r>
            <a:r>
              <a:rPr lang="de-AT" dirty="0"/>
              <a:t> </a:t>
            </a:r>
            <a:r>
              <a:rPr lang="de-AT" dirty="0" err="1"/>
              <a:t>organizacijo</a:t>
            </a:r>
            <a:r>
              <a:rPr lang="de-AT" dirty="0"/>
              <a:t> </a:t>
            </a:r>
            <a:r>
              <a:rPr lang="de-AT" dirty="0" err="1"/>
              <a:t>tega</a:t>
            </a:r>
            <a:r>
              <a:rPr lang="de-AT" dirty="0"/>
              <a:t> </a:t>
            </a:r>
            <a:r>
              <a:rPr lang="de-AT" dirty="0" err="1"/>
              <a:t>webinarja</a:t>
            </a:r>
            <a:r>
              <a:rPr lang="de-AT" dirty="0"/>
              <a:t> in </a:t>
            </a:r>
            <a:r>
              <a:rPr lang="de-AT" dirty="0" err="1"/>
              <a:t>za</a:t>
            </a:r>
            <a:r>
              <a:rPr lang="de-AT" dirty="0"/>
              <a:t> </a:t>
            </a:r>
            <a:r>
              <a:rPr lang="de-AT" dirty="0" err="1"/>
              <a:t>dana</a:t>
            </a:r>
            <a:r>
              <a:rPr lang="sl-SI" dirty="0"/>
              <a:t>š</a:t>
            </a:r>
            <a:r>
              <a:rPr lang="de-AT" dirty="0" err="1"/>
              <a:t>nji</a:t>
            </a:r>
            <a:r>
              <a:rPr lang="de-AT" dirty="0"/>
              <a:t> support.</a:t>
            </a:r>
          </a:p>
          <a:p>
            <a:endParaRPr lang="de-AT" dirty="0"/>
          </a:p>
          <a:p>
            <a:r>
              <a:rPr lang="de-AT" dirty="0"/>
              <a:t>Danes </a:t>
            </a:r>
            <a:r>
              <a:rPr lang="de-AT" dirty="0" err="1"/>
              <a:t>vam</a:t>
            </a:r>
            <a:r>
              <a:rPr lang="de-AT" dirty="0"/>
              <a:t> bi </a:t>
            </a:r>
            <a:r>
              <a:rPr lang="de-AT" dirty="0" err="1"/>
              <a:t>rad</a:t>
            </a:r>
            <a:r>
              <a:rPr lang="de-AT" dirty="0"/>
              <a:t> </a:t>
            </a:r>
            <a:r>
              <a:rPr lang="de-AT" dirty="0" err="1"/>
              <a:t>predstavil</a:t>
            </a:r>
            <a:r>
              <a:rPr lang="de-AT" dirty="0"/>
              <a:t> </a:t>
            </a:r>
            <a:r>
              <a:rPr lang="sl-SI" dirty="0"/>
              <a:t>A</a:t>
            </a:r>
            <a:r>
              <a:rPr lang="de-AT" dirty="0" err="1"/>
              <a:t>vstrijo</a:t>
            </a:r>
            <a:r>
              <a:rPr lang="de-AT" dirty="0"/>
              <a:t>, </a:t>
            </a:r>
            <a:r>
              <a:rPr lang="de-AT" dirty="0" err="1"/>
              <a:t>morda</a:t>
            </a:r>
            <a:r>
              <a:rPr lang="de-AT" dirty="0"/>
              <a:t> </a:t>
            </a:r>
            <a:r>
              <a:rPr lang="de-AT" dirty="0" err="1"/>
              <a:t>iz</a:t>
            </a:r>
            <a:r>
              <a:rPr lang="de-AT" dirty="0"/>
              <a:t> </a:t>
            </a:r>
            <a:r>
              <a:rPr lang="sl-SI" dirty="0"/>
              <a:t>zornega  kota</a:t>
            </a:r>
            <a:r>
              <a:rPr lang="de-AT" dirty="0"/>
              <a:t>, </a:t>
            </a:r>
            <a:r>
              <a:rPr lang="de-AT" dirty="0" err="1"/>
              <a:t>katerega</a:t>
            </a:r>
            <a:r>
              <a:rPr lang="de-AT" dirty="0"/>
              <a:t> </a:t>
            </a:r>
            <a:r>
              <a:rPr lang="sl-SI" dirty="0"/>
              <a:t>š</a:t>
            </a:r>
            <a:r>
              <a:rPr lang="de-AT" dirty="0"/>
              <a:t>e ne </a:t>
            </a:r>
            <a:r>
              <a:rPr lang="de-AT" dirty="0" err="1"/>
              <a:t>poznate</a:t>
            </a:r>
            <a:r>
              <a:rPr lang="de-AT" dirty="0"/>
              <a:t>. Kaj </a:t>
            </a:r>
            <a:r>
              <a:rPr lang="de-AT" dirty="0" err="1"/>
              <a:t>lahko</a:t>
            </a:r>
            <a:r>
              <a:rPr lang="de-AT" dirty="0"/>
              <a:t> </a:t>
            </a:r>
            <a:r>
              <a:rPr lang="de-AT" dirty="0" err="1"/>
              <a:t>torej</a:t>
            </a:r>
            <a:r>
              <a:rPr lang="de-AT" dirty="0"/>
              <a:t> </a:t>
            </a:r>
            <a:r>
              <a:rPr lang="de-AT" dirty="0" err="1"/>
              <a:t>pri</a:t>
            </a:r>
            <a:r>
              <a:rPr lang="sl-SI" dirty="0"/>
              <a:t>č</a:t>
            </a:r>
            <a:r>
              <a:rPr lang="de-AT" dirty="0" err="1"/>
              <a:t>akujete</a:t>
            </a:r>
            <a:r>
              <a:rPr lang="sl-SI" dirty="0"/>
              <a:t> v tem današnjem webinarju</a:t>
            </a:r>
            <a:r>
              <a:rPr lang="de-AT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AT" dirty="0" err="1"/>
              <a:t>Kratek</a:t>
            </a:r>
            <a:r>
              <a:rPr lang="de-AT" dirty="0"/>
              <a:t> </a:t>
            </a:r>
            <a:r>
              <a:rPr lang="de-AT" dirty="0" err="1"/>
              <a:t>pregled</a:t>
            </a:r>
            <a:r>
              <a:rPr lang="de-AT" dirty="0"/>
              <a:t> o </a:t>
            </a:r>
            <a:r>
              <a:rPr lang="de-AT" dirty="0" err="1"/>
              <a:t>strukturi</a:t>
            </a:r>
            <a:r>
              <a:rPr lang="de-AT" dirty="0"/>
              <a:t> </a:t>
            </a:r>
            <a:r>
              <a:rPr lang="de-AT" dirty="0" err="1"/>
              <a:t>avstrijskega</a:t>
            </a:r>
            <a:r>
              <a:rPr lang="de-AT" dirty="0"/>
              <a:t>  </a:t>
            </a:r>
            <a:r>
              <a:rPr lang="de-AT" dirty="0" err="1"/>
              <a:t>gospodarstva</a:t>
            </a:r>
            <a:r>
              <a:rPr lang="sl-SI" dirty="0"/>
              <a:t>, nekaj osnovnih podatkov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l-SI" dirty="0"/>
              <a:t>Nekaj informacij v zvezi z ustanovitvijo družbe z omejeno odgovornostjo, nekaj novosti v tem kontekstu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l-SI" dirty="0"/>
              <a:t>Relevantne informacije kar se tiče obrtnega zako</a:t>
            </a:r>
            <a:r>
              <a:rPr lang="de-AT" dirty="0"/>
              <a:t>n</a:t>
            </a:r>
            <a:r>
              <a:rPr lang="sl-SI" dirty="0"/>
              <a:t>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l-SI" dirty="0"/>
              <a:t>Novosti v zvezi s čisto novo pravno obliko družbe, ki je možno ustanoviti  1.1.2024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l-SI" dirty="0"/>
              <a:t>Nekaj praktičnih navodil v zvezi s pripravo tržnega vstopa v Avstrij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l-SI" dirty="0"/>
              <a:t>in na koncu še nekaj mnenj oz. izkušenj  slovenskih podjetij, ki so že prisotni na avstrijskim trgu z lastnim podjetjem</a:t>
            </a:r>
            <a:endParaRPr lang="de-AT" dirty="0"/>
          </a:p>
          <a:p>
            <a:endParaRPr lang="de-AT" dirty="0"/>
          </a:p>
          <a:p>
            <a:endParaRPr lang="de-AT" dirty="0"/>
          </a:p>
          <a:p>
            <a:r>
              <a:rPr lang="de-AT" dirty="0"/>
              <a:t>Na </a:t>
            </a:r>
            <a:r>
              <a:rPr lang="de-AT" dirty="0" err="1"/>
              <a:t>zacetku</a:t>
            </a:r>
            <a:r>
              <a:rPr lang="de-AT" dirty="0"/>
              <a:t> se bi </a:t>
            </a:r>
            <a:r>
              <a:rPr lang="de-AT" dirty="0" err="1"/>
              <a:t>rad</a:t>
            </a:r>
            <a:r>
              <a:rPr lang="de-AT" dirty="0"/>
              <a:t> </a:t>
            </a:r>
            <a:r>
              <a:rPr lang="de-AT" dirty="0" err="1"/>
              <a:t>zahvalil</a:t>
            </a:r>
            <a:r>
              <a:rPr lang="de-AT" dirty="0"/>
              <a:t> Niko </a:t>
            </a:r>
            <a:r>
              <a:rPr lang="de-AT" dirty="0" err="1"/>
              <a:t>Wakounigu</a:t>
            </a:r>
            <a:r>
              <a:rPr lang="de-AT" dirty="0"/>
              <a:t>  </a:t>
            </a:r>
            <a:r>
              <a:rPr lang="de-AT" dirty="0" err="1"/>
              <a:t>za</a:t>
            </a:r>
            <a:r>
              <a:rPr lang="de-AT" dirty="0"/>
              <a:t> </a:t>
            </a:r>
            <a:r>
              <a:rPr lang="de-AT" dirty="0" err="1"/>
              <a:t>organizacijo</a:t>
            </a:r>
            <a:r>
              <a:rPr lang="de-AT" dirty="0"/>
              <a:t> </a:t>
            </a:r>
            <a:r>
              <a:rPr lang="de-AT" dirty="0" err="1"/>
              <a:t>tega</a:t>
            </a:r>
            <a:r>
              <a:rPr lang="de-AT" dirty="0"/>
              <a:t> </a:t>
            </a:r>
            <a:r>
              <a:rPr lang="de-AT" dirty="0" err="1"/>
              <a:t>webinarja</a:t>
            </a:r>
            <a:r>
              <a:rPr lang="de-AT" dirty="0"/>
              <a:t> o </a:t>
            </a:r>
            <a:r>
              <a:rPr lang="de-AT" dirty="0" err="1"/>
              <a:t>Avstriji</a:t>
            </a:r>
            <a:r>
              <a:rPr lang="de-AT" dirty="0"/>
              <a:t>.</a:t>
            </a:r>
          </a:p>
          <a:p>
            <a:endParaRPr lang="de-AT" dirty="0"/>
          </a:p>
          <a:p>
            <a:r>
              <a:rPr lang="de-AT" dirty="0"/>
              <a:t>Kaj </a:t>
            </a:r>
            <a:r>
              <a:rPr lang="de-AT" dirty="0" err="1"/>
              <a:t>lahko</a:t>
            </a:r>
            <a:r>
              <a:rPr lang="de-AT" dirty="0"/>
              <a:t> </a:t>
            </a:r>
            <a:r>
              <a:rPr lang="de-AT" dirty="0" err="1"/>
              <a:t>pricakujete</a:t>
            </a:r>
            <a:r>
              <a:rPr lang="de-AT" dirty="0"/>
              <a:t>:  </a:t>
            </a:r>
            <a:r>
              <a:rPr lang="de-AT" dirty="0" err="1"/>
              <a:t>poskusil</a:t>
            </a:r>
            <a:r>
              <a:rPr lang="de-AT" dirty="0"/>
              <a:t> </a:t>
            </a:r>
            <a:r>
              <a:rPr lang="de-AT" dirty="0" err="1"/>
              <a:t>vam</a:t>
            </a:r>
            <a:r>
              <a:rPr lang="de-AT" dirty="0"/>
              <a:t> </a:t>
            </a:r>
            <a:r>
              <a:rPr lang="de-AT" dirty="0" err="1"/>
              <a:t>podati</a:t>
            </a:r>
            <a:r>
              <a:rPr lang="de-AT" dirty="0"/>
              <a:t> </a:t>
            </a:r>
            <a:r>
              <a:rPr lang="de-AT" dirty="0" err="1"/>
              <a:t>kratek</a:t>
            </a:r>
            <a:r>
              <a:rPr lang="de-AT" dirty="0"/>
              <a:t> </a:t>
            </a:r>
            <a:r>
              <a:rPr lang="de-AT" dirty="0" err="1"/>
              <a:t>pregled</a:t>
            </a:r>
            <a:r>
              <a:rPr lang="de-AT" dirty="0"/>
              <a:t> o </a:t>
            </a:r>
            <a:r>
              <a:rPr lang="de-AT" dirty="0" err="1"/>
              <a:t>strukturi</a:t>
            </a:r>
            <a:r>
              <a:rPr lang="de-AT" dirty="0"/>
              <a:t> </a:t>
            </a:r>
            <a:r>
              <a:rPr lang="de-AT" dirty="0" err="1"/>
              <a:t>vastrijskega</a:t>
            </a:r>
            <a:r>
              <a:rPr lang="de-AT" dirty="0"/>
              <a:t>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900C33-90AE-4963-9AD8-3B07939F57E9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90627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l-SI" dirty="0"/>
              <a:t>Samo en kratek primer</a:t>
            </a:r>
            <a:r>
              <a:rPr lang="de-DE" dirty="0"/>
              <a:t>– </a:t>
            </a:r>
            <a:r>
              <a:rPr lang="sl-SI" dirty="0"/>
              <a:t>stavke so skorajda nepoznane v Avstriji.  V primerjavi z 48,1   stavkovnih dni povprečno v EU, smo imeli v letu 2023  v Avstriji 1 stavkovni dan .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900C33-90AE-4963-9AD8-3B07939F57E9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30241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4213"/>
            <a:ext cx="6088063" cy="3425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544" defTabSz="913211">
              <a:buClr>
                <a:srgbClr val="000000"/>
              </a:buClr>
              <a:buSzPts val="1100"/>
              <a:defRPr/>
            </a:pPr>
            <a:r>
              <a:rPr lang="sl-SI" dirty="0"/>
              <a:t>Avstrija ima izjemno razmerje med stroški in kakovostjo</a:t>
            </a:r>
            <a:r>
              <a:rPr lang="fr-FR" dirty="0"/>
              <a:t>!</a:t>
            </a:r>
          </a:p>
          <a:p>
            <a:pPr marL="158544" defTabSz="913211">
              <a:buClr>
                <a:srgbClr val="000000"/>
              </a:buClr>
              <a:buSzPts val="1100"/>
              <a:defRPr/>
            </a:pPr>
            <a:endParaRPr lang="fr-FR" dirty="0"/>
          </a:p>
          <a:p>
            <a:pPr marL="158544" defTabSz="913211">
              <a:buClr>
                <a:srgbClr val="000000"/>
              </a:buClr>
              <a:buSzPts val="1100"/>
              <a:defRPr/>
            </a:pPr>
            <a:r>
              <a:rPr lang="fr-FR" dirty="0"/>
              <a:t>Source: CBRE </a:t>
            </a:r>
            <a:r>
              <a:rPr lang="fr-FR" sz="1100" u="sng" dirty="0">
                <a:solidFill>
                  <a:schemeClr val="hlink"/>
                </a:solidFill>
                <a:hlinkClick r:id="rId3"/>
              </a:rPr>
              <a:t>http://cbre.vo.llnwd.net/grgservices/secure/2019%20CBRE%20POOC_Q9bx.pdf?e=1636497438&amp;h=87ddaf24885732b8b545266cc1b6c779</a:t>
            </a:r>
            <a:endParaRPr lang="fr-FR" dirty="0"/>
          </a:p>
          <a:p>
            <a:pPr marL="158544"/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2197388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l-SI" dirty="0"/>
              <a:t>Naslednji pomemben faktor sta motivacija sodelavk/sodelavcev in potencial talentov.  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900C33-90AE-4963-9AD8-3B07939F57E9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153172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roduktivität: EU-Kommiss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dirty="0"/>
              <a:t>https://abagmbh.sharepoint.com/sites/ABA-Extern/InfoManagement/Forms/AllItems.aspx?id=%2Fsites%2FABA%2DExtern%2FInfoManagement%2FStandort%20%C3%96sterreich%5FKey%20Facts%20%28ehemals%20Proposal%29%2Fenglisch%2FProductivity%2FABA%5FLabor%20Productivity%5FAustria%2Epdf&amp;viewid=c7647480%2D0b81%2D42f2%2D8a3a%2Dbd6a4bd292e8&amp;parent=%2Fsites%2FABA%2DExtern%2FInfoManagement%2FStandort%20%C3%96sterreich%5FKey%20Facts%20%28ehemals%20Proposal%29%2Fenglisch%2FProductivity</a:t>
            </a:r>
            <a:endParaRPr lang="de-DE" dirty="0"/>
          </a:p>
          <a:p>
            <a:r>
              <a:rPr lang="de-DE" dirty="0"/>
              <a:t>Motivation: </a:t>
            </a:r>
            <a:r>
              <a:rPr lang="en-US" dirty="0"/>
              <a:t> IMD World Competitiveness </a:t>
            </a:r>
          </a:p>
          <a:p>
            <a:r>
              <a:rPr lang="en-US" dirty="0"/>
              <a:t>Yearbook, 2022</a:t>
            </a:r>
          </a:p>
          <a:p>
            <a:r>
              <a:rPr lang="de-DE" dirty="0"/>
              <a:t>https://grale.23degrees.eu/report/imd-wcy/worker-motivation-8444eaa68c47e7</a:t>
            </a:r>
          </a:p>
          <a:p>
            <a:r>
              <a:rPr lang="de-DE" dirty="0"/>
              <a:t>Rang 1: Dänemark</a:t>
            </a:r>
          </a:p>
          <a:p>
            <a:r>
              <a:rPr lang="de-DE" dirty="0"/>
              <a:t>Rang 2: Niederlande</a:t>
            </a:r>
          </a:p>
          <a:p>
            <a:r>
              <a:rPr lang="de-DE" dirty="0"/>
              <a:t>Rang 3: Finnland</a:t>
            </a:r>
          </a:p>
          <a:p>
            <a:r>
              <a:rPr lang="de-DE" dirty="0"/>
              <a:t>Rang 4: Schweden</a:t>
            </a:r>
          </a:p>
          <a:p>
            <a:r>
              <a:rPr lang="de-DE" dirty="0"/>
              <a:t>Rang 5: Österreich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900C33-90AE-4963-9AD8-3B07939F57E9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450291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dirty="0"/>
              <a:t>Rad bi </a:t>
            </a:r>
            <a:r>
              <a:rPr lang="de-AT" dirty="0" err="1"/>
              <a:t>vam</a:t>
            </a:r>
            <a:r>
              <a:rPr lang="de-AT" dirty="0"/>
              <a:t> </a:t>
            </a:r>
            <a:r>
              <a:rPr lang="de-AT" dirty="0" err="1"/>
              <a:t>dal</a:t>
            </a:r>
            <a:r>
              <a:rPr lang="de-AT" dirty="0"/>
              <a:t> </a:t>
            </a:r>
            <a:r>
              <a:rPr lang="de-AT" dirty="0" err="1"/>
              <a:t>nekaj</a:t>
            </a:r>
            <a:r>
              <a:rPr lang="de-AT" dirty="0"/>
              <a:t> </a:t>
            </a:r>
            <a:r>
              <a:rPr lang="de-AT" dirty="0" err="1"/>
              <a:t>osnovnih</a:t>
            </a:r>
            <a:r>
              <a:rPr lang="de-AT" dirty="0"/>
              <a:t> </a:t>
            </a:r>
            <a:r>
              <a:rPr lang="de-AT" dirty="0" err="1"/>
              <a:t>informacij</a:t>
            </a:r>
            <a:r>
              <a:rPr lang="de-AT" dirty="0"/>
              <a:t> o </a:t>
            </a:r>
            <a:r>
              <a:rPr lang="de-AT" dirty="0" err="1"/>
              <a:t>delovnopravni</a:t>
            </a:r>
            <a:r>
              <a:rPr lang="de-AT" dirty="0"/>
              <a:t> </a:t>
            </a:r>
            <a:r>
              <a:rPr lang="de-AT" dirty="0" err="1"/>
              <a:t>zakonodaji</a:t>
            </a:r>
            <a:r>
              <a:rPr lang="de-AT" dirty="0"/>
              <a:t> v </a:t>
            </a:r>
            <a:r>
              <a:rPr lang="de-AT" dirty="0" err="1"/>
              <a:t>Avstriji</a:t>
            </a:r>
            <a:r>
              <a:rPr lang="de-AT" dirty="0"/>
              <a:t>: </a:t>
            </a:r>
            <a:r>
              <a:rPr lang="de-AT" dirty="0" err="1"/>
              <a:t>pomembno</a:t>
            </a:r>
            <a:r>
              <a:rPr lang="de-AT" dirty="0"/>
              <a:t> je </a:t>
            </a:r>
            <a:r>
              <a:rPr lang="de-AT" dirty="0" err="1"/>
              <a:t>vedeti</a:t>
            </a:r>
            <a:r>
              <a:rPr lang="de-AT" dirty="0"/>
              <a:t>, da so v </a:t>
            </a:r>
            <a:r>
              <a:rPr lang="de-AT" dirty="0" err="1"/>
              <a:t>Avstriji</a:t>
            </a:r>
            <a:r>
              <a:rPr lang="de-AT" dirty="0"/>
              <a:t> </a:t>
            </a:r>
            <a:r>
              <a:rPr lang="de-AT" dirty="0" err="1"/>
              <a:t>plače</a:t>
            </a:r>
            <a:r>
              <a:rPr lang="de-AT" dirty="0"/>
              <a:t> </a:t>
            </a:r>
            <a:r>
              <a:rPr lang="de-AT" dirty="0" err="1"/>
              <a:t>urejene</a:t>
            </a:r>
            <a:r>
              <a:rPr lang="de-AT" dirty="0"/>
              <a:t> z </a:t>
            </a:r>
            <a:r>
              <a:rPr lang="de-AT" dirty="0" err="1"/>
              <a:t>nacionalnimi</a:t>
            </a:r>
            <a:r>
              <a:rPr lang="de-AT" dirty="0"/>
              <a:t> </a:t>
            </a:r>
            <a:r>
              <a:rPr lang="de-AT" dirty="0" err="1"/>
              <a:t>kolektivnimi</a:t>
            </a:r>
            <a:r>
              <a:rPr lang="de-AT" dirty="0"/>
              <a:t> </a:t>
            </a:r>
            <a:r>
              <a:rPr lang="de-AT" dirty="0" err="1"/>
              <a:t>pogodbami</a:t>
            </a:r>
            <a:r>
              <a:rPr lang="de-AT" dirty="0"/>
              <a:t>, </a:t>
            </a:r>
            <a:r>
              <a:rPr lang="de-AT" dirty="0" err="1"/>
              <a:t>vedno</a:t>
            </a:r>
            <a:r>
              <a:rPr lang="de-AT" dirty="0"/>
              <a:t> </a:t>
            </a:r>
            <a:r>
              <a:rPr lang="de-AT" dirty="0" err="1"/>
              <a:t>razmišljamo</a:t>
            </a:r>
            <a:r>
              <a:rPr lang="de-AT" dirty="0"/>
              <a:t> v </a:t>
            </a:r>
            <a:r>
              <a:rPr lang="de-AT" dirty="0" err="1"/>
              <a:t>bruto</a:t>
            </a:r>
            <a:r>
              <a:rPr lang="de-AT" dirty="0"/>
              <a:t> </a:t>
            </a:r>
            <a:r>
              <a:rPr lang="de-AT" dirty="0" err="1"/>
              <a:t>vrednosti</a:t>
            </a:r>
            <a:r>
              <a:rPr lang="de-AT" dirty="0"/>
              <a:t> in </a:t>
            </a:r>
            <a:r>
              <a:rPr lang="de-AT" dirty="0" err="1"/>
              <a:t>za</a:t>
            </a:r>
            <a:r>
              <a:rPr lang="de-AT" dirty="0"/>
              <a:t> </a:t>
            </a:r>
            <a:r>
              <a:rPr lang="de-AT" dirty="0" err="1"/>
              <a:t>izračun</a:t>
            </a:r>
            <a:r>
              <a:rPr lang="de-AT" dirty="0"/>
              <a:t> </a:t>
            </a:r>
            <a:r>
              <a:rPr lang="de-AT" dirty="0" err="1"/>
              <a:t>stroškov</a:t>
            </a:r>
            <a:r>
              <a:rPr lang="de-AT" dirty="0"/>
              <a:t> </a:t>
            </a:r>
            <a:r>
              <a:rPr lang="de-AT" dirty="0" err="1"/>
              <a:t>poslovanja</a:t>
            </a:r>
            <a:r>
              <a:rPr lang="de-AT" dirty="0"/>
              <a:t> je </a:t>
            </a:r>
            <a:r>
              <a:rPr lang="de-AT" dirty="0" err="1"/>
              <a:t>treba</a:t>
            </a:r>
            <a:r>
              <a:rPr lang="de-AT" dirty="0"/>
              <a:t> </a:t>
            </a:r>
            <a:r>
              <a:rPr lang="de-AT" dirty="0" err="1"/>
              <a:t>prišteti</a:t>
            </a:r>
            <a:r>
              <a:rPr lang="de-AT" dirty="0"/>
              <a:t> </a:t>
            </a:r>
            <a:r>
              <a:rPr lang="de-AT" dirty="0" err="1"/>
              <a:t>cca</a:t>
            </a:r>
            <a:r>
              <a:rPr lang="de-AT" dirty="0"/>
              <a:t>. 30 % </a:t>
            </a:r>
            <a:r>
              <a:rPr lang="de-AT" dirty="0" err="1"/>
              <a:t>pri</a:t>
            </a:r>
            <a:r>
              <a:rPr lang="de-AT" dirty="0"/>
              <a:t> 14 </a:t>
            </a:r>
            <a:r>
              <a:rPr lang="de-AT" dirty="0" err="1"/>
              <a:t>mesečnih</a:t>
            </a:r>
            <a:r>
              <a:rPr lang="de-AT" dirty="0"/>
              <a:t> </a:t>
            </a:r>
            <a:r>
              <a:rPr lang="de-AT" dirty="0" err="1"/>
              <a:t>plačilih</a:t>
            </a:r>
            <a:r>
              <a:rPr lang="de-AT" dirty="0"/>
              <a:t>. 13. in 14. </a:t>
            </a:r>
            <a:r>
              <a:rPr lang="de-AT" dirty="0" err="1"/>
              <a:t>sta</a:t>
            </a:r>
            <a:r>
              <a:rPr lang="de-AT" dirty="0"/>
              <a:t> </a:t>
            </a:r>
            <a:r>
              <a:rPr lang="de-AT" dirty="0" err="1"/>
              <a:t>za</a:t>
            </a:r>
            <a:r>
              <a:rPr lang="de-AT" dirty="0"/>
              <a:t> </a:t>
            </a:r>
            <a:r>
              <a:rPr lang="de-AT" dirty="0" err="1"/>
              <a:t>sodelavca</a:t>
            </a:r>
            <a:r>
              <a:rPr lang="de-AT" dirty="0"/>
              <a:t> </a:t>
            </a:r>
            <a:r>
              <a:rPr lang="de-AT" dirty="0" err="1"/>
              <a:t>obdavčena</a:t>
            </a:r>
            <a:r>
              <a:rPr lang="de-AT" dirty="0"/>
              <a:t> le 6 %, </a:t>
            </a:r>
            <a:r>
              <a:rPr lang="de-AT" dirty="0" err="1"/>
              <a:t>zato</a:t>
            </a:r>
            <a:r>
              <a:rPr lang="de-AT" dirty="0"/>
              <a:t> je </a:t>
            </a:r>
            <a:r>
              <a:rPr lang="de-AT" dirty="0" err="1"/>
              <a:t>letni</a:t>
            </a:r>
            <a:r>
              <a:rPr lang="de-AT" dirty="0"/>
              <a:t> </a:t>
            </a:r>
            <a:r>
              <a:rPr lang="de-AT" dirty="0" err="1"/>
              <a:t>neto</a:t>
            </a:r>
            <a:r>
              <a:rPr lang="de-AT" dirty="0"/>
              <a:t> do </a:t>
            </a:r>
            <a:r>
              <a:rPr lang="de-AT" dirty="0" err="1"/>
              <a:t>zaposlenega</a:t>
            </a:r>
            <a:r>
              <a:rPr lang="de-AT" dirty="0"/>
              <a:t> </a:t>
            </a:r>
            <a:r>
              <a:rPr lang="de-AT" dirty="0" err="1"/>
              <a:t>več</a:t>
            </a:r>
            <a:r>
              <a:rPr lang="de-AT" dirty="0"/>
              <a:t> </a:t>
            </a:r>
            <a:r>
              <a:rPr lang="de-AT" dirty="0" err="1"/>
              <a:t>kot</a:t>
            </a:r>
            <a:r>
              <a:rPr lang="de-AT" dirty="0"/>
              <a:t> 14-kratnik </a:t>
            </a:r>
            <a:r>
              <a:rPr lang="de-AT" dirty="0" err="1"/>
              <a:t>mesečnega</a:t>
            </a:r>
            <a:r>
              <a:rPr lang="de-AT" dirty="0"/>
              <a:t> </a:t>
            </a:r>
            <a:r>
              <a:rPr lang="de-AT" dirty="0" err="1"/>
              <a:t>neto</a:t>
            </a:r>
            <a:r>
              <a:rPr lang="de-AT" dirty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900C33-90AE-4963-9AD8-3B07939F57E9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54609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900C33-90AE-4963-9AD8-3B07939F57E9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095447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l-SI" b="1" dirty="0"/>
              <a:t>Delež   R&amp;R v letu  </a:t>
            </a:r>
            <a:r>
              <a:rPr lang="de-DE" b="1" dirty="0"/>
              <a:t>2022:</a:t>
            </a:r>
          </a:p>
          <a:p>
            <a:r>
              <a:rPr lang="de-DE" dirty="0"/>
              <a:t>Österreich -&gt; 3,2</a:t>
            </a:r>
          </a:p>
          <a:p>
            <a:r>
              <a:rPr lang="de-DE" dirty="0"/>
              <a:t>Deutschland -&gt; 3,13</a:t>
            </a:r>
          </a:p>
          <a:p>
            <a:r>
              <a:rPr lang="de-DE" dirty="0"/>
              <a:t>EU-Durchschnitt -&gt; 2,23</a:t>
            </a:r>
          </a:p>
          <a:p>
            <a:endParaRPr lang="de-DE" dirty="0"/>
          </a:p>
          <a:p>
            <a:r>
              <a:rPr lang="de-DE" dirty="0"/>
              <a:t>https://wko.at/statistik/eu/europa-forschungsausgaben.pdf</a:t>
            </a:r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3211">
              <a:defRPr/>
            </a:pPr>
            <a:fld id="{65900C33-90AE-4963-9AD8-3B07939F57E9}" type="slidenum">
              <a:rPr lang="en-GB">
                <a:solidFill>
                  <a:prstClr val="black"/>
                </a:solidFill>
                <a:latin typeface="Calibri"/>
              </a:rPr>
              <a:pPr defTabSz="913211">
                <a:defRPr/>
              </a:pPr>
              <a:t>16</a:t>
            </a:fld>
            <a:endParaRPr lang="en-GB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909882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sz="1800" dirty="0">
                <a:latin typeface="Corbel" panose="020B0503020204020204" pitchFamily="34" charset="0"/>
                <a:ea typeface="Calibri" panose="020F0502020204030204" pitchFamily="34" charset="0"/>
              </a:rPr>
              <a:t> https://ec.europa.eu/research-and-innovation/en/statistics/performance-indicators/european-innovation-scoreboard/eis</a:t>
            </a:r>
          </a:p>
          <a:p>
            <a:endParaRPr lang="de-DE" sz="18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839320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dirty="0"/>
              <a:t>https://www.ffg.at/sites/default/files/downloads/JahresPK_2023_Praesentation_inklWIFO.pdf</a:t>
            </a:r>
          </a:p>
          <a:p>
            <a:endParaRPr lang="de-AT" dirty="0"/>
          </a:p>
          <a:p>
            <a:endParaRPr lang="de-AT" dirty="0"/>
          </a:p>
          <a:p>
            <a:r>
              <a:rPr lang="de-AT" dirty="0"/>
              <a:t>Cash &amp; </a:t>
            </a:r>
            <a:r>
              <a:rPr lang="de-AT" dirty="0" err="1"/>
              <a:t>tax</a:t>
            </a:r>
            <a:r>
              <a:rPr lang="de-AT" dirty="0"/>
              <a:t> </a:t>
            </a:r>
            <a:r>
              <a:rPr lang="de-AT" dirty="0" err="1"/>
              <a:t>grant</a:t>
            </a:r>
            <a:r>
              <a:rPr lang="de-AT" dirty="0"/>
              <a:t>    14% </a:t>
            </a:r>
            <a:r>
              <a:rPr lang="de-AT" dirty="0" err="1"/>
              <a:t>od</a:t>
            </a:r>
            <a:r>
              <a:rPr lang="de-AT" dirty="0"/>
              <a:t> </a:t>
            </a:r>
            <a:r>
              <a:rPr lang="sl-SI" dirty="0"/>
              <a:t> predmetnih </a:t>
            </a:r>
            <a:r>
              <a:rPr lang="de-AT" dirty="0" err="1"/>
              <a:t>stro</a:t>
            </a:r>
            <a:r>
              <a:rPr lang="sl-SI" dirty="0"/>
              <a:t>š</a:t>
            </a:r>
            <a:r>
              <a:rPr lang="de-AT" dirty="0" err="1"/>
              <a:t>kov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3211">
              <a:defRPr/>
            </a:pPr>
            <a:fld id="{65900C33-90AE-4963-9AD8-3B07939F57E9}" type="slidenum">
              <a:rPr lang="en-GB">
                <a:solidFill>
                  <a:prstClr val="black"/>
                </a:solidFill>
                <a:latin typeface="Calibri"/>
              </a:rPr>
              <a:pPr defTabSz="913211">
                <a:defRPr/>
              </a:pPr>
              <a:t>18</a:t>
            </a:fld>
            <a:endParaRPr lang="en-GB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959827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879923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l-SI" b="0" i="0" dirty="0">
                <a:solidFill>
                  <a:srgbClr val="484848"/>
                </a:solidFill>
                <a:effectLst/>
                <a:latin typeface="Lato" panose="020F0502020204030203" pitchFamily="34" charset="0"/>
              </a:rPr>
              <a:t>I</a:t>
            </a:r>
            <a:r>
              <a:rPr lang="de-DE" b="0" i="0" dirty="0">
                <a:solidFill>
                  <a:srgbClr val="484848"/>
                </a:solidFill>
                <a:effectLst/>
                <a:latin typeface="Lato" panose="020F0502020204030203" pitchFamily="34" charset="0"/>
              </a:rPr>
              <a:t>m gesamten Jahr 2022 war der Umsatz bei 1,83 Mrd. Euro gelegen. </a:t>
            </a:r>
            <a:endParaRPr lang="sl-SI" b="0" i="0" dirty="0">
              <a:solidFill>
                <a:srgbClr val="484848"/>
              </a:solidFill>
              <a:effectLst/>
              <a:latin typeface="Lato" panose="020F0502020204030203" pitchFamily="34" charset="0"/>
            </a:endParaRPr>
          </a:p>
          <a:p>
            <a:endParaRPr lang="sl-SI" b="0" i="0" dirty="0">
              <a:solidFill>
                <a:srgbClr val="484848"/>
              </a:solidFill>
              <a:effectLst/>
              <a:latin typeface="Lato" panose="020F0502020204030203" pitchFamily="34" charset="0"/>
            </a:endParaRPr>
          </a:p>
          <a:p>
            <a:r>
              <a:rPr lang="sl-SI" b="0" i="0" dirty="0">
                <a:solidFill>
                  <a:srgbClr val="484848"/>
                </a:solidFill>
                <a:effectLst/>
                <a:latin typeface="Lato" panose="020F0502020204030203" pitchFamily="34" charset="0"/>
              </a:rPr>
              <a:t>SN   19.10.2023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900C33-90AE-4963-9AD8-3B07939F57E9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09814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l-SI" dirty="0"/>
              <a:t>Faktor, ki je zelo pomemben so spodbude države, tako pri financiranju investicij, kadra, digitalizacije ipd.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900C33-90AE-4963-9AD8-3B07939F57E9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495754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900C33-90AE-4963-9AD8-3B07939F57E9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193492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900C33-90AE-4963-9AD8-3B07939F57E9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224614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900C33-90AE-4963-9AD8-3B07939F57E9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126901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C9ABF4-B18D-34BB-2592-2A768C97FB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693C6E8B-403B-D526-54A2-1B47B18CA0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52C0CA7-5BE0-3F82-2F50-13E85444E6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dirty="0"/>
              <a:t>Za </a:t>
            </a:r>
            <a:r>
              <a:rPr lang="de-AT" dirty="0" err="1"/>
              <a:t>izpolnjevanje</a:t>
            </a:r>
            <a:r>
              <a:rPr lang="de-AT" dirty="0"/>
              <a:t> </a:t>
            </a:r>
            <a:r>
              <a:rPr lang="de-AT" dirty="0" err="1"/>
              <a:t>zelo</a:t>
            </a:r>
            <a:r>
              <a:rPr lang="de-AT" dirty="0"/>
              <a:t> </a:t>
            </a:r>
            <a:r>
              <a:rPr lang="de-AT" dirty="0" err="1"/>
              <a:t>posebnih</a:t>
            </a:r>
            <a:r>
              <a:rPr lang="de-AT" dirty="0"/>
              <a:t> </a:t>
            </a:r>
            <a:r>
              <a:rPr lang="de-AT" dirty="0" err="1"/>
              <a:t>potreb</a:t>
            </a:r>
            <a:r>
              <a:rPr lang="de-AT" dirty="0"/>
              <a:t> </a:t>
            </a:r>
            <a:r>
              <a:rPr lang="de-AT" dirty="0" err="1"/>
              <a:t>zagonskih</a:t>
            </a:r>
            <a:r>
              <a:rPr lang="de-AT" dirty="0"/>
              <a:t> </a:t>
            </a:r>
            <a:r>
              <a:rPr lang="de-AT" dirty="0" err="1"/>
              <a:t>podjetij</a:t>
            </a:r>
            <a:r>
              <a:rPr lang="de-AT" dirty="0"/>
              <a:t> in </a:t>
            </a:r>
            <a:r>
              <a:rPr lang="de-AT" dirty="0" err="1"/>
              <a:t>ustanoviteljev</a:t>
            </a:r>
            <a:r>
              <a:rPr lang="de-AT" dirty="0"/>
              <a:t> je </a:t>
            </a:r>
            <a:r>
              <a:rPr lang="de-AT" dirty="0" err="1"/>
              <a:t>bila</a:t>
            </a:r>
            <a:r>
              <a:rPr lang="de-AT" dirty="0"/>
              <a:t> </a:t>
            </a:r>
            <a:r>
              <a:rPr lang="de-AT" dirty="0" err="1"/>
              <a:t>oblikovana</a:t>
            </a:r>
            <a:r>
              <a:rPr lang="de-AT" dirty="0"/>
              <a:t> </a:t>
            </a:r>
            <a:r>
              <a:rPr lang="de-AT" dirty="0" err="1"/>
              <a:t>nova</a:t>
            </a:r>
            <a:r>
              <a:rPr lang="de-AT" dirty="0"/>
              <a:t> </a:t>
            </a:r>
            <a:r>
              <a:rPr lang="de-AT" dirty="0" err="1"/>
              <a:t>pravna</a:t>
            </a:r>
            <a:r>
              <a:rPr lang="de-AT" dirty="0"/>
              <a:t> </a:t>
            </a:r>
            <a:r>
              <a:rPr lang="de-AT" dirty="0" err="1"/>
              <a:t>oblika</a:t>
            </a:r>
            <a:r>
              <a:rPr lang="de-AT" dirty="0"/>
              <a:t> </a:t>
            </a:r>
            <a:r>
              <a:rPr lang="de-AT" dirty="0" err="1"/>
              <a:t>podjetja</a:t>
            </a:r>
            <a:r>
              <a:rPr lang="de-AT" dirty="0"/>
              <a:t>, in </a:t>
            </a:r>
            <a:r>
              <a:rPr lang="de-AT" dirty="0" err="1"/>
              <a:t>sicer</a:t>
            </a:r>
            <a:r>
              <a:rPr lang="de-AT" dirty="0"/>
              <a:t> </a:t>
            </a:r>
            <a:r>
              <a:rPr lang="de-AT" dirty="0" err="1"/>
              <a:t>družba</a:t>
            </a:r>
            <a:r>
              <a:rPr lang="de-AT" dirty="0"/>
              <a:t> s </a:t>
            </a:r>
            <a:r>
              <a:rPr lang="de-AT" dirty="0" err="1"/>
              <a:t>prilagodljivim</a:t>
            </a:r>
            <a:r>
              <a:rPr lang="de-AT" dirty="0"/>
              <a:t> </a:t>
            </a:r>
            <a:r>
              <a:rPr lang="de-AT" dirty="0" err="1"/>
              <a:t>kapitalom</a:t>
            </a:r>
            <a:r>
              <a:rPr lang="de-AT" dirty="0"/>
              <a:t> (</a:t>
            </a:r>
            <a:r>
              <a:rPr lang="de-AT" dirty="0" err="1"/>
              <a:t>FlexKapG</a:t>
            </a:r>
            <a:r>
              <a:rPr lang="de-AT" dirty="0"/>
              <a:t> </a:t>
            </a:r>
            <a:r>
              <a:rPr lang="de-AT" dirty="0" err="1"/>
              <a:t>ali</a:t>
            </a:r>
            <a:r>
              <a:rPr lang="de-AT" dirty="0"/>
              <a:t> </a:t>
            </a:r>
            <a:r>
              <a:rPr lang="de-AT" dirty="0" err="1"/>
              <a:t>FlexCo</a:t>
            </a:r>
            <a:r>
              <a:rPr lang="de-AT" dirty="0"/>
              <a:t>). Ta </a:t>
            </a:r>
            <a:r>
              <a:rPr lang="de-AT" dirty="0" err="1"/>
              <a:t>nova</a:t>
            </a:r>
            <a:r>
              <a:rPr lang="de-AT" dirty="0"/>
              <a:t> </a:t>
            </a:r>
            <a:r>
              <a:rPr lang="de-AT" dirty="0" err="1"/>
              <a:t>pravna</a:t>
            </a:r>
            <a:r>
              <a:rPr lang="de-AT" dirty="0"/>
              <a:t> </a:t>
            </a:r>
            <a:r>
              <a:rPr lang="de-AT" dirty="0" err="1"/>
              <a:t>oblika</a:t>
            </a:r>
            <a:r>
              <a:rPr lang="de-AT" dirty="0"/>
              <a:t> </a:t>
            </a:r>
            <a:r>
              <a:rPr lang="de-AT" dirty="0" err="1"/>
              <a:t>ustvarja</a:t>
            </a:r>
            <a:r>
              <a:rPr lang="de-AT" dirty="0"/>
              <a:t> </a:t>
            </a:r>
            <a:r>
              <a:rPr lang="de-AT" dirty="0" err="1"/>
              <a:t>možnost</a:t>
            </a:r>
            <a:r>
              <a:rPr lang="de-AT" dirty="0"/>
              <a:t>, da se </a:t>
            </a:r>
            <a:r>
              <a:rPr lang="de-AT" dirty="0" err="1"/>
              <a:t>zaposlenim</a:t>
            </a:r>
            <a:r>
              <a:rPr lang="de-AT" dirty="0"/>
              <a:t> </a:t>
            </a:r>
            <a:r>
              <a:rPr lang="de-AT" dirty="0" err="1"/>
              <a:t>omogoči</a:t>
            </a:r>
            <a:r>
              <a:rPr lang="de-AT" dirty="0"/>
              <a:t> </a:t>
            </a:r>
            <a:r>
              <a:rPr lang="de-AT" dirty="0" err="1"/>
              <a:t>sodelovanje</a:t>
            </a:r>
            <a:r>
              <a:rPr lang="de-AT" dirty="0"/>
              <a:t> </a:t>
            </a:r>
            <a:r>
              <a:rPr lang="de-AT" dirty="0" err="1"/>
              <a:t>pri</a:t>
            </a:r>
            <a:r>
              <a:rPr lang="de-AT" dirty="0"/>
              <a:t> </a:t>
            </a:r>
            <a:r>
              <a:rPr lang="de-AT" dirty="0" err="1"/>
              <a:t>uspehu</a:t>
            </a:r>
            <a:r>
              <a:rPr lang="de-AT" dirty="0"/>
              <a:t> </a:t>
            </a:r>
            <a:r>
              <a:rPr lang="de-AT" dirty="0" err="1"/>
              <a:t>podjetja</a:t>
            </a:r>
            <a:r>
              <a:rPr lang="de-AT" dirty="0"/>
              <a:t> na </a:t>
            </a:r>
            <a:r>
              <a:rPr lang="de-AT" dirty="0" err="1"/>
              <a:t>razmeroma</a:t>
            </a:r>
            <a:r>
              <a:rPr lang="de-AT" dirty="0"/>
              <a:t> </a:t>
            </a:r>
            <a:r>
              <a:rPr lang="de-AT" dirty="0" err="1"/>
              <a:t>enostaven</a:t>
            </a:r>
            <a:r>
              <a:rPr lang="de-AT" dirty="0"/>
              <a:t> </a:t>
            </a:r>
            <a:r>
              <a:rPr lang="de-AT" dirty="0" err="1"/>
              <a:t>način</a:t>
            </a:r>
            <a:r>
              <a:rPr lang="de-AT" dirty="0"/>
              <a:t> z </a:t>
            </a:r>
            <a:r>
              <a:rPr lang="de-AT" dirty="0" err="1"/>
              <a:t>lastništvom</a:t>
            </a:r>
            <a:r>
              <a:rPr lang="de-AT" dirty="0"/>
              <a:t> </a:t>
            </a:r>
            <a:r>
              <a:rPr lang="de-AT" dirty="0" err="1"/>
              <a:t>delnic</a:t>
            </a:r>
            <a:r>
              <a:rPr lang="de-AT" dirty="0"/>
              <a:t>. </a:t>
            </a:r>
            <a:r>
              <a:rPr lang="de-AT" dirty="0" err="1"/>
              <a:t>Poleg</a:t>
            </a:r>
            <a:r>
              <a:rPr lang="de-AT" dirty="0"/>
              <a:t> </a:t>
            </a:r>
            <a:r>
              <a:rPr lang="de-AT" dirty="0" err="1"/>
              <a:t>tega</a:t>
            </a:r>
            <a:r>
              <a:rPr lang="de-AT" dirty="0"/>
              <a:t> </a:t>
            </a:r>
            <a:r>
              <a:rPr lang="de-AT" dirty="0" err="1"/>
              <a:t>naj</a:t>
            </a:r>
            <a:r>
              <a:rPr lang="de-AT" dirty="0"/>
              <a:t> bi </a:t>
            </a:r>
            <a:r>
              <a:rPr lang="de-AT" dirty="0" err="1"/>
              <a:t>bila</a:t>
            </a:r>
            <a:r>
              <a:rPr lang="de-AT" dirty="0"/>
              <a:t> </a:t>
            </a:r>
            <a:r>
              <a:rPr lang="de-AT" dirty="0" err="1"/>
              <a:t>nova</a:t>
            </a:r>
            <a:r>
              <a:rPr lang="de-AT" dirty="0"/>
              <a:t> </a:t>
            </a:r>
            <a:r>
              <a:rPr lang="de-AT" dirty="0" err="1"/>
              <a:t>pravna</a:t>
            </a:r>
            <a:r>
              <a:rPr lang="de-AT" dirty="0"/>
              <a:t> </a:t>
            </a:r>
            <a:r>
              <a:rPr lang="de-AT" dirty="0" err="1"/>
              <a:t>oblika</a:t>
            </a:r>
            <a:r>
              <a:rPr lang="de-AT" dirty="0"/>
              <a:t> </a:t>
            </a:r>
            <a:r>
              <a:rPr lang="de-AT" dirty="0" err="1"/>
              <a:t>še</a:t>
            </a:r>
            <a:r>
              <a:rPr lang="de-AT" dirty="0"/>
              <a:t> </a:t>
            </a:r>
            <a:r>
              <a:rPr lang="de-AT" dirty="0" err="1"/>
              <a:t>posebej</a:t>
            </a:r>
            <a:r>
              <a:rPr lang="de-AT" dirty="0"/>
              <a:t> </a:t>
            </a:r>
            <a:r>
              <a:rPr lang="de-AT" dirty="0" err="1"/>
              <a:t>privlačna</a:t>
            </a:r>
            <a:r>
              <a:rPr lang="de-AT" dirty="0"/>
              <a:t> </a:t>
            </a:r>
            <a:r>
              <a:rPr lang="de-AT" dirty="0" err="1"/>
              <a:t>za</a:t>
            </a:r>
            <a:r>
              <a:rPr lang="de-AT" dirty="0"/>
              <a:t> </a:t>
            </a:r>
            <a:r>
              <a:rPr lang="de-AT" dirty="0" err="1"/>
              <a:t>mednarodne</a:t>
            </a:r>
            <a:r>
              <a:rPr lang="de-AT" dirty="0"/>
              <a:t> </a:t>
            </a:r>
            <a:r>
              <a:rPr lang="de-AT" dirty="0" err="1"/>
              <a:t>vlagatelje</a:t>
            </a:r>
            <a:r>
              <a:rPr lang="de-AT" dirty="0"/>
              <a:t>, </a:t>
            </a:r>
            <a:r>
              <a:rPr lang="de-AT" dirty="0" err="1"/>
              <a:t>tudi</a:t>
            </a:r>
            <a:r>
              <a:rPr lang="de-AT" dirty="0"/>
              <a:t> v </a:t>
            </a:r>
            <a:r>
              <a:rPr lang="de-AT" dirty="0" err="1"/>
              <a:t>zgodnji</a:t>
            </a:r>
            <a:r>
              <a:rPr lang="de-AT" dirty="0"/>
              <a:t> </a:t>
            </a:r>
            <a:r>
              <a:rPr lang="de-AT" dirty="0" err="1"/>
              <a:t>fazi</a:t>
            </a:r>
            <a:r>
              <a:rPr lang="de-AT" dirty="0"/>
              <a:t> </a:t>
            </a:r>
            <a:r>
              <a:rPr lang="de-AT" dirty="0" err="1"/>
              <a:t>razvoja</a:t>
            </a:r>
            <a:r>
              <a:rPr lang="de-AT" dirty="0"/>
              <a:t> </a:t>
            </a:r>
            <a:r>
              <a:rPr lang="de-AT" dirty="0" err="1"/>
              <a:t>podjetja</a:t>
            </a:r>
            <a:r>
              <a:rPr lang="de-AT" dirty="0"/>
              <a:t>, in se </a:t>
            </a:r>
            <a:r>
              <a:rPr lang="de-AT" dirty="0" err="1"/>
              <a:t>močno</a:t>
            </a:r>
            <a:r>
              <a:rPr lang="de-AT" dirty="0"/>
              <a:t> </a:t>
            </a:r>
            <a:r>
              <a:rPr lang="de-AT" dirty="0" err="1"/>
              <a:t>zgleduje</a:t>
            </a:r>
            <a:r>
              <a:rPr lang="de-AT" dirty="0"/>
              <a:t> </a:t>
            </a:r>
            <a:r>
              <a:rPr lang="de-AT" dirty="0" err="1"/>
              <a:t>po</a:t>
            </a:r>
            <a:r>
              <a:rPr lang="de-AT" dirty="0"/>
              <a:t> GmbH, </a:t>
            </a:r>
            <a:r>
              <a:rPr lang="de-AT" dirty="0" err="1"/>
              <a:t>pri</a:t>
            </a:r>
            <a:r>
              <a:rPr lang="de-AT" dirty="0"/>
              <a:t> </a:t>
            </a:r>
            <a:r>
              <a:rPr lang="de-AT" dirty="0" err="1"/>
              <a:t>čemer</a:t>
            </a:r>
            <a:r>
              <a:rPr lang="de-AT" dirty="0"/>
              <a:t> so v </a:t>
            </a:r>
            <a:r>
              <a:rPr lang="de-AT" dirty="0" err="1"/>
              <a:t>to</a:t>
            </a:r>
            <a:r>
              <a:rPr lang="de-AT" dirty="0"/>
              <a:t> </a:t>
            </a:r>
            <a:r>
              <a:rPr lang="de-AT" dirty="0" err="1"/>
              <a:t>novo</a:t>
            </a:r>
            <a:r>
              <a:rPr lang="de-AT" dirty="0"/>
              <a:t> </a:t>
            </a:r>
            <a:r>
              <a:rPr lang="de-AT" dirty="0" err="1"/>
              <a:t>pravno</a:t>
            </a:r>
            <a:r>
              <a:rPr lang="de-AT" dirty="0"/>
              <a:t> </a:t>
            </a:r>
            <a:r>
              <a:rPr lang="de-AT" dirty="0" err="1"/>
              <a:t>obliko</a:t>
            </a:r>
            <a:r>
              <a:rPr lang="de-AT" dirty="0"/>
              <a:t> </a:t>
            </a:r>
            <a:r>
              <a:rPr lang="de-AT" dirty="0" err="1"/>
              <a:t>vključene</a:t>
            </a:r>
            <a:r>
              <a:rPr lang="de-AT" dirty="0"/>
              <a:t> </a:t>
            </a:r>
            <a:r>
              <a:rPr lang="de-AT" dirty="0" err="1"/>
              <a:t>tudi</a:t>
            </a:r>
            <a:r>
              <a:rPr lang="de-AT" dirty="0"/>
              <a:t> </a:t>
            </a:r>
            <a:r>
              <a:rPr lang="de-AT" dirty="0" err="1"/>
              <a:t>prilagojene</a:t>
            </a:r>
            <a:r>
              <a:rPr lang="de-AT" dirty="0"/>
              <a:t> </a:t>
            </a:r>
            <a:r>
              <a:rPr lang="de-AT" dirty="0" err="1"/>
              <a:t>določbe</a:t>
            </a:r>
            <a:r>
              <a:rPr lang="de-AT" dirty="0"/>
              <a:t> </a:t>
            </a:r>
            <a:r>
              <a:rPr lang="de-AT" dirty="0" err="1"/>
              <a:t>iz</a:t>
            </a:r>
            <a:r>
              <a:rPr lang="de-AT" dirty="0"/>
              <a:t> </a:t>
            </a:r>
            <a:r>
              <a:rPr lang="de-AT" dirty="0" err="1"/>
              <a:t>zakona</a:t>
            </a:r>
            <a:r>
              <a:rPr lang="de-AT" dirty="0"/>
              <a:t> o </a:t>
            </a:r>
            <a:r>
              <a:rPr lang="de-AT" dirty="0" err="1"/>
              <a:t>delniških</a:t>
            </a:r>
            <a:r>
              <a:rPr lang="de-AT" dirty="0"/>
              <a:t> </a:t>
            </a:r>
            <a:r>
              <a:rPr lang="de-AT" dirty="0" err="1"/>
              <a:t>družbah</a:t>
            </a:r>
            <a:r>
              <a:rPr lang="de-AT" dirty="0"/>
              <a:t>.</a:t>
            </a:r>
            <a:endParaRPr lang="sl-SI" dirty="0"/>
          </a:p>
          <a:p>
            <a:endParaRPr lang="sl-SI" dirty="0"/>
          </a:p>
          <a:p>
            <a:r>
              <a:rPr lang="sl-SI" dirty="0"/>
              <a:t>Tako kot pri GmbH je najnižji osnovni kapital 10.000 evrov. Polovico tega zneska je treba vplačati v gotovini, kar dokazuje bančno potrdilo. V nasprotju z GmbH je osnovni kapital razdeljen na delnice z glasovalno pravico in delnice brez glasovalne pravice. Delnice z vrednostjo podjetja se lahko izdajo do največ 24,99 % osnovnega kapitala. Obstajajo poenostavljene formalne zahteve za prenos poslovnih deležev in deležev z vrednostjo </a:t>
            </a:r>
            <a:r>
              <a:rPr lang="sl-SI"/>
              <a:t>podjetja.</a:t>
            </a:r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E55EA11-9594-8316-2153-FFB54AA3FB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900C33-90AE-4963-9AD8-3B07939F57E9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573106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900C33-90AE-4963-9AD8-3B07939F57E9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705206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amily Bonus davor 1.50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900C33-90AE-4963-9AD8-3B07939F57E9}" type="slidenum">
              <a:rPr lang="en-GB" smtClean="0"/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266401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enkung auf 30% von zuvor 35%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900C33-90AE-4963-9AD8-3B07939F57E9}" type="slidenum">
              <a:rPr lang="en-GB" smtClean="0"/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513028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900C33-90AE-4963-9AD8-3B07939F57E9}" type="slidenum">
              <a:rPr lang="en-GB" smtClean="0"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065268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900C33-90AE-4963-9AD8-3B07939F57E9}" type="slidenum">
              <a:rPr lang="en-GB" smtClean="0"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86670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233B79-E103-343F-AEC5-BAAC054E32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EA718BCC-5F7B-454E-CF38-2CFD5170F0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1C1E0C4-7A4E-2C3F-9126-0B01CC6EFC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Hotspot za </a:t>
            </a:r>
            <a:r>
              <a:rPr lang="it-IT" dirty="0" err="1"/>
              <a:t>ChatBots</a:t>
            </a:r>
            <a:r>
              <a:rPr lang="it-IT" dirty="0"/>
              <a:t> = </a:t>
            </a:r>
            <a:r>
              <a:rPr lang="it-IT" dirty="0" err="1"/>
              <a:t>Dunaj</a:t>
            </a:r>
            <a:r>
              <a:rPr lang="it-IT" dirty="0"/>
              <a:t> je </a:t>
            </a:r>
            <a:r>
              <a:rPr lang="it-IT" dirty="0" err="1"/>
              <a:t>postal</a:t>
            </a:r>
            <a:r>
              <a:rPr lang="it-IT" dirty="0"/>
              <a:t> </a:t>
            </a:r>
            <a:r>
              <a:rPr lang="it-IT" dirty="0" err="1"/>
              <a:t>središče</a:t>
            </a:r>
            <a:r>
              <a:rPr lang="it-IT" dirty="0"/>
              <a:t> </a:t>
            </a:r>
            <a:r>
              <a:rPr lang="it-IT" dirty="0" err="1"/>
              <a:t>razvoja</a:t>
            </a:r>
            <a:r>
              <a:rPr lang="it-IT" dirty="0"/>
              <a:t> in </a:t>
            </a:r>
            <a:r>
              <a:rPr lang="it-IT" dirty="0" err="1"/>
              <a:t>inovacij</a:t>
            </a:r>
            <a:r>
              <a:rPr lang="it-IT" dirty="0"/>
              <a:t> </a:t>
            </a:r>
            <a:r>
              <a:rPr lang="it-IT" dirty="0" err="1"/>
              <a:t>na</a:t>
            </a:r>
            <a:r>
              <a:rPr lang="it-IT" dirty="0"/>
              <a:t> </a:t>
            </a:r>
            <a:r>
              <a:rPr lang="it-IT" dirty="0" err="1"/>
              <a:t>področju</a:t>
            </a:r>
            <a:r>
              <a:rPr lang="it-IT" dirty="0"/>
              <a:t> </a:t>
            </a:r>
            <a:r>
              <a:rPr lang="it-IT" dirty="0" err="1"/>
              <a:t>tehnologij</a:t>
            </a:r>
            <a:r>
              <a:rPr lang="it-IT" dirty="0"/>
              <a:t> </a:t>
            </a:r>
            <a:r>
              <a:rPr lang="it-IT" dirty="0" err="1"/>
              <a:t>klepetalnikov</a:t>
            </a:r>
            <a:r>
              <a:rPr lang="it-IT" dirty="0"/>
              <a:t>. Morda je v </a:t>
            </a:r>
            <a:r>
              <a:rPr lang="it-IT" dirty="0" err="1"/>
              <a:t>mestu</a:t>
            </a:r>
            <a:r>
              <a:rPr lang="it-IT" dirty="0"/>
              <a:t> </a:t>
            </a:r>
            <a:r>
              <a:rPr lang="it-IT" dirty="0" err="1"/>
              <a:t>veliko</a:t>
            </a:r>
            <a:r>
              <a:rPr lang="it-IT" dirty="0"/>
              <a:t> </a:t>
            </a:r>
            <a:r>
              <a:rPr lang="it-IT" dirty="0" err="1"/>
              <a:t>število</a:t>
            </a:r>
            <a:r>
              <a:rPr lang="it-IT" dirty="0"/>
              <a:t> </a:t>
            </a:r>
            <a:r>
              <a:rPr lang="it-IT" dirty="0" err="1"/>
              <a:t>zagonskih</a:t>
            </a:r>
            <a:r>
              <a:rPr lang="it-IT" dirty="0"/>
              <a:t> </a:t>
            </a:r>
            <a:r>
              <a:rPr lang="it-IT" dirty="0" err="1"/>
              <a:t>podjetij</a:t>
            </a:r>
            <a:r>
              <a:rPr lang="it-IT" dirty="0"/>
              <a:t>, </a:t>
            </a:r>
            <a:r>
              <a:rPr lang="it-IT" dirty="0" err="1"/>
              <a:t>raziskovalnih</a:t>
            </a:r>
            <a:r>
              <a:rPr lang="it-IT" dirty="0"/>
              <a:t> </a:t>
            </a:r>
            <a:r>
              <a:rPr lang="it-IT" dirty="0" err="1"/>
              <a:t>ustanov</a:t>
            </a:r>
            <a:r>
              <a:rPr lang="it-IT" dirty="0"/>
              <a:t> ali </a:t>
            </a:r>
            <a:r>
              <a:rPr lang="it-IT" dirty="0" err="1"/>
              <a:t>podjetij</a:t>
            </a:r>
            <a:r>
              <a:rPr lang="it-IT" dirty="0"/>
              <a:t>, </a:t>
            </a:r>
            <a:r>
              <a:rPr lang="it-IT" dirty="0" err="1"/>
              <a:t>ki</a:t>
            </a:r>
            <a:r>
              <a:rPr lang="it-IT" dirty="0"/>
              <a:t> so </a:t>
            </a:r>
            <a:r>
              <a:rPr lang="it-IT" dirty="0" err="1"/>
              <a:t>specializirana</a:t>
            </a:r>
            <a:r>
              <a:rPr lang="it-IT" dirty="0"/>
              <a:t> za </a:t>
            </a:r>
            <a:r>
              <a:rPr lang="it-IT" dirty="0" err="1"/>
              <a:t>razvoj</a:t>
            </a:r>
            <a:r>
              <a:rPr lang="it-IT" dirty="0"/>
              <a:t> </a:t>
            </a:r>
            <a:r>
              <a:rPr lang="it-IT" dirty="0" err="1"/>
              <a:t>naprednih</a:t>
            </a:r>
            <a:r>
              <a:rPr lang="it-IT" dirty="0"/>
              <a:t> </a:t>
            </a:r>
            <a:r>
              <a:rPr lang="it-IT" dirty="0" err="1"/>
              <a:t>klepetalnih</a:t>
            </a:r>
            <a:r>
              <a:rPr lang="it-IT" dirty="0"/>
              <a:t> </a:t>
            </a:r>
            <a:r>
              <a:rPr lang="it-IT" dirty="0" err="1"/>
              <a:t>robotov</a:t>
            </a:r>
            <a:r>
              <a:rPr lang="it-IT" dirty="0"/>
              <a:t>.</a:t>
            </a:r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81E1E80-ADFC-DFAE-096C-0BB7792E660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900C33-90AE-4963-9AD8-3B07939F57E9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003843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900C33-90AE-4963-9AD8-3B07939F57E9}" type="slidenum">
              <a:rPr lang="en-GB" smtClean="0"/>
              <a:t>3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766722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900C33-90AE-4963-9AD8-3B07939F57E9}" type="slidenum">
              <a:rPr lang="en-GB" smtClean="0"/>
              <a:t>3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593670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900C33-90AE-4963-9AD8-3B07939F57E9}" type="slidenum">
              <a:rPr lang="en-GB" smtClean="0"/>
              <a:t>3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025462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Avstrija</a:t>
            </a:r>
            <a:r>
              <a:rPr lang="en-US" dirty="0"/>
              <a:t> </a:t>
            </a:r>
            <a:r>
              <a:rPr lang="en-US" dirty="0" err="1"/>
              <a:t>ponuja</a:t>
            </a:r>
            <a:r>
              <a:rPr lang="en-US" dirty="0"/>
              <a:t> </a:t>
            </a:r>
            <a:r>
              <a:rPr lang="en-US" dirty="0" err="1"/>
              <a:t>številna</a:t>
            </a:r>
            <a:r>
              <a:rPr lang="en-US" dirty="0"/>
              <a:t> </a:t>
            </a:r>
            <a:r>
              <a:rPr lang="en-US" dirty="0" err="1"/>
              <a:t>privlačna</a:t>
            </a:r>
            <a:r>
              <a:rPr lang="en-US" dirty="0"/>
              <a:t> </a:t>
            </a:r>
            <a:r>
              <a:rPr lang="en-US" dirty="0" err="1"/>
              <a:t>delovna</a:t>
            </a:r>
            <a:r>
              <a:rPr lang="en-US" dirty="0"/>
              <a:t> </a:t>
            </a:r>
            <a:r>
              <a:rPr lang="en-US" dirty="0" err="1"/>
              <a:t>mesta</a:t>
            </a:r>
            <a:r>
              <a:rPr lang="en-US" dirty="0"/>
              <a:t> za </a:t>
            </a:r>
            <a:r>
              <a:rPr lang="en-US" dirty="0" err="1"/>
              <a:t>kvalificirane</a:t>
            </a:r>
            <a:r>
              <a:rPr lang="en-US" dirty="0"/>
              <a:t> </a:t>
            </a:r>
            <a:r>
              <a:rPr lang="en-US" dirty="0" err="1"/>
              <a:t>delavce</a:t>
            </a:r>
            <a:r>
              <a:rPr lang="en-US" dirty="0"/>
              <a:t> </a:t>
            </a:r>
            <a:r>
              <a:rPr lang="en-US" dirty="0" err="1"/>
              <a:t>iz</a:t>
            </a:r>
            <a:r>
              <a:rPr lang="en-US" dirty="0"/>
              <a:t> </a:t>
            </a:r>
            <a:r>
              <a:rPr lang="en-US" dirty="0" err="1"/>
              <a:t>tujine</a:t>
            </a:r>
            <a:r>
              <a:rPr lang="en-US" dirty="0"/>
              <a:t>.</a:t>
            </a:r>
            <a:r>
              <a:rPr lang="sl-SI" dirty="0"/>
              <a:t> ABA je </a:t>
            </a:r>
            <a:r>
              <a:rPr lang="en-US" dirty="0" err="1"/>
              <a:t>posredovalni</a:t>
            </a:r>
            <a:r>
              <a:rPr lang="en-US" dirty="0"/>
              <a:t>  in </a:t>
            </a:r>
            <a:r>
              <a:rPr lang="en-US" dirty="0" err="1"/>
              <a:t>svetovalni</a:t>
            </a:r>
            <a:r>
              <a:rPr lang="en-US" dirty="0"/>
              <a:t> center za </a:t>
            </a:r>
            <a:r>
              <a:rPr lang="en-US" dirty="0" err="1"/>
              <a:t>obe</a:t>
            </a:r>
            <a:r>
              <a:rPr lang="en-US" dirty="0"/>
              <a:t> </a:t>
            </a:r>
            <a:r>
              <a:rPr lang="en-US" dirty="0" err="1"/>
              <a:t>strani</a:t>
            </a:r>
            <a:r>
              <a:rPr lang="en-US" dirty="0"/>
              <a:t>. </a:t>
            </a:r>
            <a:endParaRPr lang="sl-SI" dirty="0"/>
          </a:p>
          <a:p>
            <a:endParaRPr lang="sl-SI" dirty="0"/>
          </a:p>
          <a:p>
            <a:r>
              <a:rPr lang="sl-SI" dirty="0"/>
              <a:t>Film: </a:t>
            </a:r>
            <a:r>
              <a:rPr lang="en-US" dirty="0"/>
              <a:t>Tom Cruise se </a:t>
            </a:r>
            <a:r>
              <a:rPr lang="en-US" dirty="0" err="1"/>
              <a:t>spusti</a:t>
            </a:r>
            <a:r>
              <a:rPr lang="en-US" dirty="0"/>
              <a:t> po </a:t>
            </a:r>
            <a:r>
              <a:rPr lang="en-US" dirty="0" err="1"/>
              <a:t>vrvi</a:t>
            </a:r>
            <a:r>
              <a:rPr lang="en-US" dirty="0"/>
              <a:t> </a:t>
            </a:r>
            <a:r>
              <a:rPr lang="en-US" dirty="0" err="1"/>
              <a:t>iz</a:t>
            </a:r>
            <a:r>
              <a:rPr lang="en-US" dirty="0"/>
              <a:t> </a:t>
            </a:r>
            <a:r>
              <a:rPr lang="en-US" dirty="0" err="1"/>
              <a:t>Dunajske</a:t>
            </a:r>
            <a:r>
              <a:rPr lang="en-US" dirty="0"/>
              <a:t> </a:t>
            </a:r>
            <a:r>
              <a:rPr lang="en-US" dirty="0" err="1"/>
              <a:t>državne</a:t>
            </a:r>
            <a:r>
              <a:rPr lang="en-US" dirty="0"/>
              <a:t> opere, James Bond pa </a:t>
            </a:r>
            <a:r>
              <a:rPr lang="en-US" dirty="0" err="1"/>
              <a:t>preleti</a:t>
            </a:r>
            <a:r>
              <a:rPr lang="en-US" dirty="0"/>
              <a:t> </a:t>
            </a:r>
            <a:r>
              <a:rPr lang="en-US" dirty="0" err="1"/>
              <a:t>Tirolsko</a:t>
            </a:r>
            <a:r>
              <a:rPr lang="en-US" dirty="0"/>
              <a:t>. </a:t>
            </a:r>
            <a:r>
              <a:rPr lang="en-US" dirty="0" err="1"/>
              <a:t>Delamo</a:t>
            </a:r>
            <a:r>
              <a:rPr lang="en-US" dirty="0"/>
              <a:t> "v </a:t>
            </a:r>
            <a:r>
              <a:rPr lang="en-US" dirty="0" err="1"/>
              <a:t>ozadju</a:t>
            </a:r>
            <a:r>
              <a:rPr lang="en-US" dirty="0"/>
              <a:t>", da bi </a:t>
            </a:r>
            <a:r>
              <a:rPr lang="en-US" dirty="0" err="1"/>
              <a:t>svet</a:t>
            </a:r>
            <a:r>
              <a:rPr lang="en-US" dirty="0"/>
              <a:t> </a:t>
            </a:r>
            <a:r>
              <a:rPr lang="sl-SI" dirty="0"/>
              <a:t>kasneje si ogledal film.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900C33-90AE-4963-9AD8-3B07939F57E9}" type="slidenum">
              <a:rPr lang="en-GB" smtClean="0"/>
              <a:t>3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745361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dirty="0" err="1"/>
              <a:t>Zahvala</a:t>
            </a:r>
            <a:r>
              <a:rPr lang="de-AT" dirty="0"/>
              <a:t> </a:t>
            </a:r>
            <a:r>
              <a:rPr lang="de-AT" dirty="0" err="1"/>
              <a:t>velja</a:t>
            </a:r>
            <a:r>
              <a:rPr lang="de-AT" dirty="0"/>
              <a:t> </a:t>
            </a:r>
            <a:r>
              <a:rPr lang="de-AT" dirty="0" err="1"/>
              <a:t>seveda</a:t>
            </a:r>
            <a:r>
              <a:rPr lang="de-AT" dirty="0"/>
              <a:t> </a:t>
            </a:r>
            <a:r>
              <a:rPr lang="de-AT" dirty="0" err="1"/>
              <a:t>tudi</a:t>
            </a:r>
            <a:r>
              <a:rPr lang="de-AT" dirty="0"/>
              <a:t> SGZ  </a:t>
            </a:r>
            <a:r>
              <a:rPr lang="de-AT" dirty="0" err="1"/>
              <a:t>za</a:t>
            </a:r>
            <a:r>
              <a:rPr lang="de-AT" dirty="0"/>
              <a:t> </a:t>
            </a:r>
            <a:r>
              <a:rPr lang="de-AT" dirty="0" err="1"/>
              <a:t>organizacijo</a:t>
            </a:r>
            <a:r>
              <a:rPr lang="de-AT" dirty="0"/>
              <a:t> </a:t>
            </a:r>
            <a:r>
              <a:rPr lang="de-AT" dirty="0" err="1"/>
              <a:t>tega</a:t>
            </a:r>
            <a:r>
              <a:rPr lang="de-AT" dirty="0"/>
              <a:t> </a:t>
            </a:r>
            <a:r>
              <a:rPr lang="de-AT" dirty="0" err="1"/>
              <a:t>webinarja</a:t>
            </a:r>
            <a:r>
              <a:rPr lang="de-AT"/>
              <a:t>!</a:t>
            </a:r>
            <a:endParaRPr lang="de-AT" dirty="0"/>
          </a:p>
          <a:p>
            <a:endParaRPr lang="de-AT" dirty="0"/>
          </a:p>
          <a:p>
            <a:endParaRPr lang="de-AT" dirty="0"/>
          </a:p>
          <a:p>
            <a:r>
              <a:rPr lang="sl-SI" dirty="0"/>
              <a:t>Sedaj pa preidemo k vprašanjim, ki so nam jih postavili udeleženci. </a:t>
            </a:r>
          </a:p>
          <a:p>
            <a:r>
              <a:rPr lang="sl-SI" dirty="0"/>
              <a:t>Prvo .....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900C33-90AE-4963-9AD8-3B07939F57E9}" type="slidenum">
              <a:rPr lang="en-GB" smtClean="0"/>
              <a:t>3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24355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dirty="0"/>
              <a:t>BIP/Kopf: ABA_Standortvorteile_Österreich_07-2023.pdf</a:t>
            </a:r>
          </a:p>
          <a:p>
            <a:r>
              <a:rPr lang="de-AT" dirty="0"/>
              <a:t>Exportquote: http://wko.at/statistik/eu/europa-exportquoten.pdf</a:t>
            </a:r>
          </a:p>
          <a:p>
            <a:r>
              <a:rPr lang="de-AT" dirty="0"/>
              <a:t>Produktivität: ABA_Arbeitsproduktivität_Österreich.pdf</a:t>
            </a:r>
          </a:p>
          <a:p>
            <a:r>
              <a:rPr lang="de-AT" dirty="0"/>
              <a:t>Forschungsquote: https://www.statistik.at/statistiken/forschung-innovation-digitalisierung/forschung-und-experimentelle-entwicklung-fe/forschungsquote-globalschaetzung</a:t>
            </a:r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900C33-90AE-4963-9AD8-3B07939F57E9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39098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57F53C-CD48-C69E-9262-1C928BED40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4616913-0178-3BE3-9D95-AB857B76355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F5F53D3-D758-F7F0-16B3-D54222C6F18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 err="1"/>
              <a:t>Avstrija</a:t>
            </a:r>
            <a:r>
              <a:rPr lang="it-IT" dirty="0"/>
              <a:t> je </a:t>
            </a:r>
            <a:r>
              <a:rPr lang="it-IT" dirty="0" err="1"/>
              <a:t>močno</a:t>
            </a:r>
            <a:r>
              <a:rPr lang="it-IT" dirty="0"/>
              <a:t> </a:t>
            </a:r>
            <a:r>
              <a:rPr lang="it-IT" dirty="0" err="1"/>
              <a:t>industrializirana</a:t>
            </a:r>
            <a:r>
              <a:rPr lang="it-IT" dirty="0"/>
              <a:t> </a:t>
            </a:r>
            <a:r>
              <a:rPr lang="it-IT" dirty="0" err="1"/>
              <a:t>država</a:t>
            </a:r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E269CC7-7484-8898-1086-6932DABF889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900C33-90AE-4963-9AD8-3B07939F57E9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85731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l-SI" dirty="0"/>
              <a:t>Obstaja  </a:t>
            </a:r>
            <a:r>
              <a:rPr lang="de-DE" dirty="0"/>
              <a:t>5 </a:t>
            </a:r>
            <a:r>
              <a:rPr lang="de-DE" dirty="0" err="1"/>
              <a:t>razlogov</a:t>
            </a:r>
            <a:r>
              <a:rPr lang="de-DE" dirty="0"/>
              <a:t> </a:t>
            </a:r>
            <a:r>
              <a:rPr lang="de-DE" dirty="0" err="1"/>
              <a:t>zakaj</a:t>
            </a:r>
            <a:r>
              <a:rPr lang="de-DE" dirty="0"/>
              <a:t> se </a:t>
            </a:r>
            <a:r>
              <a:rPr lang="de-DE" dirty="0" err="1"/>
              <a:t>vsako</a:t>
            </a:r>
            <a:r>
              <a:rPr lang="de-DE" dirty="0"/>
              <a:t> </a:t>
            </a:r>
            <a:r>
              <a:rPr lang="de-DE" dirty="0" err="1"/>
              <a:t>leto</a:t>
            </a:r>
            <a:r>
              <a:rPr lang="de-DE" dirty="0"/>
              <a:t> </a:t>
            </a:r>
            <a:r>
              <a:rPr lang="de-DE" dirty="0" err="1"/>
              <a:t>nekaj</a:t>
            </a:r>
            <a:r>
              <a:rPr lang="de-DE" dirty="0"/>
              <a:t> 100 </a:t>
            </a:r>
            <a:r>
              <a:rPr lang="de-DE" dirty="0" err="1"/>
              <a:t>mednarodnih</a:t>
            </a:r>
            <a:r>
              <a:rPr lang="de-DE" dirty="0"/>
              <a:t> </a:t>
            </a:r>
            <a:r>
              <a:rPr lang="de-DE" dirty="0" err="1"/>
              <a:t>podjetij</a:t>
            </a:r>
            <a:r>
              <a:rPr lang="de-DE" dirty="0"/>
              <a:t> in </a:t>
            </a:r>
            <a:r>
              <a:rPr lang="de-DE" dirty="0" err="1"/>
              <a:t>podjetnikov</a:t>
            </a:r>
            <a:r>
              <a:rPr lang="de-DE" dirty="0"/>
              <a:t> </a:t>
            </a:r>
            <a:r>
              <a:rPr lang="de-DE" dirty="0" err="1"/>
              <a:t>odlo</a:t>
            </a:r>
            <a:r>
              <a:rPr lang="sl-SI" dirty="0"/>
              <a:t>ča za ustanovitev podjetja v Avstriji. Kateri so to? </a:t>
            </a:r>
          </a:p>
          <a:p>
            <a:r>
              <a:rPr lang="sl-SI" dirty="0"/>
              <a:t>Eden izmed najvažnejših razlogov za tujo investicijo je seveda razširitev trga in vstop na nov trg, do novih kupcih in partnerjih.</a:t>
            </a:r>
          </a:p>
          <a:p>
            <a:endParaRPr lang="sl-SI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900C33-90AE-4963-9AD8-3B07939F57E9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66986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… </a:t>
            </a:r>
            <a:r>
              <a:rPr lang="sl-SI" dirty="0"/>
              <a:t>in dodatno dostop do 760 mio. strank v </a:t>
            </a:r>
            <a:r>
              <a:rPr lang="de-DE" dirty="0"/>
              <a:t> </a:t>
            </a:r>
            <a:r>
              <a:rPr lang="sl-SI" dirty="0"/>
              <a:t>3 urah časa letenja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900C33-90AE-4963-9AD8-3B07939F57E9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57883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dirty="0"/>
              <a:t>https://abagmbh.sharepoint.com/:b:/s/ABA-Extern/EY8BpTcnxQdCj1kjOCvsvf4B0zcA44MBx_6wBjL0suNUdA?e=FLBTWq</a:t>
            </a:r>
          </a:p>
          <a:p>
            <a:endParaRPr lang="sl-SI" dirty="0"/>
          </a:p>
          <a:p>
            <a:r>
              <a:rPr lang="sl-SI" dirty="0"/>
              <a:t>Slovenija nekje 90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900C33-90AE-4963-9AD8-3B07939F57E9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58554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l-SI" dirty="0"/>
              <a:t>Drugi </a:t>
            </a:r>
            <a:r>
              <a:rPr lang="sl-SI" b="1" dirty="0"/>
              <a:t>pomemben faktor </a:t>
            </a:r>
            <a:r>
              <a:rPr lang="sl-SI" dirty="0"/>
              <a:t>zakaj mednarodna podjetja izberejo poslovno lokacijo v Avstriji  - in to še bolj pomembno v tako turbulentih časih – sta faktorja varnost in stabilnost in to na različnih ravneh, npr. če pogledamo na samo na delovne razmer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l-SI" dirty="0"/>
              <a:t>Zanesljv pravni sist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l-SI" dirty="0"/>
              <a:t>Učinkovita birokracij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l-SI" dirty="0"/>
              <a:t>Visoka osebna varnost</a:t>
            </a:r>
            <a:endParaRPr lang="de-D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l-SI" dirty="0"/>
              <a:t>Nizka stopnja stavk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900C33-90AE-4963-9AD8-3B07939F57E9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92796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6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2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3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6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7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9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0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1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2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3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4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5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6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7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8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9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0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1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A Titelse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7332E98-2E79-4AB8-834A-078413608C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6942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7332E98-2E79-4AB8-834A-078413608C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2">
            <a:extLst>
              <a:ext uri="{FF2B5EF4-FFF2-40B4-BE49-F238E27FC236}">
                <a16:creationId xmlns:a16="http://schemas.microsoft.com/office/drawing/2014/main" id="{3CA01687-6449-4359-B6A7-6B0C6F8EE156}"/>
              </a:ext>
            </a:extLst>
          </p:cNvPr>
          <p:cNvSpPr/>
          <p:nvPr/>
        </p:nvSpPr>
        <p:spPr>
          <a:xfrm>
            <a:off x="0" y="1067635"/>
            <a:ext cx="12192000" cy="5790366"/>
          </a:xfrm>
          <a:custGeom>
            <a:avLst/>
            <a:gdLst/>
            <a:ahLst/>
            <a:cxnLst/>
            <a:rect l="l" t="t" r="r" b="b"/>
            <a:pathLst>
              <a:path w="20104100" h="9486900">
                <a:moveTo>
                  <a:pt x="20104099" y="0"/>
                </a:moveTo>
                <a:lnTo>
                  <a:pt x="0" y="0"/>
                </a:lnTo>
                <a:lnTo>
                  <a:pt x="0" y="9486622"/>
                </a:lnTo>
                <a:lnTo>
                  <a:pt x="20104099" y="9486622"/>
                </a:lnTo>
                <a:lnTo>
                  <a:pt x="20104099" y="0"/>
                </a:lnTo>
                <a:close/>
              </a:path>
            </a:pathLst>
          </a:custGeom>
          <a:solidFill>
            <a:srgbClr val="E6320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42">
            <a:extLst>
              <a:ext uri="{FF2B5EF4-FFF2-40B4-BE49-F238E27FC236}">
                <a16:creationId xmlns:a16="http://schemas.microsoft.com/office/drawing/2014/main" id="{FBC595D4-4F23-48D5-879E-BC30C15170B3}"/>
              </a:ext>
            </a:extLst>
          </p:cNvPr>
          <p:cNvSpPr/>
          <p:nvPr/>
        </p:nvSpPr>
        <p:spPr>
          <a:xfrm>
            <a:off x="2839937" y="4454862"/>
            <a:ext cx="3010261" cy="2402972"/>
          </a:xfrm>
          <a:custGeom>
            <a:avLst/>
            <a:gdLst/>
            <a:ahLst/>
            <a:cxnLst/>
            <a:rect l="l" t="t" r="r" b="b"/>
            <a:pathLst>
              <a:path w="4963795" h="3962400">
                <a:moveTo>
                  <a:pt x="2893252" y="0"/>
                </a:moveTo>
                <a:lnTo>
                  <a:pt x="2069936" y="0"/>
                </a:lnTo>
                <a:lnTo>
                  <a:pt x="0" y="3962392"/>
                </a:lnTo>
                <a:lnTo>
                  <a:pt x="910307" y="3962392"/>
                </a:lnTo>
                <a:lnTo>
                  <a:pt x="2470019" y="1039737"/>
                </a:lnTo>
                <a:lnTo>
                  <a:pt x="4029699" y="3962392"/>
                </a:lnTo>
                <a:lnTo>
                  <a:pt x="4963199" y="3962392"/>
                </a:lnTo>
                <a:lnTo>
                  <a:pt x="2893252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89862" y="1315327"/>
            <a:ext cx="5452601" cy="1099925"/>
          </a:xfrm>
          <a:prstGeom prst="rect">
            <a:avLst/>
          </a:prstGeom>
          <a:noFill/>
        </p:spPr>
        <p:txBody>
          <a:bodyPr vert="horz" anchor="b">
            <a:no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89862" y="2565345"/>
            <a:ext cx="5452601" cy="872257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929DC8-987C-4BF4-9A49-8F549F1F3D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90154" y="3587745"/>
            <a:ext cx="5453026" cy="619426"/>
          </a:xfrm>
        </p:spPr>
        <p:txBody>
          <a:bodyPr anchor="b"/>
          <a:lstStyle>
            <a:lvl1pPr>
              <a:spcBef>
                <a:spcPts val="600"/>
              </a:spcBef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15A6ABB2-F500-47E2-9DC7-0BB640B9A493}"/>
              </a:ext>
            </a:extLst>
          </p:cNvPr>
          <p:cNvGrpSpPr/>
          <p:nvPr userDrawn="1"/>
        </p:nvGrpSpPr>
        <p:grpSpPr>
          <a:xfrm>
            <a:off x="278910" y="159754"/>
            <a:ext cx="2178646" cy="747961"/>
            <a:chOff x="3138488" y="168275"/>
            <a:chExt cx="3074988" cy="1055688"/>
          </a:xfrm>
        </p:grpSpPr>
        <p:sp>
          <p:nvSpPr>
            <p:cNvPr id="59" name="AutoShape 3">
              <a:extLst>
                <a:ext uri="{FF2B5EF4-FFF2-40B4-BE49-F238E27FC236}">
                  <a16:creationId xmlns:a16="http://schemas.microsoft.com/office/drawing/2014/main" id="{4F5F4692-9A00-49E4-9621-A5FDE29EDBE7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3138488" y="168275"/>
              <a:ext cx="3073400" cy="10556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5">
              <a:extLst>
                <a:ext uri="{FF2B5EF4-FFF2-40B4-BE49-F238E27FC236}">
                  <a16:creationId xmlns:a16="http://schemas.microsoft.com/office/drawing/2014/main" id="{AFC503C3-7BE6-4000-89FC-259AD3DEEB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94226" y="171450"/>
              <a:ext cx="774700" cy="639763"/>
            </a:xfrm>
            <a:custGeom>
              <a:avLst/>
              <a:gdLst>
                <a:gd name="T0" fmla="*/ 90 w 488"/>
                <a:gd name="T1" fmla="*/ 403 h 403"/>
                <a:gd name="T2" fmla="*/ 0 w 488"/>
                <a:gd name="T3" fmla="*/ 403 h 403"/>
                <a:gd name="T4" fmla="*/ 203 w 488"/>
                <a:gd name="T5" fmla="*/ 0 h 403"/>
                <a:gd name="T6" fmla="*/ 285 w 488"/>
                <a:gd name="T7" fmla="*/ 0 h 403"/>
                <a:gd name="T8" fmla="*/ 488 w 488"/>
                <a:gd name="T9" fmla="*/ 403 h 403"/>
                <a:gd name="T10" fmla="*/ 396 w 488"/>
                <a:gd name="T11" fmla="*/ 403 h 403"/>
                <a:gd name="T12" fmla="*/ 243 w 488"/>
                <a:gd name="T13" fmla="*/ 106 h 403"/>
                <a:gd name="T14" fmla="*/ 90 w 488"/>
                <a:gd name="T15" fmla="*/ 403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8" h="403">
                  <a:moveTo>
                    <a:pt x="90" y="403"/>
                  </a:moveTo>
                  <a:lnTo>
                    <a:pt x="0" y="403"/>
                  </a:lnTo>
                  <a:lnTo>
                    <a:pt x="203" y="0"/>
                  </a:lnTo>
                  <a:lnTo>
                    <a:pt x="285" y="0"/>
                  </a:lnTo>
                  <a:lnTo>
                    <a:pt x="488" y="403"/>
                  </a:lnTo>
                  <a:lnTo>
                    <a:pt x="396" y="403"/>
                  </a:lnTo>
                  <a:lnTo>
                    <a:pt x="243" y="106"/>
                  </a:lnTo>
                  <a:lnTo>
                    <a:pt x="90" y="403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Rectangle 6">
              <a:extLst>
                <a:ext uri="{FF2B5EF4-FFF2-40B4-BE49-F238E27FC236}">
                  <a16:creationId xmlns:a16="http://schemas.microsoft.com/office/drawing/2014/main" id="{21250879-5A2A-447C-B8B9-BF80DCC0A3B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64163" y="171450"/>
              <a:ext cx="22225" cy="171450"/>
            </a:xfrm>
            <a:prstGeom prst="rect">
              <a:avLst/>
            </a:pr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Freeform 7">
              <a:extLst>
                <a:ext uri="{FF2B5EF4-FFF2-40B4-BE49-F238E27FC236}">
                  <a16:creationId xmlns:a16="http://schemas.microsoft.com/office/drawing/2014/main" id="{285860EA-F0E2-4152-87BE-730AD1E9C8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37188" y="171450"/>
              <a:ext cx="144463" cy="171450"/>
            </a:xfrm>
            <a:custGeom>
              <a:avLst/>
              <a:gdLst>
                <a:gd name="T0" fmla="*/ 0 w 135"/>
                <a:gd name="T1" fmla="*/ 161 h 161"/>
                <a:gd name="T2" fmla="*/ 0 w 135"/>
                <a:gd name="T3" fmla="*/ 0 h 161"/>
                <a:gd name="T4" fmla="*/ 20 w 135"/>
                <a:gd name="T5" fmla="*/ 0 h 161"/>
                <a:gd name="T6" fmla="*/ 87 w 135"/>
                <a:gd name="T7" fmla="*/ 90 h 161"/>
                <a:gd name="T8" fmla="*/ 115 w 135"/>
                <a:gd name="T9" fmla="*/ 127 h 161"/>
                <a:gd name="T10" fmla="*/ 115 w 135"/>
                <a:gd name="T11" fmla="*/ 127 h 161"/>
                <a:gd name="T12" fmla="*/ 115 w 135"/>
                <a:gd name="T13" fmla="*/ 81 h 161"/>
                <a:gd name="T14" fmla="*/ 115 w 135"/>
                <a:gd name="T15" fmla="*/ 0 h 161"/>
                <a:gd name="T16" fmla="*/ 135 w 135"/>
                <a:gd name="T17" fmla="*/ 0 h 161"/>
                <a:gd name="T18" fmla="*/ 135 w 135"/>
                <a:gd name="T19" fmla="*/ 161 h 161"/>
                <a:gd name="T20" fmla="*/ 115 w 135"/>
                <a:gd name="T21" fmla="*/ 161 h 161"/>
                <a:gd name="T22" fmla="*/ 48 w 135"/>
                <a:gd name="T23" fmla="*/ 72 h 161"/>
                <a:gd name="T24" fmla="*/ 20 w 135"/>
                <a:gd name="T25" fmla="*/ 34 h 161"/>
                <a:gd name="T26" fmla="*/ 20 w 135"/>
                <a:gd name="T27" fmla="*/ 35 h 161"/>
                <a:gd name="T28" fmla="*/ 20 w 135"/>
                <a:gd name="T29" fmla="*/ 80 h 161"/>
                <a:gd name="T30" fmla="*/ 20 w 135"/>
                <a:gd name="T31" fmla="*/ 161 h 161"/>
                <a:gd name="T32" fmla="*/ 0 w 135"/>
                <a:gd name="T33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61">
                  <a:moveTo>
                    <a:pt x="0" y="16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87" y="90"/>
                    <a:pt x="87" y="90"/>
                    <a:pt x="87" y="90"/>
                  </a:cubicBezTo>
                  <a:cubicBezTo>
                    <a:pt x="96" y="102"/>
                    <a:pt x="106" y="115"/>
                    <a:pt x="115" y="127"/>
                  </a:cubicBezTo>
                  <a:cubicBezTo>
                    <a:pt x="115" y="127"/>
                    <a:pt x="115" y="127"/>
                    <a:pt x="115" y="127"/>
                  </a:cubicBezTo>
                  <a:cubicBezTo>
                    <a:pt x="115" y="113"/>
                    <a:pt x="115" y="97"/>
                    <a:pt x="115" y="81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35" y="161"/>
                    <a:pt x="135" y="161"/>
                    <a:pt x="135" y="161"/>
                  </a:cubicBezTo>
                  <a:cubicBezTo>
                    <a:pt x="115" y="161"/>
                    <a:pt x="115" y="161"/>
                    <a:pt x="115" y="161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38" y="60"/>
                    <a:pt x="29" y="47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49"/>
                    <a:pt x="20" y="65"/>
                    <a:pt x="20" y="80"/>
                  </a:cubicBezTo>
                  <a:cubicBezTo>
                    <a:pt x="20" y="161"/>
                    <a:pt x="20" y="161"/>
                    <a:pt x="20" y="161"/>
                  </a:cubicBezTo>
                  <a:lnTo>
                    <a:pt x="0" y="161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8">
              <a:extLst>
                <a:ext uri="{FF2B5EF4-FFF2-40B4-BE49-F238E27FC236}">
                  <a16:creationId xmlns:a16="http://schemas.microsoft.com/office/drawing/2014/main" id="{CE531ECA-3D51-47B9-B622-71D7745209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13401" y="171450"/>
              <a:ext cx="155575" cy="171450"/>
            </a:xfrm>
            <a:custGeom>
              <a:avLst/>
              <a:gdLst>
                <a:gd name="T0" fmla="*/ 0 w 146"/>
                <a:gd name="T1" fmla="*/ 0 h 161"/>
                <a:gd name="T2" fmla="*/ 23 w 146"/>
                <a:gd name="T3" fmla="*/ 0 h 161"/>
                <a:gd name="T4" fmla="*/ 57 w 146"/>
                <a:gd name="T5" fmla="*/ 91 h 161"/>
                <a:gd name="T6" fmla="*/ 73 w 146"/>
                <a:gd name="T7" fmla="*/ 133 h 161"/>
                <a:gd name="T8" fmla="*/ 73 w 146"/>
                <a:gd name="T9" fmla="*/ 133 h 161"/>
                <a:gd name="T10" fmla="*/ 90 w 146"/>
                <a:gd name="T11" fmla="*/ 90 h 161"/>
                <a:gd name="T12" fmla="*/ 124 w 146"/>
                <a:gd name="T13" fmla="*/ 0 h 161"/>
                <a:gd name="T14" fmla="*/ 146 w 146"/>
                <a:gd name="T15" fmla="*/ 0 h 161"/>
                <a:gd name="T16" fmla="*/ 84 w 146"/>
                <a:gd name="T17" fmla="*/ 161 h 161"/>
                <a:gd name="T18" fmla="*/ 62 w 146"/>
                <a:gd name="T19" fmla="*/ 161 h 161"/>
                <a:gd name="T20" fmla="*/ 0 w 146"/>
                <a:gd name="T21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6" h="161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62" y="105"/>
                    <a:pt x="68" y="118"/>
                    <a:pt x="73" y="133"/>
                  </a:cubicBezTo>
                  <a:cubicBezTo>
                    <a:pt x="73" y="133"/>
                    <a:pt x="73" y="133"/>
                    <a:pt x="73" y="133"/>
                  </a:cubicBezTo>
                  <a:cubicBezTo>
                    <a:pt x="79" y="119"/>
                    <a:pt x="84" y="104"/>
                    <a:pt x="90" y="9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84" y="161"/>
                    <a:pt x="84" y="161"/>
                    <a:pt x="84" y="161"/>
                  </a:cubicBezTo>
                  <a:cubicBezTo>
                    <a:pt x="62" y="161"/>
                    <a:pt x="62" y="161"/>
                    <a:pt x="62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9">
              <a:extLst>
                <a:ext uri="{FF2B5EF4-FFF2-40B4-BE49-F238E27FC236}">
                  <a16:creationId xmlns:a16="http://schemas.microsoft.com/office/drawing/2014/main" id="{FBF65AFC-FBDA-47C5-B439-478D7B2EE3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00726" y="171450"/>
              <a:ext cx="100013" cy="171450"/>
            </a:xfrm>
            <a:custGeom>
              <a:avLst/>
              <a:gdLst>
                <a:gd name="T0" fmla="*/ 0 w 63"/>
                <a:gd name="T1" fmla="*/ 0 h 108"/>
                <a:gd name="T2" fmla="*/ 62 w 63"/>
                <a:gd name="T3" fmla="*/ 0 h 108"/>
                <a:gd name="T4" fmla="*/ 62 w 63"/>
                <a:gd name="T5" fmla="*/ 13 h 108"/>
                <a:gd name="T6" fmla="*/ 14 w 63"/>
                <a:gd name="T7" fmla="*/ 13 h 108"/>
                <a:gd name="T8" fmla="*/ 14 w 63"/>
                <a:gd name="T9" fmla="*/ 46 h 108"/>
                <a:gd name="T10" fmla="*/ 56 w 63"/>
                <a:gd name="T11" fmla="*/ 46 h 108"/>
                <a:gd name="T12" fmla="*/ 56 w 63"/>
                <a:gd name="T13" fmla="*/ 58 h 108"/>
                <a:gd name="T14" fmla="*/ 14 w 63"/>
                <a:gd name="T15" fmla="*/ 58 h 108"/>
                <a:gd name="T16" fmla="*/ 14 w 63"/>
                <a:gd name="T17" fmla="*/ 95 h 108"/>
                <a:gd name="T18" fmla="*/ 63 w 63"/>
                <a:gd name="T19" fmla="*/ 95 h 108"/>
                <a:gd name="T20" fmla="*/ 63 w 63"/>
                <a:gd name="T21" fmla="*/ 108 h 108"/>
                <a:gd name="T22" fmla="*/ 0 w 63"/>
                <a:gd name="T23" fmla="*/ 108 h 108"/>
                <a:gd name="T24" fmla="*/ 0 w 63"/>
                <a:gd name="T25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108">
                  <a:moveTo>
                    <a:pt x="0" y="0"/>
                  </a:moveTo>
                  <a:lnTo>
                    <a:pt x="62" y="0"/>
                  </a:lnTo>
                  <a:lnTo>
                    <a:pt x="62" y="13"/>
                  </a:lnTo>
                  <a:lnTo>
                    <a:pt x="14" y="13"/>
                  </a:lnTo>
                  <a:lnTo>
                    <a:pt x="14" y="46"/>
                  </a:lnTo>
                  <a:lnTo>
                    <a:pt x="56" y="46"/>
                  </a:lnTo>
                  <a:lnTo>
                    <a:pt x="56" y="58"/>
                  </a:lnTo>
                  <a:lnTo>
                    <a:pt x="14" y="58"/>
                  </a:lnTo>
                  <a:lnTo>
                    <a:pt x="14" y="95"/>
                  </a:lnTo>
                  <a:lnTo>
                    <a:pt x="63" y="95"/>
                  </a:lnTo>
                  <a:lnTo>
                    <a:pt x="63" y="108"/>
                  </a:lnTo>
                  <a:lnTo>
                    <a:pt x="0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10">
              <a:extLst>
                <a:ext uri="{FF2B5EF4-FFF2-40B4-BE49-F238E27FC236}">
                  <a16:creationId xmlns:a16="http://schemas.microsoft.com/office/drawing/2014/main" id="{A46F922E-3CD2-4375-8049-8F19383CC6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37251" y="169863"/>
              <a:ext cx="112713" cy="176213"/>
            </a:xfrm>
            <a:custGeom>
              <a:avLst/>
              <a:gdLst>
                <a:gd name="T0" fmla="*/ 4 w 106"/>
                <a:gd name="T1" fmla="*/ 130 h 166"/>
                <a:gd name="T2" fmla="*/ 52 w 106"/>
                <a:gd name="T3" fmla="*/ 146 h 166"/>
                <a:gd name="T4" fmla="*/ 85 w 106"/>
                <a:gd name="T5" fmla="*/ 120 h 166"/>
                <a:gd name="T6" fmla="*/ 45 w 106"/>
                <a:gd name="T7" fmla="*/ 90 h 166"/>
                <a:gd name="T8" fmla="*/ 0 w 106"/>
                <a:gd name="T9" fmla="*/ 45 h 166"/>
                <a:gd name="T10" fmla="*/ 52 w 106"/>
                <a:gd name="T11" fmla="*/ 0 h 166"/>
                <a:gd name="T12" fmla="*/ 99 w 106"/>
                <a:gd name="T13" fmla="*/ 12 h 166"/>
                <a:gd name="T14" fmla="*/ 99 w 106"/>
                <a:gd name="T15" fmla="*/ 34 h 166"/>
                <a:gd name="T16" fmla="*/ 52 w 106"/>
                <a:gd name="T17" fmla="*/ 19 h 166"/>
                <a:gd name="T18" fmla="*/ 21 w 106"/>
                <a:gd name="T19" fmla="*/ 43 h 166"/>
                <a:gd name="T20" fmla="*/ 60 w 106"/>
                <a:gd name="T21" fmla="*/ 72 h 166"/>
                <a:gd name="T22" fmla="*/ 106 w 106"/>
                <a:gd name="T23" fmla="*/ 119 h 166"/>
                <a:gd name="T24" fmla="*/ 52 w 106"/>
                <a:gd name="T25" fmla="*/ 166 h 166"/>
                <a:gd name="T26" fmla="*/ 4 w 106"/>
                <a:gd name="T27" fmla="*/ 153 h 166"/>
                <a:gd name="T28" fmla="*/ 4 w 106"/>
                <a:gd name="T29" fmla="*/ 13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6" h="166">
                  <a:moveTo>
                    <a:pt x="4" y="130"/>
                  </a:moveTo>
                  <a:cubicBezTo>
                    <a:pt x="19" y="141"/>
                    <a:pt x="38" y="146"/>
                    <a:pt x="52" y="146"/>
                  </a:cubicBezTo>
                  <a:cubicBezTo>
                    <a:pt x="72" y="146"/>
                    <a:pt x="85" y="138"/>
                    <a:pt x="85" y="120"/>
                  </a:cubicBezTo>
                  <a:cubicBezTo>
                    <a:pt x="85" y="99"/>
                    <a:pt x="66" y="96"/>
                    <a:pt x="45" y="90"/>
                  </a:cubicBezTo>
                  <a:cubicBezTo>
                    <a:pt x="22" y="83"/>
                    <a:pt x="0" y="74"/>
                    <a:pt x="0" y="45"/>
                  </a:cubicBezTo>
                  <a:cubicBezTo>
                    <a:pt x="0" y="16"/>
                    <a:pt x="21" y="0"/>
                    <a:pt x="52" y="0"/>
                  </a:cubicBezTo>
                  <a:cubicBezTo>
                    <a:pt x="68" y="0"/>
                    <a:pt x="86" y="4"/>
                    <a:pt x="99" y="12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84" y="24"/>
                    <a:pt x="66" y="19"/>
                    <a:pt x="52" y="19"/>
                  </a:cubicBezTo>
                  <a:cubicBezTo>
                    <a:pt x="34" y="19"/>
                    <a:pt x="21" y="27"/>
                    <a:pt x="21" y="43"/>
                  </a:cubicBezTo>
                  <a:cubicBezTo>
                    <a:pt x="21" y="63"/>
                    <a:pt x="40" y="67"/>
                    <a:pt x="60" y="72"/>
                  </a:cubicBezTo>
                  <a:cubicBezTo>
                    <a:pt x="83" y="79"/>
                    <a:pt x="106" y="88"/>
                    <a:pt x="106" y="119"/>
                  </a:cubicBezTo>
                  <a:cubicBezTo>
                    <a:pt x="106" y="148"/>
                    <a:pt x="84" y="166"/>
                    <a:pt x="52" y="166"/>
                  </a:cubicBezTo>
                  <a:cubicBezTo>
                    <a:pt x="37" y="166"/>
                    <a:pt x="18" y="161"/>
                    <a:pt x="4" y="153"/>
                  </a:cubicBezTo>
                  <a:lnTo>
                    <a:pt x="4" y="13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11">
              <a:extLst>
                <a:ext uri="{FF2B5EF4-FFF2-40B4-BE49-F238E27FC236}">
                  <a16:creationId xmlns:a16="http://schemas.microsoft.com/office/drawing/2014/main" id="{DE3CC004-BDC4-4520-AA41-7BB0AF7F18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7426" y="171450"/>
              <a:ext cx="136525" cy="171450"/>
            </a:xfrm>
            <a:custGeom>
              <a:avLst/>
              <a:gdLst>
                <a:gd name="T0" fmla="*/ 36 w 86"/>
                <a:gd name="T1" fmla="*/ 13 h 108"/>
                <a:gd name="T2" fmla="*/ 0 w 86"/>
                <a:gd name="T3" fmla="*/ 13 h 108"/>
                <a:gd name="T4" fmla="*/ 0 w 86"/>
                <a:gd name="T5" fmla="*/ 0 h 108"/>
                <a:gd name="T6" fmla="*/ 86 w 86"/>
                <a:gd name="T7" fmla="*/ 0 h 108"/>
                <a:gd name="T8" fmla="*/ 86 w 86"/>
                <a:gd name="T9" fmla="*/ 13 h 108"/>
                <a:gd name="T10" fmla="*/ 51 w 86"/>
                <a:gd name="T11" fmla="*/ 13 h 108"/>
                <a:gd name="T12" fmla="*/ 51 w 86"/>
                <a:gd name="T13" fmla="*/ 108 h 108"/>
                <a:gd name="T14" fmla="*/ 36 w 86"/>
                <a:gd name="T15" fmla="*/ 108 h 108"/>
                <a:gd name="T16" fmla="*/ 36 w 86"/>
                <a:gd name="T17" fmla="*/ 1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108">
                  <a:moveTo>
                    <a:pt x="36" y="13"/>
                  </a:moveTo>
                  <a:lnTo>
                    <a:pt x="0" y="13"/>
                  </a:lnTo>
                  <a:lnTo>
                    <a:pt x="0" y="0"/>
                  </a:lnTo>
                  <a:lnTo>
                    <a:pt x="86" y="0"/>
                  </a:lnTo>
                  <a:lnTo>
                    <a:pt x="86" y="13"/>
                  </a:lnTo>
                  <a:lnTo>
                    <a:pt x="51" y="13"/>
                  </a:lnTo>
                  <a:lnTo>
                    <a:pt x="51" y="108"/>
                  </a:lnTo>
                  <a:lnTo>
                    <a:pt x="36" y="108"/>
                  </a:lnTo>
                  <a:lnTo>
                    <a:pt x="36" y="13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12">
              <a:extLst>
                <a:ext uri="{FF2B5EF4-FFF2-40B4-BE49-F238E27FC236}">
                  <a16:creationId xmlns:a16="http://schemas.microsoft.com/office/drawing/2014/main" id="{D76FF390-B281-4D23-925D-CD83DFD21B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41951" y="406400"/>
              <a:ext cx="233363" cy="171450"/>
            </a:xfrm>
            <a:custGeom>
              <a:avLst/>
              <a:gdLst>
                <a:gd name="T0" fmla="*/ 0 w 220"/>
                <a:gd name="T1" fmla="*/ 0 h 161"/>
                <a:gd name="T2" fmla="*/ 22 w 220"/>
                <a:gd name="T3" fmla="*/ 0 h 161"/>
                <a:gd name="T4" fmla="*/ 49 w 220"/>
                <a:gd name="T5" fmla="*/ 87 h 161"/>
                <a:gd name="T6" fmla="*/ 62 w 220"/>
                <a:gd name="T7" fmla="*/ 129 h 161"/>
                <a:gd name="T8" fmla="*/ 62 w 220"/>
                <a:gd name="T9" fmla="*/ 129 h 161"/>
                <a:gd name="T10" fmla="*/ 75 w 220"/>
                <a:gd name="T11" fmla="*/ 87 h 161"/>
                <a:gd name="T12" fmla="*/ 103 w 220"/>
                <a:gd name="T13" fmla="*/ 0 h 161"/>
                <a:gd name="T14" fmla="*/ 118 w 220"/>
                <a:gd name="T15" fmla="*/ 0 h 161"/>
                <a:gd name="T16" fmla="*/ 146 w 220"/>
                <a:gd name="T17" fmla="*/ 87 h 161"/>
                <a:gd name="T18" fmla="*/ 158 w 220"/>
                <a:gd name="T19" fmla="*/ 129 h 161"/>
                <a:gd name="T20" fmla="*/ 159 w 220"/>
                <a:gd name="T21" fmla="*/ 129 h 161"/>
                <a:gd name="T22" fmla="*/ 172 w 220"/>
                <a:gd name="T23" fmla="*/ 87 h 161"/>
                <a:gd name="T24" fmla="*/ 198 w 220"/>
                <a:gd name="T25" fmla="*/ 0 h 161"/>
                <a:gd name="T26" fmla="*/ 220 w 220"/>
                <a:gd name="T27" fmla="*/ 0 h 161"/>
                <a:gd name="T28" fmla="*/ 170 w 220"/>
                <a:gd name="T29" fmla="*/ 161 h 161"/>
                <a:gd name="T30" fmla="*/ 147 w 220"/>
                <a:gd name="T31" fmla="*/ 161 h 161"/>
                <a:gd name="T32" fmla="*/ 122 w 220"/>
                <a:gd name="T33" fmla="*/ 79 h 161"/>
                <a:gd name="T34" fmla="*/ 110 w 220"/>
                <a:gd name="T35" fmla="*/ 42 h 161"/>
                <a:gd name="T36" fmla="*/ 110 w 220"/>
                <a:gd name="T37" fmla="*/ 42 h 161"/>
                <a:gd name="T38" fmla="*/ 98 w 220"/>
                <a:gd name="T39" fmla="*/ 79 h 161"/>
                <a:gd name="T40" fmla="*/ 73 w 220"/>
                <a:gd name="T41" fmla="*/ 161 h 161"/>
                <a:gd name="T42" fmla="*/ 50 w 220"/>
                <a:gd name="T43" fmla="*/ 161 h 161"/>
                <a:gd name="T44" fmla="*/ 0 w 220"/>
                <a:gd name="T45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0" h="161">
                  <a:moveTo>
                    <a:pt x="0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54" y="101"/>
                    <a:pt x="58" y="115"/>
                    <a:pt x="62" y="129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66" y="115"/>
                    <a:pt x="71" y="101"/>
                    <a:pt x="75" y="87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46" y="87"/>
                    <a:pt x="146" y="87"/>
                    <a:pt x="146" y="87"/>
                  </a:cubicBezTo>
                  <a:cubicBezTo>
                    <a:pt x="150" y="101"/>
                    <a:pt x="154" y="115"/>
                    <a:pt x="158" y="129"/>
                  </a:cubicBezTo>
                  <a:cubicBezTo>
                    <a:pt x="159" y="129"/>
                    <a:pt x="159" y="129"/>
                    <a:pt x="159" y="129"/>
                  </a:cubicBezTo>
                  <a:cubicBezTo>
                    <a:pt x="163" y="115"/>
                    <a:pt x="167" y="101"/>
                    <a:pt x="172" y="87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170" y="161"/>
                    <a:pt x="170" y="161"/>
                    <a:pt x="170" y="161"/>
                  </a:cubicBezTo>
                  <a:cubicBezTo>
                    <a:pt x="147" y="161"/>
                    <a:pt x="147" y="161"/>
                    <a:pt x="147" y="161"/>
                  </a:cubicBezTo>
                  <a:cubicBezTo>
                    <a:pt x="122" y="79"/>
                    <a:pt x="122" y="79"/>
                    <a:pt x="122" y="79"/>
                  </a:cubicBezTo>
                  <a:cubicBezTo>
                    <a:pt x="118" y="67"/>
                    <a:pt x="114" y="54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06" y="54"/>
                    <a:pt x="102" y="67"/>
                    <a:pt x="98" y="79"/>
                  </a:cubicBezTo>
                  <a:cubicBezTo>
                    <a:pt x="73" y="161"/>
                    <a:pt x="73" y="161"/>
                    <a:pt x="73" y="161"/>
                  </a:cubicBezTo>
                  <a:cubicBezTo>
                    <a:pt x="50" y="161"/>
                    <a:pt x="50" y="161"/>
                    <a:pt x="50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13">
              <a:extLst>
                <a:ext uri="{FF2B5EF4-FFF2-40B4-BE49-F238E27FC236}">
                  <a16:creationId xmlns:a16="http://schemas.microsoft.com/office/drawing/2014/main" id="{EDE494AB-0DB2-4EB8-80EB-ACEFAC6668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694363" y="403225"/>
              <a:ext cx="174625" cy="176213"/>
            </a:xfrm>
            <a:custGeom>
              <a:avLst/>
              <a:gdLst>
                <a:gd name="T0" fmla="*/ 81 w 163"/>
                <a:gd name="T1" fmla="*/ 0 h 165"/>
                <a:gd name="T2" fmla="*/ 163 w 163"/>
                <a:gd name="T3" fmla="*/ 83 h 165"/>
                <a:gd name="T4" fmla="*/ 81 w 163"/>
                <a:gd name="T5" fmla="*/ 165 h 165"/>
                <a:gd name="T6" fmla="*/ 0 w 163"/>
                <a:gd name="T7" fmla="*/ 83 h 165"/>
                <a:gd name="T8" fmla="*/ 81 w 163"/>
                <a:gd name="T9" fmla="*/ 0 h 165"/>
                <a:gd name="T10" fmla="*/ 81 w 163"/>
                <a:gd name="T11" fmla="*/ 146 h 165"/>
                <a:gd name="T12" fmla="*/ 142 w 163"/>
                <a:gd name="T13" fmla="*/ 83 h 165"/>
                <a:gd name="T14" fmla="*/ 81 w 163"/>
                <a:gd name="T15" fmla="*/ 19 h 165"/>
                <a:gd name="T16" fmla="*/ 21 w 163"/>
                <a:gd name="T17" fmla="*/ 83 h 165"/>
                <a:gd name="T18" fmla="*/ 81 w 163"/>
                <a:gd name="T19" fmla="*/ 146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3" h="165">
                  <a:moveTo>
                    <a:pt x="81" y="0"/>
                  </a:moveTo>
                  <a:cubicBezTo>
                    <a:pt x="128" y="0"/>
                    <a:pt x="163" y="36"/>
                    <a:pt x="163" y="83"/>
                  </a:cubicBezTo>
                  <a:cubicBezTo>
                    <a:pt x="163" y="129"/>
                    <a:pt x="128" y="165"/>
                    <a:pt x="81" y="165"/>
                  </a:cubicBezTo>
                  <a:cubicBezTo>
                    <a:pt x="35" y="165"/>
                    <a:pt x="0" y="129"/>
                    <a:pt x="0" y="83"/>
                  </a:cubicBezTo>
                  <a:cubicBezTo>
                    <a:pt x="0" y="36"/>
                    <a:pt x="35" y="0"/>
                    <a:pt x="81" y="0"/>
                  </a:cubicBezTo>
                  <a:close/>
                  <a:moveTo>
                    <a:pt x="81" y="146"/>
                  </a:moveTo>
                  <a:cubicBezTo>
                    <a:pt x="116" y="146"/>
                    <a:pt x="142" y="118"/>
                    <a:pt x="142" y="83"/>
                  </a:cubicBezTo>
                  <a:cubicBezTo>
                    <a:pt x="142" y="47"/>
                    <a:pt x="116" y="19"/>
                    <a:pt x="81" y="19"/>
                  </a:cubicBezTo>
                  <a:cubicBezTo>
                    <a:pt x="46" y="19"/>
                    <a:pt x="21" y="47"/>
                    <a:pt x="21" y="83"/>
                  </a:cubicBezTo>
                  <a:cubicBezTo>
                    <a:pt x="21" y="118"/>
                    <a:pt x="46" y="146"/>
                    <a:pt x="81" y="146"/>
                  </a:cubicBez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id="{C79D77CB-0202-4218-8FB6-8607652D35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08676" y="406400"/>
              <a:ext cx="130175" cy="171450"/>
            </a:xfrm>
            <a:custGeom>
              <a:avLst/>
              <a:gdLst>
                <a:gd name="T0" fmla="*/ 0 w 123"/>
                <a:gd name="T1" fmla="*/ 0 h 161"/>
                <a:gd name="T2" fmla="*/ 44 w 123"/>
                <a:gd name="T3" fmla="*/ 0 h 161"/>
                <a:gd name="T4" fmla="*/ 88 w 123"/>
                <a:gd name="T5" fmla="*/ 8 h 161"/>
                <a:gd name="T6" fmla="*/ 111 w 123"/>
                <a:gd name="T7" fmla="*/ 46 h 161"/>
                <a:gd name="T8" fmla="*/ 90 w 123"/>
                <a:gd name="T9" fmla="*/ 83 h 161"/>
                <a:gd name="T10" fmla="*/ 72 w 123"/>
                <a:gd name="T11" fmla="*/ 90 h 161"/>
                <a:gd name="T12" fmla="*/ 123 w 123"/>
                <a:gd name="T13" fmla="*/ 161 h 161"/>
                <a:gd name="T14" fmla="*/ 98 w 123"/>
                <a:gd name="T15" fmla="*/ 161 h 161"/>
                <a:gd name="T16" fmla="*/ 48 w 123"/>
                <a:gd name="T17" fmla="*/ 92 h 161"/>
                <a:gd name="T18" fmla="*/ 21 w 123"/>
                <a:gd name="T19" fmla="*/ 92 h 161"/>
                <a:gd name="T20" fmla="*/ 21 w 123"/>
                <a:gd name="T21" fmla="*/ 161 h 161"/>
                <a:gd name="T22" fmla="*/ 0 w 123"/>
                <a:gd name="T23" fmla="*/ 161 h 161"/>
                <a:gd name="T24" fmla="*/ 0 w 123"/>
                <a:gd name="T25" fmla="*/ 0 h 161"/>
                <a:gd name="T26" fmla="*/ 48 w 123"/>
                <a:gd name="T27" fmla="*/ 75 h 161"/>
                <a:gd name="T28" fmla="*/ 80 w 123"/>
                <a:gd name="T29" fmla="*/ 67 h 161"/>
                <a:gd name="T30" fmla="*/ 90 w 123"/>
                <a:gd name="T31" fmla="*/ 47 h 161"/>
                <a:gd name="T32" fmla="*/ 76 w 123"/>
                <a:gd name="T33" fmla="*/ 25 h 161"/>
                <a:gd name="T34" fmla="*/ 42 w 123"/>
                <a:gd name="T35" fmla="*/ 19 h 161"/>
                <a:gd name="T36" fmla="*/ 21 w 123"/>
                <a:gd name="T37" fmla="*/ 19 h 161"/>
                <a:gd name="T38" fmla="*/ 21 w 123"/>
                <a:gd name="T39" fmla="*/ 75 h 161"/>
                <a:gd name="T40" fmla="*/ 48 w 123"/>
                <a:gd name="T41" fmla="*/ 75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3" h="161">
                  <a:moveTo>
                    <a:pt x="0" y="0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60" y="0"/>
                    <a:pt x="75" y="1"/>
                    <a:pt x="88" y="8"/>
                  </a:cubicBezTo>
                  <a:cubicBezTo>
                    <a:pt x="102" y="15"/>
                    <a:pt x="111" y="28"/>
                    <a:pt x="111" y="46"/>
                  </a:cubicBezTo>
                  <a:cubicBezTo>
                    <a:pt x="111" y="63"/>
                    <a:pt x="102" y="76"/>
                    <a:pt x="90" y="83"/>
                  </a:cubicBezTo>
                  <a:cubicBezTo>
                    <a:pt x="84" y="87"/>
                    <a:pt x="78" y="89"/>
                    <a:pt x="72" y="90"/>
                  </a:cubicBezTo>
                  <a:cubicBezTo>
                    <a:pt x="123" y="161"/>
                    <a:pt x="123" y="161"/>
                    <a:pt x="123" y="161"/>
                  </a:cubicBezTo>
                  <a:cubicBezTo>
                    <a:pt x="98" y="161"/>
                    <a:pt x="98" y="161"/>
                    <a:pt x="98" y="161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0" y="161"/>
                    <a:pt x="0" y="161"/>
                    <a:pt x="0" y="161"/>
                  </a:cubicBezTo>
                  <a:lnTo>
                    <a:pt x="0" y="0"/>
                  </a:lnTo>
                  <a:close/>
                  <a:moveTo>
                    <a:pt x="48" y="75"/>
                  </a:moveTo>
                  <a:cubicBezTo>
                    <a:pt x="63" y="75"/>
                    <a:pt x="73" y="73"/>
                    <a:pt x="80" y="67"/>
                  </a:cubicBezTo>
                  <a:cubicBezTo>
                    <a:pt x="86" y="63"/>
                    <a:pt x="90" y="56"/>
                    <a:pt x="90" y="47"/>
                  </a:cubicBezTo>
                  <a:cubicBezTo>
                    <a:pt x="90" y="37"/>
                    <a:pt x="85" y="29"/>
                    <a:pt x="76" y="25"/>
                  </a:cubicBezTo>
                  <a:cubicBezTo>
                    <a:pt x="68" y="20"/>
                    <a:pt x="58" y="19"/>
                    <a:pt x="42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75"/>
                    <a:pt x="21" y="75"/>
                    <a:pt x="21" y="75"/>
                  </a:cubicBezTo>
                  <a:lnTo>
                    <a:pt x="48" y="75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id="{D707E65B-9C32-441A-8682-09F35150E2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81713" y="406400"/>
              <a:ext cx="131763" cy="171450"/>
            </a:xfrm>
            <a:custGeom>
              <a:avLst/>
              <a:gdLst>
                <a:gd name="T0" fmla="*/ 0 w 83"/>
                <a:gd name="T1" fmla="*/ 0 h 108"/>
                <a:gd name="T2" fmla="*/ 14 w 83"/>
                <a:gd name="T3" fmla="*/ 0 h 108"/>
                <a:gd name="T4" fmla="*/ 14 w 83"/>
                <a:gd name="T5" fmla="*/ 49 h 108"/>
                <a:gd name="T6" fmla="*/ 14 w 83"/>
                <a:gd name="T7" fmla="*/ 49 h 108"/>
                <a:gd name="T8" fmla="*/ 61 w 83"/>
                <a:gd name="T9" fmla="*/ 0 h 108"/>
                <a:gd name="T10" fmla="*/ 79 w 83"/>
                <a:gd name="T11" fmla="*/ 0 h 108"/>
                <a:gd name="T12" fmla="*/ 30 w 83"/>
                <a:gd name="T13" fmla="*/ 50 h 108"/>
                <a:gd name="T14" fmla="*/ 83 w 83"/>
                <a:gd name="T15" fmla="*/ 108 h 108"/>
                <a:gd name="T16" fmla="*/ 64 w 83"/>
                <a:gd name="T17" fmla="*/ 108 h 108"/>
                <a:gd name="T18" fmla="*/ 14 w 83"/>
                <a:gd name="T19" fmla="*/ 52 h 108"/>
                <a:gd name="T20" fmla="*/ 14 w 83"/>
                <a:gd name="T21" fmla="*/ 52 h 108"/>
                <a:gd name="T22" fmla="*/ 14 w 83"/>
                <a:gd name="T23" fmla="*/ 108 h 108"/>
                <a:gd name="T24" fmla="*/ 0 w 83"/>
                <a:gd name="T25" fmla="*/ 108 h 108"/>
                <a:gd name="T26" fmla="*/ 0 w 83"/>
                <a:gd name="T27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3" h="108">
                  <a:moveTo>
                    <a:pt x="0" y="0"/>
                  </a:moveTo>
                  <a:lnTo>
                    <a:pt x="14" y="0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61" y="0"/>
                  </a:lnTo>
                  <a:lnTo>
                    <a:pt x="79" y="0"/>
                  </a:lnTo>
                  <a:lnTo>
                    <a:pt x="30" y="50"/>
                  </a:lnTo>
                  <a:lnTo>
                    <a:pt x="83" y="108"/>
                  </a:lnTo>
                  <a:lnTo>
                    <a:pt x="64" y="108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108"/>
                  </a:lnTo>
                  <a:lnTo>
                    <a:pt x="0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id="{B61E5A0B-666F-4EFF-9BB0-94AAAF440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9438" y="639763"/>
              <a:ext cx="100013" cy="171450"/>
            </a:xfrm>
            <a:custGeom>
              <a:avLst/>
              <a:gdLst>
                <a:gd name="T0" fmla="*/ 0 w 63"/>
                <a:gd name="T1" fmla="*/ 0 h 108"/>
                <a:gd name="T2" fmla="*/ 63 w 63"/>
                <a:gd name="T3" fmla="*/ 0 h 108"/>
                <a:gd name="T4" fmla="*/ 63 w 63"/>
                <a:gd name="T5" fmla="*/ 13 h 108"/>
                <a:gd name="T6" fmla="*/ 14 w 63"/>
                <a:gd name="T7" fmla="*/ 13 h 108"/>
                <a:gd name="T8" fmla="*/ 14 w 63"/>
                <a:gd name="T9" fmla="*/ 48 h 108"/>
                <a:gd name="T10" fmla="*/ 58 w 63"/>
                <a:gd name="T11" fmla="*/ 48 h 108"/>
                <a:gd name="T12" fmla="*/ 58 w 63"/>
                <a:gd name="T13" fmla="*/ 60 h 108"/>
                <a:gd name="T14" fmla="*/ 14 w 63"/>
                <a:gd name="T15" fmla="*/ 60 h 108"/>
                <a:gd name="T16" fmla="*/ 14 w 63"/>
                <a:gd name="T17" fmla="*/ 108 h 108"/>
                <a:gd name="T18" fmla="*/ 0 w 63"/>
                <a:gd name="T19" fmla="*/ 108 h 108"/>
                <a:gd name="T20" fmla="*/ 0 w 63"/>
                <a:gd name="T21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3" h="108">
                  <a:moveTo>
                    <a:pt x="0" y="0"/>
                  </a:moveTo>
                  <a:lnTo>
                    <a:pt x="63" y="0"/>
                  </a:lnTo>
                  <a:lnTo>
                    <a:pt x="63" y="13"/>
                  </a:lnTo>
                  <a:lnTo>
                    <a:pt x="14" y="13"/>
                  </a:lnTo>
                  <a:lnTo>
                    <a:pt x="14" y="48"/>
                  </a:lnTo>
                  <a:lnTo>
                    <a:pt x="58" y="48"/>
                  </a:lnTo>
                  <a:lnTo>
                    <a:pt x="58" y="60"/>
                  </a:lnTo>
                  <a:lnTo>
                    <a:pt x="14" y="60"/>
                  </a:lnTo>
                  <a:lnTo>
                    <a:pt x="14" y="108"/>
                  </a:lnTo>
                  <a:lnTo>
                    <a:pt x="0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Rectangle 17">
              <a:extLst>
                <a:ext uri="{FF2B5EF4-FFF2-40B4-BE49-F238E27FC236}">
                  <a16:creationId xmlns:a16="http://schemas.microsoft.com/office/drawing/2014/main" id="{22AFE816-98DC-4E43-9B3B-F3C53F86B29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807076" y="639763"/>
              <a:ext cx="22225" cy="171450"/>
            </a:xfrm>
            <a:prstGeom prst="rect">
              <a:avLst/>
            </a:pr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id="{85C855E3-4ECC-4A29-832A-0295B7E77A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84863" y="639763"/>
              <a:ext cx="103188" cy="171450"/>
            </a:xfrm>
            <a:custGeom>
              <a:avLst/>
              <a:gdLst>
                <a:gd name="T0" fmla="*/ 0 w 65"/>
                <a:gd name="T1" fmla="*/ 0 h 108"/>
                <a:gd name="T2" fmla="*/ 14 w 65"/>
                <a:gd name="T3" fmla="*/ 0 h 108"/>
                <a:gd name="T4" fmla="*/ 14 w 65"/>
                <a:gd name="T5" fmla="*/ 95 h 108"/>
                <a:gd name="T6" fmla="*/ 65 w 65"/>
                <a:gd name="T7" fmla="*/ 95 h 108"/>
                <a:gd name="T8" fmla="*/ 65 w 65"/>
                <a:gd name="T9" fmla="*/ 108 h 108"/>
                <a:gd name="T10" fmla="*/ 0 w 65"/>
                <a:gd name="T11" fmla="*/ 108 h 108"/>
                <a:gd name="T12" fmla="*/ 0 w 65"/>
                <a:gd name="T1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108">
                  <a:moveTo>
                    <a:pt x="0" y="0"/>
                  </a:moveTo>
                  <a:lnTo>
                    <a:pt x="14" y="0"/>
                  </a:lnTo>
                  <a:lnTo>
                    <a:pt x="14" y="95"/>
                  </a:lnTo>
                  <a:lnTo>
                    <a:pt x="65" y="95"/>
                  </a:lnTo>
                  <a:lnTo>
                    <a:pt x="65" y="108"/>
                  </a:lnTo>
                  <a:lnTo>
                    <a:pt x="0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id="{3463165B-F8AA-4158-BA7B-7334A89A89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26151" y="639763"/>
              <a:ext cx="165100" cy="171450"/>
            </a:xfrm>
            <a:custGeom>
              <a:avLst/>
              <a:gdLst>
                <a:gd name="T0" fmla="*/ 42 w 155"/>
                <a:gd name="T1" fmla="*/ 67 h 161"/>
                <a:gd name="T2" fmla="*/ 21 w 155"/>
                <a:gd name="T3" fmla="*/ 36 h 161"/>
                <a:gd name="T4" fmla="*/ 20 w 155"/>
                <a:gd name="T5" fmla="*/ 36 h 161"/>
                <a:gd name="T6" fmla="*/ 21 w 155"/>
                <a:gd name="T7" fmla="*/ 71 h 161"/>
                <a:gd name="T8" fmla="*/ 21 w 155"/>
                <a:gd name="T9" fmla="*/ 161 h 161"/>
                <a:gd name="T10" fmla="*/ 0 w 155"/>
                <a:gd name="T11" fmla="*/ 161 h 161"/>
                <a:gd name="T12" fmla="*/ 0 w 155"/>
                <a:gd name="T13" fmla="*/ 0 h 161"/>
                <a:gd name="T14" fmla="*/ 21 w 155"/>
                <a:gd name="T15" fmla="*/ 0 h 161"/>
                <a:gd name="T16" fmla="*/ 78 w 155"/>
                <a:gd name="T17" fmla="*/ 82 h 161"/>
                <a:gd name="T18" fmla="*/ 135 w 155"/>
                <a:gd name="T19" fmla="*/ 0 h 161"/>
                <a:gd name="T20" fmla="*/ 155 w 155"/>
                <a:gd name="T21" fmla="*/ 0 h 161"/>
                <a:gd name="T22" fmla="*/ 155 w 155"/>
                <a:gd name="T23" fmla="*/ 161 h 161"/>
                <a:gd name="T24" fmla="*/ 134 w 155"/>
                <a:gd name="T25" fmla="*/ 161 h 161"/>
                <a:gd name="T26" fmla="*/ 134 w 155"/>
                <a:gd name="T27" fmla="*/ 71 h 161"/>
                <a:gd name="T28" fmla="*/ 134 w 155"/>
                <a:gd name="T29" fmla="*/ 36 h 161"/>
                <a:gd name="T30" fmla="*/ 134 w 155"/>
                <a:gd name="T31" fmla="*/ 36 h 161"/>
                <a:gd name="T32" fmla="*/ 112 w 155"/>
                <a:gd name="T33" fmla="*/ 67 h 161"/>
                <a:gd name="T34" fmla="*/ 77 w 155"/>
                <a:gd name="T35" fmla="*/ 117 h 161"/>
                <a:gd name="T36" fmla="*/ 42 w 155"/>
                <a:gd name="T37" fmla="*/ 6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61">
                  <a:moveTo>
                    <a:pt x="42" y="67"/>
                  </a:moveTo>
                  <a:cubicBezTo>
                    <a:pt x="35" y="57"/>
                    <a:pt x="28" y="46"/>
                    <a:pt x="21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45"/>
                    <a:pt x="21" y="58"/>
                    <a:pt x="21" y="71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5" y="161"/>
                    <a:pt x="155" y="161"/>
                    <a:pt x="155" y="161"/>
                  </a:cubicBezTo>
                  <a:cubicBezTo>
                    <a:pt x="134" y="161"/>
                    <a:pt x="134" y="161"/>
                    <a:pt x="134" y="161"/>
                  </a:cubicBezTo>
                  <a:cubicBezTo>
                    <a:pt x="134" y="71"/>
                    <a:pt x="134" y="71"/>
                    <a:pt x="134" y="71"/>
                  </a:cubicBezTo>
                  <a:cubicBezTo>
                    <a:pt x="134" y="58"/>
                    <a:pt x="134" y="45"/>
                    <a:pt x="134" y="36"/>
                  </a:cubicBezTo>
                  <a:cubicBezTo>
                    <a:pt x="134" y="36"/>
                    <a:pt x="134" y="36"/>
                    <a:pt x="134" y="36"/>
                  </a:cubicBezTo>
                  <a:cubicBezTo>
                    <a:pt x="127" y="46"/>
                    <a:pt x="120" y="57"/>
                    <a:pt x="112" y="67"/>
                  </a:cubicBezTo>
                  <a:cubicBezTo>
                    <a:pt x="77" y="117"/>
                    <a:pt x="77" y="117"/>
                    <a:pt x="77" y="117"/>
                  </a:cubicBezTo>
                  <a:lnTo>
                    <a:pt x="42" y="67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20">
              <a:extLst>
                <a:ext uri="{FF2B5EF4-FFF2-40B4-BE49-F238E27FC236}">
                  <a16:creationId xmlns:a16="http://schemas.microsoft.com/office/drawing/2014/main" id="{C4215318-4CE4-4477-B635-1FA44F1FF6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38488" y="171450"/>
              <a:ext cx="776288" cy="639763"/>
            </a:xfrm>
            <a:custGeom>
              <a:avLst/>
              <a:gdLst>
                <a:gd name="T0" fmla="*/ 90 w 489"/>
                <a:gd name="T1" fmla="*/ 403 h 403"/>
                <a:gd name="T2" fmla="*/ 0 w 489"/>
                <a:gd name="T3" fmla="*/ 403 h 403"/>
                <a:gd name="T4" fmla="*/ 204 w 489"/>
                <a:gd name="T5" fmla="*/ 0 h 403"/>
                <a:gd name="T6" fmla="*/ 285 w 489"/>
                <a:gd name="T7" fmla="*/ 0 h 403"/>
                <a:gd name="T8" fmla="*/ 489 w 489"/>
                <a:gd name="T9" fmla="*/ 403 h 403"/>
                <a:gd name="T10" fmla="*/ 397 w 489"/>
                <a:gd name="T11" fmla="*/ 403 h 403"/>
                <a:gd name="T12" fmla="*/ 243 w 489"/>
                <a:gd name="T13" fmla="*/ 106 h 403"/>
                <a:gd name="T14" fmla="*/ 90 w 489"/>
                <a:gd name="T15" fmla="*/ 403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9" h="403">
                  <a:moveTo>
                    <a:pt x="90" y="403"/>
                  </a:moveTo>
                  <a:lnTo>
                    <a:pt x="0" y="403"/>
                  </a:lnTo>
                  <a:lnTo>
                    <a:pt x="204" y="0"/>
                  </a:lnTo>
                  <a:lnTo>
                    <a:pt x="285" y="0"/>
                  </a:lnTo>
                  <a:lnTo>
                    <a:pt x="489" y="403"/>
                  </a:lnTo>
                  <a:lnTo>
                    <a:pt x="397" y="403"/>
                  </a:lnTo>
                  <a:lnTo>
                    <a:pt x="243" y="106"/>
                  </a:lnTo>
                  <a:lnTo>
                    <a:pt x="90" y="403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21">
              <a:extLst>
                <a:ext uri="{FF2B5EF4-FFF2-40B4-BE49-F238E27FC236}">
                  <a16:creationId xmlns:a16="http://schemas.microsoft.com/office/drawing/2014/main" id="{FDFB0C5F-94BB-4D8D-A686-B6B93542A7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11613" y="176213"/>
              <a:ext cx="538163" cy="635000"/>
            </a:xfrm>
            <a:custGeom>
              <a:avLst/>
              <a:gdLst>
                <a:gd name="T0" fmla="*/ 0 w 506"/>
                <a:gd name="T1" fmla="*/ 596 h 596"/>
                <a:gd name="T2" fmla="*/ 75 w 506"/>
                <a:gd name="T3" fmla="*/ 596 h 596"/>
                <a:gd name="T4" fmla="*/ 127 w 506"/>
                <a:gd name="T5" fmla="*/ 596 h 596"/>
                <a:gd name="T6" fmla="*/ 283 w 506"/>
                <a:gd name="T7" fmla="*/ 596 h 596"/>
                <a:gd name="T8" fmla="*/ 506 w 506"/>
                <a:gd name="T9" fmla="*/ 433 h 596"/>
                <a:gd name="T10" fmla="*/ 395 w 506"/>
                <a:gd name="T11" fmla="*/ 285 h 596"/>
                <a:gd name="T12" fmla="*/ 473 w 506"/>
                <a:gd name="T13" fmla="*/ 156 h 596"/>
                <a:gd name="T14" fmla="*/ 432 w 506"/>
                <a:gd name="T15" fmla="*/ 53 h 596"/>
                <a:gd name="T16" fmla="*/ 276 w 506"/>
                <a:gd name="T17" fmla="*/ 0 h 596"/>
                <a:gd name="T18" fmla="*/ 0 w 506"/>
                <a:gd name="T19" fmla="*/ 0 h 596"/>
                <a:gd name="T20" fmla="*/ 0 w 506"/>
                <a:gd name="T21" fmla="*/ 115 h 596"/>
                <a:gd name="T22" fmla="*/ 257 w 506"/>
                <a:gd name="T23" fmla="*/ 115 h 596"/>
                <a:gd name="T24" fmla="*/ 343 w 506"/>
                <a:gd name="T25" fmla="*/ 177 h 596"/>
                <a:gd name="T26" fmla="*/ 248 w 506"/>
                <a:gd name="T27" fmla="*/ 241 h 596"/>
                <a:gd name="T28" fmla="*/ 0 w 506"/>
                <a:gd name="T29" fmla="*/ 241 h 596"/>
                <a:gd name="T30" fmla="*/ 0 w 506"/>
                <a:gd name="T31" fmla="*/ 596 h 596"/>
                <a:gd name="T32" fmla="*/ 283 w 506"/>
                <a:gd name="T33" fmla="*/ 481 h 596"/>
                <a:gd name="T34" fmla="*/ 127 w 506"/>
                <a:gd name="T35" fmla="*/ 481 h 596"/>
                <a:gd name="T36" fmla="*/ 127 w 506"/>
                <a:gd name="T37" fmla="*/ 350 h 596"/>
                <a:gd name="T38" fmla="*/ 279 w 506"/>
                <a:gd name="T39" fmla="*/ 350 h 596"/>
                <a:gd name="T40" fmla="*/ 376 w 506"/>
                <a:gd name="T41" fmla="*/ 415 h 596"/>
                <a:gd name="T42" fmla="*/ 283 w 506"/>
                <a:gd name="T43" fmla="*/ 481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06" h="596">
                  <a:moveTo>
                    <a:pt x="0" y="596"/>
                  </a:moveTo>
                  <a:cubicBezTo>
                    <a:pt x="75" y="596"/>
                    <a:pt x="75" y="596"/>
                    <a:pt x="75" y="596"/>
                  </a:cubicBezTo>
                  <a:cubicBezTo>
                    <a:pt x="127" y="596"/>
                    <a:pt x="127" y="596"/>
                    <a:pt x="127" y="596"/>
                  </a:cubicBezTo>
                  <a:cubicBezTo>
                    <a:pt x="283" y="596"/>
                    <a:pt x="283" y="596"/>
                    <a:pt x="283" y="596"/>
                  </a:cubicBezTo>
                  <a:cubicBezTo>
                    <a:pt x="418" y="596"/>
                    <a:pt x="506" y="542"/>
                    <a:pt x="506" y="433"/>
                  </a:cubicBezTo>
                  <a:cubicBezTo>
                    <a:pt x="506" y="351"/>
                    <a:pt x="464" y="311"/>
                    <a:pt x="395" y="285"/>
                  </a:cubicBezTo>
                  <a:cubicBezTo>
                    <a:pt x="437" y="261"/>
                    <a:pt x="473" y="223"/>
                    <a:pt x="473" y="156"/>
                  </a:cubicBezTo>
                  <a:cubicBezTo>
                    <a:pt x="473" y="114"/>
                    <a:pt x="459" y="80"/>
                    <a:pt x="432" y="53"/>
                  </a:cubicBezTo>
                  <a:cubicBezTo>
                    <a:pt x="398" y="19"/>
                    <a:pt x="345" y="0"/>
                    <a:pt x="27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257" y="115"/>
                    <a:pt x="257" y="115"/>
                    <a:pt x="257" y="115"/>
                  </a:cubicBezTo>
                  <a:cubicBezTo>
                    <a:pt x="312" y="115"/>
                    <a:pt x="343" y="137"/>
                    <a:pt x="343" y="177"/>
                  </a:cubicBezTo>
                  <a:cubicBezTo>
                    <a:pt x="343" y="223"/>
                    <a:pt x="306" y="241"/>
                    <a:pt x="248" y="241"/>
                  </a:cubicBezTo>
                  <a:cubicBezTo>
                    <a:pt x="0" y="241"/>
                    <a:pt x="0" y="241"/>
                    <a:pt x="0" y="241"/>
                  </a:cubicBezTo>
                  <a:lnTo>
                    <a:pt x="0" y="596"/>
                  </a:lnTo>
                  <a:close/>
                  <a:moveTo>
                    <a:pt x="283" y="481"/>
                  </a:moveTo>
                  <a:cubicBezTo>
                    <a:pt x="127" y="481"/>
                    <a:pt x="127" y="481"/>
                    <a:pt x="127" y="481"/>
                  </a:cubicBezTo>
                  <a:cubicBezTo>
                    <a:pt x="127" y="350"/>
                    <a:pt x="127" y="350"/>
                    <a:pt x="127" y="350"/>
                  </a:cubicBezTo>
                  <a:cubicBezTo>
                    <a:pt x="279" y="350"/>
                    <a:pt x="279" y="350"/>
                    <a:pt x="279" y="350"/>
                  </a:cubicBezTo>
                  <a:cubicBezTo>
                    <a:pt x="346" y="350"/>
                    <a:pt x="376" y="375"/>
                    <a:pt x="376" y="415"/>
                  </a:cubicBezTo>
                  <a:cubicBezTo>
                    <a:pt x="376" y="461"/>
                    <a:pt x="341" y="481"/>
                    <a:pt x="283" y="481"/>
                  </a:cubicBez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22">
              <a:extLst>
                <a:ext uri="{FF2B5EF4-FFF2-40B4-BE49-F238E27FC236}">
                  <a16:creationId xmlns:a16="http://schemas.microsoft.com/office/drawing/2014/main" id="{37B80D1E-1378-453F-8D10-6ADB679471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41663" y="1006475"/>
              <a:ext cx="138113" cy="160338"/>
            </a:xfrm>
            <a:custGeom>
              <a:avLst/>
              <a:gdLst>
                <a:gd name="T0" fmla="*/ 52 w 87"/>
                <a:gd name="T1" fmla="*/ 101 h 101"/>
                <a:gd name="T2" fmla="*/ 34 w 87"/>
                <a:gd name="T3" fmla="*/ 101 h 101"/>
                <a:gd name="T4" fmla="*/ 34 w 87"/>
                <a:gd name="T5" fmla="*/ 62 h 101"/>
                <a:gd name="T6" fmla="*/ 0 w 87"/>
                <a:gd name="T7" fmla="*/ 0 h 101"/>
                <a:gd name="T8" fmla="*/ 19 w 87"/>
                <a:gd name="T9" fmla="*/ 0 h 101"/>
                <a:gd name="T10" fmla="*/ 44 w 87"/>
                <a:gd name="T11" fmla="*/ 45 h 101"/>
                <a:gd name="T12" fmla="*/ 68 w 87"/>
                <a:gd name="T13" fmla="*/ 0 h 101"/>
                <a:gd name="T14" fmla="*/ 87 w 87"/>
                <a:gd name="T15" fmla="*/ 0 h 101"/>
                <a:gd name="T16" fmla="*/ 52 w 87"/>
                <a:gd name="T17" fmla="*/ 62 h 101"/>
                <a:gd name="T18" fmla="*/ 52 w 87"/>
                <a:gd name="T1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101">
                  <a:moveTo>
                    <a:pt x="52" y="101"/>
                  </a:moveTo>
                  <a:lnTo>
                    <a:pt x="34" y="101"/>
                  </a:lnTo>
                  <a:lnTo>
                    <a:pt x="34" y="62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4" y="45"/>
                  </a:lnTo>
                  <a:lnTo>
                    <a:pt x="68" y="0"/>
                  </a:lnTo>
                  <a:lnTo>
                    <a:pt x="87" y="0"/>
                  </a:lnTo>
                  <a:lnTo>
                    <a:pt x="52" y="62"/>
                  </a:lnTo>
                  <a:lnTo>
                    <a:pt x="52" y="101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23">
              <a:extLst>
                <a:ext uri="{FF2B5EF4-FFF2-40B4-BE49-F238E27FC236}">
                  <a16:creationId xmlns:a16="http://schemas.microsoft.com/office/drawing/2014/main" id="{0EA9BDD0-666E-46A9-A329-58C04B8509D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67076" y="1055688"/>
              <a:ext cx="115888" cy="114300"/>
            </a:xfrm>
            <a:custGeom>
              <a:avLst/>
              <a:gdLst>
                <a:gd name="T0" fmla="*/ 76 w 109"/>
                <a:gd name="T1" fmla="*/ 4 h 108"/>
                <a:gd name="T2" fmla="*/ 93 w 109"/>
                <a:gd name="T3" fmla="*/ 16 h 108"/>
                <a:gd name="T4" fmla="*/ 105 w 109"/>
                <a:gd name="T5" fmla="*/ 33 h 108"/>
                <a:gd name="T6" fmla="*/ 109 w 109"/>
                <a:gd name="T7" fmla="*/ 54 h 108"/>
                <a:gd name="T8" fmla="*/ 105 w 109"/>
                <a:gd name="T9" fmla="*/ 75 h 108"/>
                <a:gd name="T10" fmla="*/ 93 w 109"/>
                <a:gd name="T11" fmla="*/ 92 h 108"/>
                <a:gd name="T12" fmla="*/ 76 w 109"/>
                <a:gd name="T13" fmla="*/ 104 h 108"/>
                <a:gd name="T14" fmla="*/ 54 w 109"/>
                <a:gd name="T15" fmla="*/ 108 h 108"/>
                <a:gd name="T16" fmla="*/ 33 w 109"/>
                <a:gd name="T17" fmla="*/ 104 h 108"/>
                <a:gd name="T18" fmla="*/ 15 w 109"/>
                <a:gd name="T19" fmla="*/ 92 h 108"/>
                <a:gd name="T20" fmla="*/ 4 w 109"/>
                <a:gd name="T21" fmla="*/ 75 h 108"/>
                <a:gd name="T22" fmla="*/ 0 w 109"/>
                <a:gd name="T23" fmla="*/ 54 h 108"/>
                <a:gd name="T24" fmla="*/ 4 w 109"/>
                <a:gd name="T25" fmla="*/ 33 h 108"/>
                <a:gd name="T26" fmla="*/ 15 w 109"/>
                <a:gd name="T27" fmla="*/ 16 h 108"/>
                <a:gd name="T28" fmla="*/ 33 w 109"/>
                <a:gd name="T29" fmla="*/ 4 h 108"/>
                <a:gd name="T30" fmla="*/ 54 w 109"/>
                <a:gd name="T31" fmla="*/ 0 h 108"/>
                <a:gd name="T32" fmla="*/ 76 w 109"/>
                <a:gd name="T33" fmla="*/ 4 h 108"/>
                <a:gd name="T34" fmla="*/ 66 w 109"/>
                <a:gd name="T35" fmla="*/ 81 h 108"/>
                <a:gd name="T36" fmla="*/ 75 w 109"/>
                <a:gd name="T37" fmla="*/ 75 h 108"/>
                <a:gd name="T38" fmla="*/ 81 w 109"/>
                <a:gd name="T39" fmla="*/ 65 h 108"/>
                <a:gd name="T40" fmla="*/ 83 w 109"/>
                <a:gd name="T41" fmla="*/ 54 h 108"/>
                <a:gd name="T42" fmla="*/ 81 w 109"/>
                <a:gd name="T43" fmla="*/ 42 h 108"/>
                <a:gd name="T44" fmla="*/ 75 w 109"/>
                <a:gd name="T45" fmla="*/ 33 h 108"/>
                <a:gd name="T46" fmla="*/ 66 w 109"/>
                <a:gd name="T47" fmla="*/ 27 h 108"/>
                <a:gd name="T48" fmla="*/ 54 w 109"/>
                <a:gd name="T49" fmla="*/ 24 h 108"/>
                <a:gd name="T50" fmla="*/ 43 w 109"/>
                <a:gd name="T51" fmla="*/ 27 h 108"/>
                <a:gd name="T52" fmla="*/ 34 w 109"/>
                <a:gd name="T53" fmla="*/ 33 h 108"/>
                <a:gd name="T54" fmla="*/ 28 w 109"/>
                <a:gd name="T55" fmla="*/ 42 h 108"/>
                <a:gd name="T56" fmla="*/ 26 w 109"/>
                <a:gd name="T57" fmla="*/ 54 h 108"/>
                <a:gd name="T58" fmla="*/ 28 w 109"/>
                <a:gd name="T59" fmla="*/ 65 h 108"/>
                <a:gd name="T60" fmla="*/ 34 w 109"/>
                <a:gd name="T61" fmla="*/ 75 h 108"/>
                <a:gd name="T62" fmla="*/ 43 w 109"/>
                <a:gd name="T63" fmla="*/ 81 h 108"/>
                <a:gd name="T64" fmla="*/ 54 w 109"/>
                <a:gd name="T65" fmla="*/ 84 h 108"/>
                <a:gd name="T66" fmla="*/ 66 w 109"/>
                <a:gd name="T67" fmla="*/ 8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" h="108">
                  <a:moveTo>
                    <a:pt x="76" y="4"/>
                  </a:moveTo>
                  <a:cubicBezTo>
                    <a:pt x="82" y="7"/>
                    <a:pt x="88" y="11"/>
                    <a:pt x="93" y="16"/>
                  </a:cubicBezTo>
                  <a:cubicBezTo>
                    <a:pt x="98" y="21"/>
                    <a:pt x="102" y="26"/>
                    <a:pt x="105" y="33"/>
                  </a:cubicBezTo>
                  <a:cubicBezTo>
                    <a:pt x="108" y="39"/>
                    <a:pt x="109" y="46"/>
                    <a:pt x="109" y="54"/>
                  </a:cubicBezTo>
                  <a:cubicBezTo>
                    <a:pt x="109" y="61"/>
                    <a:pt x="108" y="69"/>
                    <a:pt x="105" y="75"/>
                  </a:cubicBezTo>
                  <a:cubicBezTo>
                    <a:pt x="102" y="82"/>
                    <a:pt x="98" y="87"/>
                    <a:pt x="93" y="92"/>
                  </a:cubicBezTo>
                  <a:cubicBezTo>
                    <a:pt x="88" y="97"/>
                    <a:pt x="82" y="101"/>
                    <a:pt x="76" y="104"/>
                  </a:cubicBezTo>
                  <a:cubicBezTo>
                    <a:pt x="69" y="106"/>
                    <a:pt x="62" y="108"/>
                    <a:pt x="54" y="108"/>
                  </a:cubicBezTo>
                  <a:cubicBezTo>
                    <a:pt x="47" y="108"/>
                    <a:pt x="40" y="106"/>
                    <a:pt x="33" y="104"/>
                  </a:cubicBezTo>
                  <a:cubicBezTo>
                    <a:pt x="26" y="101"/>
                    <a:pt x="20" y="97"/>
                    <a:pt x="15" y="92"/>
                  </a:cubicBezTo>
                  <a:cubicBezTo>
                    <a:pt x="11" y="87"/>
                    <a:pt x="7" y="82"/>
                    <a:pt x="4" y="75"/>
                  </a:cubicBezTo>
                  <a:cubicBezTo>
                    <a:pt x="1" y="69"/>
                    <a:pt x="0" y="61"/>
                    <a:pt x="0" y="54"/>
                  </a:cubicBezTo>
                  <a:cubicBezTo>
                    <a:pt x="0" y="46"/>
                    <a:pt x="1" y="39"/>
                    <a:pt x="4" y="33"/>
                  </a:cubicBezTo>
                  <a:cubicBezTo>
                    <a:pt x="7" y="26"/>
                    <a:pt x="11" y="21"/>
                    <a:pt x="15" y="16"/>
                  </a:cubicBezTo>
                  <a:cubicBezTo>
                    <a:pt x="20" y="11"/>
                    <a:pt x="26" y="7"/>
                    <a:pt x="33" y="4"/>
                  </a:cubicBezTo>
                  <a:cubicBezTo>
                    <a:pt x="40" y="1"/>
                    <a:pt x="47" y="0"/>
                    <a:pt x="54" y="0"/>
                  </a:cubicBezTo>
                  <a:cubicBezTo>
                    <a:pt x="62" y="0"/>
                    <a:pt x="69" y="1"/>
                    <a:pt x="76" y="4"/>
                  </a:cubicBezTo>
                  <a:close/>
                  <a:moveTo>
                    <a:pt x="66" y="81"/>
                  </a:moveTo>
                  <a:cubicBezTo>
                    <a:pt x="70" y="80"/>
                    <a:pt x="73" y="77"/>
                    <a:pt x="75" y="75"/>
                  </a:cubicBezTo>
                  <a:cubicBezTo>
                    <a:pt x="78" y="72"/>
                    <a:pt x="79" y="69"/>
                    <a:pt x="81" y="65"/>
                  </a:cubicBezTo>
                  <a:cubicBezTo>
                    <a:pt x="82" y="62"/>
                    <a:pt x="83" y="58"/>
                    <a:pt x="83" y="54"/>
                  </a:cubicBezTo>
                  <a:cubicBezTo>
                    <a:pt x="83" y="50"/>
                    <a:pt x="82" y="46"/>
                    <a:pt x="81" y="42"/>
                  </a:cubicBezTo>
                  <a:cubicBezTo>
                    <a:pt x="79" y="39"/>
                    <a:pt x="78" y="36"/>
                    <a:pt x="75" y="33"/>
                  </a:cubicBezTo>
                  <a:cubicBezTo>
                    <a:pt x="73" y="30"/>
                    <a:pt x="70" y="28"/>
                    <a:pt x="66" y="27"/>
                  </a:cubicBezTo>
                  <a:cubicBezTo>
                    <a:pt x="63" y="25"/>
                    <a:pt x="59" y="24"/>
                    <a:pt x="54" y="24"/>
                  </a:cubicBezTo>
                  <a:cubicBezTo>
                    <a:pt x="50" y="24"/>
                    <a:pt x="46" y="25"/>
                    <a:pt x="43" y="27"/>
                  </a:cubicBezTo>
                  <a:cubicBezTo>
                    <a:pt x="39" y="28"/>
                    <a:pt x="36" y="30"/>
                    <a:pt x="34" y="33"/>
                  </a:cubicBezTo>
                  <a:cubicBezTo>
                    <a:pt x="31" y="36"/>
                    <a:pt x="29" y="39"/>
                    <a:pt x="28" y="42"/>
                  </a:cubicBezTo>
                  <a:cubicBezTo>
                    <a:pt x="27" y="46"/>
                    <a:pt x="26" y="50"/>
                    <a:pt x="26" y="54"/>
                  </a:cubicBezTo>
                  <a:cubicBezTo>
                    <a:pt x="26" y="58"/>
                    <a:pt x="27" y="62"/>
                    <a:pt x="28" y="65"/>
                  </a:cubicBezTo>
                  <a:cubicBezTo>
                    <a:pt x="29" y="69"/>
                    <a:pt x="31" y="72"/>
                    <a:pt x="34" y="75"/>
                  </a:cubicBezTo>
                  <a:cubicBezTo>
                    <a:pt x="36" y="77"/>
                    <a:pt x="39" y="80"/>
                    <a:pt x="43" y="81"/>
                  </a:cubicBezTo>
                  <a:cubicBezTo>
                    <a:pt x="46" y="83"/>
                    <a:pt x="50" y="84"/>
                    <a:pt x="54" y="84"/>
                  </a:cubicBezTo>
                  <a:cubicBezTo>
                    <a:pt x="59" y="84"/>
                    <a:pt x="63" y="83"/>
                    <a:pt x="66" y="81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Freeform 24">
              <a:extLst>
                <a:ext uri="{FF2B5EF4-FFF2-40B4-BE49-F238E27FC236}">
                  <a16:creationId xmlns:a16="http://schemas.microsoft.com/office/drawing/2014/main" id="{B27EF9B8-CE88-4E8B-9FC6-9C68A802F8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4713" y="1058863"/>
              <a:ext cx="98425" cy="111125"/>
            </a:xfrm>
            <a:custGeom>
              <a:avLst/>
              <a:gdLst>
                <a:gd name="T0" fmla="*/ 24 w 93"/>
                <a:gd name="T1" fmla="*/ 102 h 105"/>
                <a:gd name="T2" fmla="*/ 12 w 93"/>
                <a:gd name="T3" fmla="*/ 95 h 105"/>
                <a:gd name="T4" fmla="*/ 3 w 93"/>
                <a:gd name="T5" fmla="*/ 83 h 105"/>
                <a:gd name="T6" fmla="*/ 0 w 93"/>
                <a:gd name="T7" fmla="*/ 66 h 105"/>
                <a:gd name="T8" fmla="*/ 0 w 93"/>
                <a:gd name="T9" fmla="*/ 0 h 105"/>
                <a:gd name="T10" fmla="*/ 26 w 93"/>
                <a:gd name="T11" fmla="*/ 0 h 105"/>
                <a:gd name="T12" fmla="*/ 26 w 93"/>
                <a:gd name="T13" fmla="*/ 59 h 105"/>
                <a:gd name="T14" fmla="*/ 31 w 93"/>
                <a:gd name="T15" fmla="*/ 76 h 105"/>
                <a:gd name="T16" fmla="*/ 47 w 93"/>
                <a:gd name="T17" fmla="*/ 81 h 105"/>
                <a:gd name="T18" fmla="*/ 55 w 93"/>
                <a:gd name="T19" fmla="*/ 79 h 105"/>
                <a:gd name="T20" fmla="*/ 62 w 93"/>
                <a:gd name="T21" fmla="*/ 74 h 105"/>
                <a:gd name="T22" fmla="*/ 67 w 93"/>
                <a:gd name="T23" fmla="*/ 68 h 105"/>
                <a:gd name="T24" fmla="*/ 67 w 93"/>
                <a:gd name="T25" fmla="*/ 0 h 105"/>
                <a:gd name="T26" fmla="*/ 93 w 93"/>
                <a:gd name="T27" fmla="*/ 0 h 105"/>
                <a:gd name="T28" fmla="*/ 93 w 93"/>
                <a:gd name="T29" fmla="*/ 102 h 105"/>
                <a:gd name="T30" fmla="*/ 69 w 93"/>
                <a:gd name="T31" fmla="*/ 102 h 105"/>
                <a:gd name="T32" fmla="*/ 69 w 93"/>
                <a:gd name="T33" fmla="*/ 87 h 105"/>
                <a:gd name="T34" fmla="*/ 61 w 93"/>
                <a:gd name="T35" fmla="*/ 96 h 105"/>
                <a:gd name="T36" fmla="*/ 52 w 93"/>
                <a:gd name="T37" fmla="*/ 102 h 105"/>
                <a:gd name="T38" fmla="*/ 38 w 93"/>
                <a:gd name="T39" fmla="*/ 105 h 105"/>
                <a:gd name="T40" fmla="*/ 24 w 93"/>
                <a:gd name="T41" fmla="*/ 102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" h="105">
                  <a:moveTo>
                    <a:pt x="24" y="102"/>
                  </a:moveTo>
                  <a:cubicBezTo>
                    <a:pt x="19" y="101"/>
                    <a:pt x="15" y="98"/>
                    <a:pt x="12" y="95"/>
                  </a:cubicBezTo>
                  <a:cubicBezTo>
                    <a:pt x="8" y="91"/>
                    <a:pt x="5" y="87"/>
                    <a:pt x="3" y="83"/>
                  </a:cubicBezTo>
                  <a:cubicBezTo>
                    <a:pt x="1" y="78"/>
                    <a:pt x="0" y="72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7"/>
                    <a:pt x="28" y="72"/>
                    <a:pt x="31" y="76"/>
                  </a:cubicBezTo>
                  <a:cubicBezTo>
                    <a:pt x="35" y="79"/>
                    <a:pt x="40" y="81"/>
                    <a:pt x="47" y="81"/>
                  </a:cubicBezTo>
                  <a:cubicBezTo>
                    <a:pt x="50" y="81"/>
                    <a:pt x="53" y="80"/>
                    <a:pt x="55" y="79"/>
                  </a:cubicBezTo>
                  <a:cubicBezTo>
                    <a:pt x="58" y="77"/>
                    <a:pt x="60" y="76"/>
                    <a:pt x="62" y="74"/>
                  </a:cubicBezTo>
                  <a:cubicBezTo>
                    <a:pt x="64" y="72"/>
                    <a:pt x="65" y="70"/>
                    <a:pt x="67" y="68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69" y="102"/>
                    <a:pt x="69" y="102"/>
                    <a:pt x="69" y="102"/>
                  </a:cubicBezTo>
                  <a:cubicBezTo>
                    <a:pt x="69" y="87"/>
                    <a:pt x="69" y="87"/>
                    <a:pt x="69" y="87"/>
                  </a:cubicBezTo>
                  <a:cubicBezTo>
                    <a:pt x="67" y="91"/>
                    <a:pt x="64" y="94"/>
                    <a:pt x="61" y="96"/>
                  </a:cubicBezTo>
                  <a:cubicBezTo>
                    <a:pt x="59" y="98"/>
                    <a:pt x="55" y="100"/>
                    <a:pt x="52" y="102"/>
                  </a:cubicBezTo>
                  <a:cubicBezTo>
                    <a:pt x="48" y="104"/>
                    <a:pt x="43" y="105"/>
                    <a:pt x="38" y="105"/>
                  </a:cubicBezTo>
                  <a:cubicBezTo>
                    <a:pt x="33" y="105"/>
                    <a:pt x="28" y="104"/>
                    <a:pt x="24" y="102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25">
              <a:extLst>
                <a:ext uri="{FF2B5EF4-FFF2-40B4-BE49-F238E27FC236}">
                  <a16:creationId xmlns:a16="http://schemas.microsoft.com/office/drawing/2014/main" id="{BB44DDD1-3950-4C71-A6FC-647B4122E0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2826" y="1055688"/>
              <a:ext cx="74613" cy="111125"/>
            </a:xfrm>
            <a:custGeom>
              <a:avLst/>
              <a:gdLst>
                <a:gd name="T0" fmla="*/ 59 w 70"/>
                <a:gd name="T1" fmla="*/ 1 h 105"/>
                <a:gd name="T2" fmla="*/ 65 w 70"/>
                <a:gd name="T3" fmla="*/ 2 h 105"/>
                <a:gd name="T4" fmla="*/ 70 w 70"/>
                <a:gd name="T5" fmla="*/ 3 h 105"/>
                <a:gd name="T6" fmla="*/ 61 w 70"/>
                <a:gd name="T7" fmla="*/ 27 h 105"/>
                <a:gd name="T8" fmla="*/ 58 w 70"/>
                <a:gd name="T9" fmla="*/ 25 h 105"/>
                <a:gd name="T10" fmla="*/ 54 w 70"/>
                <a:gd name="T11" fmla="*/ 25 h 105"/>
                <a:gd name="T12" fmla="*/ 49 w 70"/>
                <a:gd name="T13" fmla="*/ 24 h 105"/>
                <a:gd name="T14" fmla="*/ 39 w 70"/>
                <a:gd name="T15" fmla="*/ 26 h 105"/>
                <a:gd name="T16" fmla="*/ 32 w 70"/>
                <a:gd name="T17" fmla="*/ 31 h 105"/>
                <a:gd name="T18" fmla="*/ 26 w 70"/>
                <a:gd name="T19" fmla="*/ 38 h 105"/>
                <a:gd name="T20" fmla="*/ 26 w 70"/>
                <a:gd name="T21" fmla="*/ 105 h 105"/>
                <a:gd name="T22" fmla="*/ 0 w 70"/>
                <a:gd name="T23" fmla="*/ 105 h 105"/>
                <a:gd name="T24" fmla="*/ 0 w 70"/>
                <a:gd name="T25" fmla="*/ 3 h 105"/>
                <a:gd name="T26" fmla="*/ 25 w 70"/>
                <a:gd name="T27" fmla="*/ 3 h 105"/>
                <a:gd name="T28" fmla="*/ 25 w 70"/>
                <a:gd name="T29" fmla="*/ 18 h 105"/>
                <a:gd name="T30" fmla="*/ 32 w 70"/>
                <a:gd name="T31" fmla="*/ 9 h 105"/>
                <a:gd name="T32" fmla="*/ 40 w 70"/>
                <a:gd name="T33" fmla="*/ 3 h 105"/>
                <a:gd name="T34" fmla="*/ 53 w 70"/>
                <a:gd name="T35" fmla="*/ 0 h 105"/>
                <a:gd name="T36" fmla="*/ 59 w 70"/>
                <a:gd name="T37" fmla="*/ 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0" h="105">
                  <a:moveTo>
                    <a:pt x="59" y="1"/>
                  </a:moveTo>
                  <a:cubicBezTo>
                    <a:pt x="62" y="1"/>
                    <a:pt x="63" y="1"/>
                    <a:pt x="65" y="2"/>
                  </a:cubicBezTo>
                  <a:cubicBezTo>
                    <a:pt x="67" y="2"/>
                    <a:pt x="69" y="3"/>
                    <a:pt x="70" y="3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0" y="26"/>
                    <a:pt x="59" y="26"/>
                    <a:pt x="58" y="25"/>
                  </a:cubicBezTo>
                  <a:cubicBezTo>
                    <a:pt x="57" y="25"/>
                    <a:pt x="56" y="25"/>
                    <a:pt x="54" y="25"/>
                  </a:cubicBezTo>
                  <a:cubicBezTo>
                    <a:pt x="53" y="24"/>
                    <a:pt x="51" y="24"/>
                    <a:pt x="49" y="24"/>
                  </a:cubicBezTo>
                  <a:cubicBezTo>
                    <a:pt x="45" y="24"/>
                    <a:pt x="42" y="25"/>
                    <a:pt x="39" y="26"/>
                  </a:cubicBezTo>
                  <a:cubicBezTo>
                    <a:pt x="36" y="28"/>
                    <a:pt x="33" y="29"/>
                    <a:pt x="32" y="31"/>
                  </a:cubicBezTo>
                  <a:cubicBezTo>
                    <a:pt x="29" y="33"/>
                    <a:pt x="27" y="36"/>
                    <a:pt x="26" y="38"/>
                  </a:cubicBezTo>
                  <a:cubicBezTo>
                    <a:pt x="26" y="105"/>
                    <a:pt x="26" y="105"/>
                    <a:pt x="26" y="105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7" y="14"/>
                    <a:pt x="29" y="11"/>
                    <a:pt x="32" y="9"/>
                  </a:cubicBezTo>
                  <a:cubicBezTo>
                    <a:pt x="34" y="7"/>
                    <a:pt x="37" y="5"/>
                    <a:pt x="40" y="3"/>
                  </a:cubicBezTo>
                  <a:cubicBezTo>
                    <a:pt x="44" y="1"/>
                    <a:pt x="48" y="0"/>
                    <a:pt x="53" y="0"/>
                  </a:cubicBezTo>
                  <a:cubicBezTo>
                    <a:pt x="55" y="0"/>
                    <a:pt x="57" y="0"/>
                    <a:pt x="59" y="1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26">
              <a:extLst>
                <a:ext uri="{FF2B5EF4-FFF2-40B4-BE49-F238E27FC236}">
                  <a16:creationId xmlns:a16="http://schemas.microsoft.com/office/drawing/2014/main" id="{B2C90030-8520-4F4B-AFF3-BE6420760C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94113" y="1055688"/>
              <a:ext cx="111125" cy="114300"/>
            </a:xfrm>
            <a:custGeom>
              <a:avLst/>
              <a:gdLst>
                <a:gd name="T0" fmla="*/ 72 w 104"/>
                <a:gd name="T1" fmla="*/ 4 h 108"/>
                <a:gd name="T2" fmla="*/ 88 w 104"/>
                <a:gd name="T3" fmla="*/ 15 h 108"/>
                <a:gd name="T4" fmla="*/ 99 w 104"/>
                <a:gd name="T5" fmla="*/ 32 h 108"/>
                <a:gd name="T6" fmla="*/ 104 w 104"/>
                <a:gd name="T7" fmla="*/ 54 h 108"/>
                <a:gd name="T8" fmla="*/ 104 w 104"/>
                <a:gd name="T9" fmla="*/ 58 h 108"/>
                <a:gd name="T10" fmla="*/ 103 w 104"/>
                <a:gd name="T11" fmla="*/ 63 h 108"/>
                <a:gd name="T12" fmla="*/ 27 w 104"/>
                <a:gd name="T13" fmla="*/ 63 h 108"/>
                <a:gd name="T14" fmla="*/ 30 w 104"/>
                <a:gd name="T15" fmla="*/ 70 h 108"/>
                <a:gd name="T16" fmla="*/ 36 w 104"/>
                <a:gd name="T17" fmla="*/ 77 h 108"/>
                <a:gd name="T18" fmla="*/ 44 w 104"/>
                <a:gd name="T19" fmla="*/ 82 h 108"/>
                <a:gd name="T20" fmla="*/ 55 w 104"/>
                <a:gd name="T21" fmla="*/ 84 h 108"/>
                <a:gd name="T22" fmla="*/ 67 w 104"/>
                <a:gd name="T23" fmla="*/ 82 h 108"/>
                <a:gd name="T24" fmla="*/ 76 w 104"/>
                <a:gd name="T25" fmla="*/ 79 h 108"/>
                <a:gd name="T26" fmla="*/ 84 w 104"/>
                <a:gd name="T27" fmla="*/ 74 h 108"/>
                <a:gd name="T28" fmla="*/ 97 w 104"/>
                <a:gd name="T29" fmla="*/ 93 h 108"/>
                <a:gd name="T30" fmla="*/ 85 w 104"/>
                <a:gd name="T31" fmla="*/ 101 h 108"/>
                <a:gd name="T32" fmla="*/ 72 w 104"/>
                <a:gd name="T33" fmla="*/ 106 h 108"/>
                <a:gd name="T34" fmla="*/ 55 w 104"/>
                <a:gd name="T35" fmla="*/ 108 h 108"/>
                <a:gd name="T36" fmla="*/ 34 w 104"/>
                <a:gd name="T37" fmla="*/ 104 h 108"/>
                <a:gd name="T38" fmla="*/ 16 w 104"/>
                <a:gd name="T39" fmla="*/ 92 h 108"/>
                <a:gd name="T40" fmla="*/ 4 w 104"/>
                <a:gd name="T41" fmla="*/ 75 h 108"/>
                <a:gd name="T42" fmla="*/ 0 w 104"/>
                <a:gd name="T43" fmla="*/ 54 h 108"/>
                <a:gd name="T44" fmla="*/ 4 w 104"/>
                <a:gd name="T45" fmla="*/ 33 h 108"/>
                <a:gd name="T46" fmla="*/ 15 w 104"/>
                <a:gd name="T47" fmla="*/ 16 h 108"/>
                <a:gd name="T48" fmla="*/ 31 w 104"/>
                <a:gd name="T49" fmla="*/ 4 h 108"/>
                <a:gd name="T50" fmla="*/ 52 w 104"/>
                <a:gd name="T51" fmla="*/ 0 h 108"/>
                <a:gd name="T52" fmla="*/ 72 w 104"/>
                <a:gd name="T53" fmla="*/ 4 h 108"/>
                <a:gd name="T54" fmla="*/ 78 w 104"/>
                <a:gd name="T55" fmla="*/ 44 h 108"/>
                <a:gd name="T56" fmla="*/ 76 w 104"/>
                <a:gd name="T57" fmla="*/ 38 h 108"/>
                <a:gd name="T58" fmla="*/ 71 w 104"/>
                <a:gd name="T59" fmla="*/ 31 h 108"/>
                <a:gd name="T60" fmla="*/ 63 w 104"/>
                <a:gd name="T61" fmla="*/ 26 h 108"/>
                <a:gd name="T62" fmla="*/ 52 w 104"/>
                <a:gd name="T63" fmla="*/ 24 h 108"/>
                <a:gd name="T64" fmla="*/ 41 w 104"/>
                <a:gd name="T65" fmla="*/ 26 h 108"/>
                <a:gd name="T66" fmla="*/ 33 w 104"/>
                <a:gd name="T67" fmla="*/ 31 h 108"/>
                <a:gd name="T68" fmla="*/ 29 w 104"/>
                <a:gd name="T69" fmla="*/ 37 h 108"/>
                <a:gd name="T70" fmla="*/ 27 w 104"/>
                <a:gd name="T71" fmla="*/ 44 h 108"/>
                <a:gd name="T72" fmla="*/ 78 w 104"/>
                <a:gd name="T73" fmla="*/ 4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4" h="108">
                  <a:moveTo>
                    <a:pt x="72" y="4"/>
                  </a:moveTo>
                  <a:cubicBezTo>
                    <a:pt x="78" y="7"/>
                    <a:pt x="84" y="10"/>
                    <a:pt x="88" y="15"/>
                  </a:cubicBezTo>
                  <a:cubicBezTo>
                    <a:pt x="93" y="20"/>
                    <a:pt x="97" y="25"/>
                    <a:pt x="99" y="32"/>
                  </a:cubicBezTo>
                  <a:cubicBezTo>
                    <a:pt x="102" y="38"/>
                    <a:pt x="104" y="46"/>
                    <a:pt x="104" y="54"/>
                  </a:cubicBezTo>
                  <a:cubicBezTo>
                    <a:pt x="104" y="55"/>
                    <a:pt x="104" y="56"/>
                    <a:pt x="104" y="58"/>
                  </a:cubicBezTo>
                  <a:cubicBezTo>
                    <a:pt x="104" y="59"/>
                    <a:pt x="103" y="61"/>
                    <a:pt x="103" y="63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7" y="66"/>
                    <a:pt x="28" y="68"/>
                    <a:pt x="30" y="70"/>
                  </a:cubicBezTo>
                  <a:cubicBezTo>
                    <a:pt x="31" y="73"/>
                    <a:pt x="33" y="75"/>
                    <a:pt x="36" y="77"/>
                  </a:cubicBezTo>
                  <a:cubicBezTo>
                    <a:pt x="38" y="79"/>
                    <a:pt x="41" y="81"/>
                    <a:pt x="44" y="82"/>
                  </a:cubicBezTo>
                  <a:cubicBezTo>
                    <a:pt x="48" y="83"/>
                    <a:pt x="51" y="84"/>
                    <a:pt x="55" y="84"/>
                  </a:cubicBezTo>
                  <a:cubicBezTo>
                    <a:pt x="60" y="84"/>
                    <a:pt x="64" y="84"/>
                    <a:pt x="67" y="82"/>
                  </a:cubicBezTo>
                  <a:cubicBezTo>
                    <a:pt x="71" y="81"/>
                    <a:pt x="74" y="80"/>
                    <a:pt x="76" y="79"/>
                  </a:cubicBezTo>
                  <a:cubicBezTo>
                    <a:pt x="79" y="77"/>
                    <a:pt x="82" y="76"/>
                    <a:pt x="84" y="74"/>
                  </a:cubicBezTo>
                  <a:cubicBezTo>
                    <a:pt x="97" y="93"/>
                    <a:pt x="97" y="93"/>
                    <a:pt x="97" y="93"/>
                  </a:cubicBezTo>
                  <a:cubicBezTo>
                    <a:pt x="93" y="96"/>
                    <a:pt x="90" y="98"/>
                    <a:pt x="85" y="101"/>
                  </a:cubicBezTo>
                  <a:cubicBezTo>
                    <a:pt x="82" y="102"/>
                    <a:pt x="77" y="104"/>
                    <a:pt x="72" y="106"/>
                  </a:cubicBezTo>
                  <a:cubicBezTo>
                    <a:pt x="67" y="107"/>
                    <a:pt x="62" y="108"/>
                    <a:pt x="55" y="108"/>
                  </a:cubicBezTo>
                  <a:cubicBezTo>
                    <a:pt x="48" y="108"/>
                    <a:pt x="40" y="106"/>
                    <a:pt x="34" y="104"/>
                  </a:cubicBezTo>
                  <a:cubicBezTo>
                    <a:pt x="27" y="101"/>
                    <a:pt x="21" y="97"/>
                    <a:pt x="16" y="92"/>
                  </a:cubicBezTo>
                  <a:cubicBezTo>
                    <a:pt x="11" y="87"/>
                    <a:pt x="7" y="82"/>
                    <a:pt x="4" y="75"/>
                  </a:cubicBezTo>
                  <a:cubicBezTo>
                    <a:pt x="2" y="69"/>
                    <a:pt x="0" y="61"/>
                    <a:pt x="0" y="54"/>
                  </a:cubicBezTo>
                  <a:cubicBezTo>
                    <a:pt x="0" y="46"/>
                    <a:pt x="2" y="39"/>
                    <a:pt x="4" y="33"/>
                  </a:cubicBezTo>
                  <a:cubicBezTo>
                    <a:pt x="7" y="26"/>
                    <a:pt x="10" y="21"/>
                    <a:pt x="15" y="16"/>
                  </a:cubicBezTo>
                  <a:cubicBezTo>
                    <a:pt x="19" y="11"/>
                    <a:pt x="25" y="7"/>
                    <a:pt x="31" y="4"/>
                  </a:cubicBezTo>
                  <a:cubicBezTo>
                    <a:pt x="38" y="1"/>
                    <a:pt x="44" y="0"/>
                    <a:pt x="52" y="0"/>
                  </a:cubicBezTo>
                  <a:cubicBezTo>
                    <a:pt x="59" y="0"/>
                    <a:pt x="66" y="1"/>
                    <a:pt x="72" y="4"/>
                  </a:cubicBezTo>
                  <a:close/>
                  <a:moveTo>
                    <a:pt x="78" y="44"/>
                  </a:moveTo>
                  <a:cubicBezTo>
                    <a:pt x="77" y="42"/>
                    <a:pt x="77" y="40"/>
                    <a:pt x="76" y="38"/>
                  </a:cubicBezTo>
                  <a:cubicBezTo>
                    <a:pt x="75" y="35"/>
                    <a:pt x="73" y="33"/>
                    <a:pt x="71" y="31"/>
                  </a:cubicBezTo>
                  <a:cubicBezTo>
                    <a:pt x="69" y="29"/>
                    <a:pt x="66" y="27"/>
                    <a:pt x="63" y="26"/>
                  </a:cubicBezTo>
                  <a:cubicBezTo>
                    <a:pt x="60" y="24"/>
                    <a:pt x="56" y="24"/>
                    <a:pt x="52" y="24"/>
                  </a:cubicBezTo>
                  <a:cubicBezTo>
                    <a:pt x="48" y="24"/>
                    <a:pt x="44" y="24"/>
                    <a:pt x="41" y="26"/>
                  </a:cubicBezTo>
                  <a:cubicBezTo>
                    <a:pt x="38" y="27"/>
                    <a:pt x="35" y="29"/>
                    <a:pt x="33" y="31"/>
                  </a:cubicBezTo>
                  <a:cubicBezTo>
                    <a:pt x="31" y="33"/>
                    <a:pt x="30" y="35"/>
                    <a:pt x="29" y="37"/>
                  </a:cubicBezTo>
                  <a:cubicBezTo>
                    <a:pt x="28" y="40"/>
                    <a:pt x="27" y="42"/>
                    <a:pt x="27" y="44"/>
                  </a:cubicBezTo>
                  <a:lnTo>
                    <a:pt x="78" y="44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27">
              <a:extLst>
                <a:ext uri="{FF2B5EF4-FFF2-40B4-BE49-F238E27FC236}">
                  <a16:creationId xmlns:a16="http://schemas.microsoft.com/office/drawing/2014/main" id="{50988FCC-C277-48E2-B04E-7FB14BDD10B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30638" y="1055688"/>
              <a:ext cx="100013" cy="114300"/>
            </a:xfrm>
            <a:custGeom>
              <a:avLst/>
              <a:gdLst>
                <a:gd name="T0" fmla="*/ 83 w 95"/>
                <a:gd name="T1" fmla="*/ 10 h 108"/>
                <a:gd name="T2" fmla="*/ 95 w 95"/>
                <a:gd name="T3" fmla="*/ 38 h 108"/>
                <a:gd name="T4" fmla="*/ 95 w 95"/>
                <a:gd name="T5" fmla="*/ 105 h 108"/>
                <a:gd name="T6" fmla="*/ 71 w 95"/>
                <a:gd name="T7" fmla="*/ 105 h 108"/>
                <a:gd name="T8" fmla="*/ 71 w 95"/>
                <a:gd name="T9" fmla="*/ 92 h 108"/>
                <a:gd name="T10" fmla="*/ 63 w 95"/>
                <a:gd name="T11" fmla="*/ 100 h 108"/>
                <a:gd name="T12" fmla="*/ 52 w 95"/>
                <a:gd name="T13" fmla="*/ 106 h 108"/>
                <a:gd name="T14" fmla="*/ 37 w 95"/>
                <a:gd name="T15" fmla="*/ 108 h 108"/>
                <a:gd name="T16" fmla="*/ 23 w 95"/>
                <a:gd name="T17" fmla="*/ 106 h 108"/>
                <a:gd name="T18" fmla="*/ 11 w 95"/>
                <a:gd name="T19" fmla="*/ 99 h 108"/>
                <a:gd name="T20" fmla="*/ 3 w 95"/>
                <a:gd name="T21" fmla="*/ 88 h 108"/>
                <a:gd name="T22" fmla="*/ 0 w 95"/>
                <a:gd name="T23" fmla="*/ 73 h 108"/>
                <a:gd name="T24" fmla="*/ 3 w 95"/>
                <a:gd name="T25" fmla="*/ 60 h 108"/>
                <a:gd name="T26" fmla="*/ 12 w 95"/>
                <a:gd name="T27" fmla="*/ 49 h 108"/>
                <a:gd name="T28" fmla="*/ 25 w 95"/>
                <a:gd name="T29" fmla="*/ 42 h 108"/>
                <a:gd name="T30" fmla="*/ 40 w 95"/>
                <a:gd name="T31" fmla="*/ 39 h 108"/>
                <a:gd name="T32" fmla="*/ 53 w 95"/>
                <a:gd name="T33" fmla="*/ 41 h 108"/>
                <a:gd name="T34" fmla="*/ 62 w 95"/>
                <a:gd name="T35" fmla="*/ 43 h 108"/>
                <a:gd name="T36" fmla="*/ 69 w 95"/>
                <a:gd name="T37" fmla="*/ 47 h 108"/>
                <a:gd name="T38" fmla="*/ 69 w 95"/>
                <a:gd name="T39" fmla="*/ 41 h 108"/>
                <a:gd name="T40" fmla="*/ 67 w 95"/>
                <a:gd name="T41" fmla="*/ 33 h 108"/>
                <a:gd name="T42" fmla="*/ 61 w 95"/>
                <a:gd name="T43" fmla="*/ 27 h 108"/>
                <a:gd name="T44" fmla="*/ 54 w 95"/>
                <a:gd name="T45" fmla="*/ 24 h 108"/>
                <a:gd name="T46" fmla="*/ 47 w 95"/>
                <a:gd name="T47" fmla="*/ 23 h 108"/>
                <a:gd name="T48" fmla="*/ 36 w 95"/>
                <a:gd name="T49" fmla="*/ 24 h 108"/>
                <a:gd name="T50" fmla="*/ 26 w 95"/>
                <a:gd name="T51" fmla="*/ 27 h 108"/>
                <a:gd name="T52" fmla="*/ 16 w 95"/>
                <a:gd name="T53" fmla="*/ 31 h 108"/>
                <a:gd name="T54" fmla="*/ 8 w 95"/>
                <a:gd name="T55" fmla="*/ 9 h 108"/>
                <a:gd name="T56" fmla="*/ 20 w 95"/>
                <a:gd name="T57" fmla="*/ 5 h 108"/>
                <a:gd name="T58" fmla="*/ 33 w 95"/>
                <a:gd name="T59" fmla="*/ 1 h 108"/>
                <a:gd name="T60" fmla="*/ 48 w 95"/>
                <a:gd name="T61" fmla="*/ 0 h 108"/>
                <a:gd name="T62" fmla="*/ 83 w 95"/>
                <a:gd name="T63" fmla="*/ 10 h 108"/>
                <a:gd name="T64" fmla="*/ 55 w 95"/>
                <a:gd name="T65" fmla="*/ 84 h 108"/>
                <a:gd name="T66" fmla="*/ 63 w 95"/>
                <a:gd name="T67" fmla="*/ 80 h 108"/>
                <a:gd name="T68" fmla="*/ 69 w 95"/>
                <a:gd name="T69" fmla="*/ 74 h 108"/>
                <a:gd name="T70" fmla="*/ 69 w 95"/>
                <a:gd name="T71" fmla="*/ 64 h 108"/>
                <a:gd name="T72" fmla="*/ 62 w 95"/>
                <a:gd name="T73" fmla="*/ 61 h 108"/>
                <a:gd name="T74" fmla="*/ 55 w 95"/>
                <a:gd name="T75" fmla="*/ 59 h 108"/>
                <a:gd name="T76" fmla="*/ 45 w 95"/>
                <a:gd name="T77" fmla="*/ 59 h 108"/>
                <a:gd name="T78" fmla="*/ 39 w 95"/>
                <a:gd name="T79" fmla="*/ 59 h 108"/>
                <a:gd name="T80" fmla="*/ 33 w 95"/>
                <a:gd name="T81" fmla="*/ 62 h 108"/>
                <a:gd name="T82" fmla="*/ 28 w 95"/>
                <a:gd name="T83" fmla="*/ 66 h 108"/>
                <a:gd name="T84" fmla="*/ 26 w 95"/>
                <a:gd name="T85" fmla="*/ 73 h 108"/>
                <a:gd name="T86" fmla="*/ 28 w 95"/>
                <a:gd name="T87" fmla="*/ 80 h 108"/>
                <a:gd name="T88" fmla="*/ 33 w 95"/>
                <a:gd name="T89" fmla="*/ 84 h 108"/>
                <a:gd name="T90" fmla="*/ 39 w 95"/>
                <a:gd name="T91" fmla="*/ 86 h 108"/>
                <a:gd name="T92" fmla="*/ 45 w 95"/>
                <a:gd name="T93" fmla="*/ 86 h 108"/>
                <a:gd name="T94" fmla="*/ 55 w 95"/>
                <a:gd name="T95" fmla="*/ 8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5" h="108">
                  <a:moveTo>
                    <a:pt x="83" y="10"/>
                  </a:moveTo>
                  <a:cubicBezTo>
                    <a:pt x="91" y="17"/>
                    <a:pt x="95" y="27"/>
                    <a:pt x="95" y="38"/>
                  </a:cubicBezTo>
                  <a:cubicBezTo>
                    <a:pt x="95" y="105"/>
                    <a:pt x="95" y="105"/>
                    <a:pt x="95" y="105"/>
                  </a:cubicBezTo>
                  <a:cubicBezTo>
                    <a:pt x="71" y="105"/>
                    <a:pt x="71" y="105"/>
                    <a:pt x="71" y="105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9" y="95"/>
                    <a:pt x="66" y="98"/>
                    <a:pt x="63" y="100"/>
                  </a:cubicBezTo>
                  <a:cubicBezTo>
                    <a:pt x="60" y="102"/>
                    <a:pt x="56" y="104"/>
                    <a:pt x="52" y="106"/>
                  </a:cubicBezTo>
                  <a:cubicBezTo>
                    <a:pt x="48" y="107"/>
                    <a:pt x="43" y="108"/>
                    <a:pt x="37" y="108"/>
                  </a:cubicBezTo>
                  <a:cubicBezTo>
                    <a:pt x="32" y="108"/>
                    <a:pt x="28" y="107"/>
                    <a:pt x="23" y="106"/>
                  </a:cubicBezTo>
                  <a:cubicBezTo>
                    <a:pt x="19" y="104"/>
                    <a:pt x="15" y="102"/>
                    <a:pt x="11" y="99"/>
                  </a:cubicBezTo>
                  <a:cubicBezTo>
                    <a:pt x="8" y="96"/>
                    <a:pt x="5" y="92"/>
                    <a:pt x="3" y="88"/>
                  </a:cubicBezTo>
                  <a:cubicBezTo>
                    <a:pt x="1" y="84"/>
                    <a:pt x="0" y="79"/>
                    <a:pt x="0" y="73"/>
                  </a:cubicBezTo>
                  <a:cubicBezTo>
                    <a:pt x="0" y="69"/>
                    <a:pt x="1" y="64"/>
                    <a:pt x="3" y="60"/>
                  </a:cubicBezTo>
                  <a:cubicBezTo>
                    <a:pt x="5" y="56"/>
                    <a:pt x="8" y="52"/>
                    <a:pt x="12" y="49"/>
                  </a:cubicBezTo>
                  <a:cubicBezTo>
                    <a:pt x="15" y="46"/>
                    <a:pt x="20" y="44"/>
                    <a:pt x="25" y="42"/>
                  </a:cubicBezTo>
                  <a:cubicBezTo>
                    <a:pt x="29" y="40"/>
                    <a:pt x="35" y="39"/>
                    <a:pt x="40" y="39"/>
                  </a:cubicBezTo>
                  <a:cubicBezTo>
                    <a:pt x="45" y="39"/>
                    <a:pt x="49" y="40"/>
                    <a:pt x="53" y="41"/>
                  </a:cubicBezTo>
                  <a:cubicBezTo>
                    <a:pt x="56" y="41"/>
                    <a:pt x="59" y="42"/>
                    <a:pt x="62" y="43"/>
                  </a:cubicBezTo>
                  <a:cubicBezTo>
                    <a:pt x="64" y="44"/>
                    <a:pt x="67" y="45"/>
                    <a:pt x="69" y="47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38"/>
                    <a:pt x="68" y="35"/>
                    <a:pt x="67" y="33"/>
                  </a:cubicBezTo>
                  <a:cubicBezTo>
                    <a:pt x="65" y="30"/>
                    <a:pt x="63" y="28"/>
                    <a:pt x="61" y="27"/>
                  </a:cubicBezTo>
                  <a:cubicBezTo>
                    <a:pt x="59" y="26"/>
                    <a:pt x="57" y="25"/>
                    <a:pt x="54" y="24"/>
                  </a:cubicBezTo>
                  <a:cubicBezTo>
                    <a:pt x="52" y="23"/>
                    <a:pt x="49" y="23"/>
                    <a:pt x="47" y="23"/>
                  </a:cubicBezTo>
                  <a:cubicBezTo>
                    <a:pt x="43" y="23"/>
                    <a:pt x="39" y="24"/>
                    <a:pt x="36" y="24"/>
                  </a:cubicBezTo>
                  <a:cubicBezTo>
                    <a:pt x="32" y="25"/>
                    <a:pt x="29" y="26"/>
                    <a:pt x="26" y="27"/>
                  </a:cubicBezTo>
                  <a:cubicBezTo>
                    <a:pt x="22" y="28"/>
                    <a:pt x="19" y="29"/>
                    <a:pt x="16" y="31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1" y="8"/>
                    <a:pt x="15" y="6"/>
                    <a:pt x="20" y="5"/>
                  </a:cubicBezTo>
                  <a:cubicBezTo>
                    <a:pt x="23" y="3"/>
                    <a:pt x="28" y="2"/>
                    <a:pt x="33" y="1"/>
                  </a:cubicBezTo>
                  <a:cubicBezTo>
                    <a:pt x="38" y="1"/>
                    <a:pt x="43" y="0"/>
                    <a:pt x="48" y="0"/>
                  </a:cubicBezTo>
                  <a:cubicBezTo>
                    <a:pt x="63" y="0"/>
                    <a:pt x="74" y="3"/>
                    <a:pt x="83" y="10"/>
                  </a:cubicBezTo>
                  <a:close/>
                  <a:moveTo>
                    <a:pt x="55" y="84"/>
                  </a:moveTo>
                  <a:cubicBezTo>
                    <a:pt x="58" y="83"/>
                    <a:pt x="61" y="82"/>
                    <a:pt x="63" y="80"/>
                  </a:cubicBezTo>
                  <a:cubicBezTo>
                    <a:pt x="65" y="78"/>
                    <a:pt x="67" y="76"/>
                    <a:pt x="69" y="7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7" y="63"/>
                    <a:pt x="65" y="62"/>
                    <a:pt x="62" y="61"/>
                  </a:cubicBezTo>
                  <a:cubicBezTo>
                    <a:pt x="60" y="60"/>
                    <a:pt x="58" y="60"/>
                    <a:pt x="55" y="59"/>
                  </a:cubicBezTo>
                  <a:cubicBezTo>
                    <a:pt x="52" y="59"/>
                    <a:pt x="49" y="59"/>
                    <a:pt x="45" y="59"/>
                  </a:cubicBezTo>
                  <a:cubicBezTo>
                    <a:pt x="43" y="59"/>
                    <a:pt x="41" y="59"/>
                    <a:pt x="39" y="59"/>
                  </a:cubicBezTo>
                  <a:cubicBezTo>
                    <a:pt x="37" y="60"/>
                    <a:pt x="35" y="61"/>
                    <a:pt x="33" y="62"/>
                  </a:cubicBezTo>
                  <a:cubicBezTo>
                    <a:pt x="31" y="63"/>
                    <a:pt x="29" y="64"/>
                    <a:pt x="28" y="66"/>
                  </a:cubicBezTo>
                  <a:cubicBezTo>
                    <a:pt x="27" y="68"/>
                    <a:pt x="26" y="70"/>
                    <a:pt x="26" y="73"/>
                  </a:cubicBezTo>
                  <a:cubicBezTo>
                    <a:pt x="26" y="76"/>
                    <a:pt x="27" y="78"/>
                    <a:pt x="28" y="80"/>
                  </a:cubicBezTo>
                  <a:cubicBezTo>
                    <a:pt x="29" y="81"/>
                    <a:pt x="31" y="83"/>
                    <a:pt x="33" y="84"/>
                  </a:cubicBezTo>
                  <a:cubicBezTo>
                    <a:pt x="35" y="85"/>
                    <a:pt x="37" y="85"/>
                    <a:pt x="39" y="86"/>
                  </a:cubicBezTo>
                  <a:cubicBezTo>
                    <a:pt x="41" y="86"/>
                    <a:pt x="43" y="86"/>
                    <a:pt x="45" y="86"/>
                  </a:cubicBezTo>
                  <a:cubicBezTo>
                    <a:pt x="49" y="86"/>
                    <a:pt x="52" y="86"/>
                    <a:pt x="55" y="84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28">
              <a:extLst>
                <a:ext uri="{FF2B5EF4-FFF2-40B4-BE49-F238E27FC236}">
                  <a16:creationId xmlns:a16="http://schemas.microsoft.com/office/drawing/2014/main" id="{1D999085-7E95-4A15-82FA-6AD6D0AA56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60813" y="1055688"/>
              <a:ext cx="96838" cy="114300"/>
            </a:xfrm>
            <a:custGeom>
              <a:avLst/>
              <a:gdLst>
                <a:gd name="T0" fmla="*/ 15 w 91"/>
                <a:gd name="T1" fmla="*/ 70 h 108"/>
                <a:gd name="T2" fmla="*/ 24 w 91"/>
                <a:gd name="T3" fmla="*/ 78 h 108"/>
                <a:gd name="T4" fmla="*/ 33 w 91"/>
                <a:gd name="T5" fmla="*/ 83 h 108"/>
                <a:gd name="T6" fmla="*/ 46 w 91"/>
                <a:gd name="T7" fmla="*/ 85 h 108"/>
                <a:gd name="T8" fmla="*/ 59 w 91"/>
                <a:gd name="T9" fmla="*/ 83 h 108"/>
                <a:gd name="T10" fmla="*/ 65 w 91"/>
                <a:gd name="T11" fmla="*/ 76 h 108"/>
                <a:gd name="T12" fmla="*/ 61 w 91"/>
                <a:gd name="T13" fmla="*/ 69 h 108"/>
                <a:gd name="T14" fmla="*/ 45 w 91"/>
                <a:gd name="T15" fmla="*/ 65 h 108"/>
                <a:gd name="T16" fmla="*/ 30 w 91"/>
                <a:gd name="T17" fmla="*/ 60 h 108"/>
                <a:gd name="T18" fmla="*/ 18 w 91"/>
                <a:gd name="T19" fmla="*/ 54 h 108"/>
                <a:gd name="T20" fmla="*/ 10 w 91"/>
                <a:gd name="T21" fmla="*/ 45 h 108"/>
                <a:gd name="T22" fmla="*/ 7 w 91"/>
                <a:gd name="T23" fmla="*/ 32 h 108"/>
                <a:gd name="T24" fmla="*/ 9 w 91"/>
                <a:gd name="T25" fmla="*/ 20 h 108"/>
                <a:gd name="T26" fmla="*/ 18 w 91"/>
                <a:gd name="T27" fmla="*/ 10 h 108"/>
                <a:gd name="T28" fmla="*/ 32 w 91"/>
                <a:gd name="T29" fmla="*/ 3 h 108"/>
                <a:gd name="T30" fmla="*/ 51 w 91"/>
                <a:gd name="T31" fmla="*/ 0 h 108"/>
                <a:gd name="T32" fmla="*/ 67 w 91"/>
                <a:gd name="T33" fmla="*/ 2 h 108"/>
                <a:gd name="T34" fmla="*/ 79 w 91"/>
                <a:gd name="T35" fmla="*/ 6 h 108"/>
                <a:gd name="T36" fmla="*/ 89 w 91"/>
                <a:gd name="T37" fmla="*/ 13 h 108"/>
                <a:gd name="T38" fmla="*/ 76 w 91"/>
                <a:gd name="T39" fmla="*/ 32 h 108"/>
                <a:gd name="T40" fmla="*/ 69 w 91"/>
                <a:gd name="T41" fmla="*/ 27 h 108"/>
                <a:gd name="T42" fmla="*/ 61 w 91"/>
                <a:gd name="T43" fmla="*/ 24 h 108"/>
                <a:gd name="T44" fmla="*/ 51 w 91"/>
                <a:gd name="T45" fmla="*/ 23 h 108"/>
                <a:gd name="T46" fmla="*/ 38 w 91"/>
                <a:gd name="T47" fmla="*/ 25 h 108"/>
                <a:gd name="T48" fmla="*/ 32 w 91"/>
                <a:gd name="T49" fmla="*/ 33 h 108"/>
                <a:gd name="T50" fmla="*/ 38 w 91"/>
                <a:gd name="T51" fmla="*/ 39 h 108"/>
                <a:gd name="T52" fmla="*/ 56 w 91"/>
                <a:gd name="T53" fmla="*/ 44 h 108"/>
                <a:gd name="T54" fmla="*/ 70 w 91"/>
                <a:gd name="T55" fmla="*/ 48 h 108"/>
                <a:gd name="T56" fmla="*/ 81 w 91"/>
                <a:gd name="T57" fmla="*/ 54 h 108"/>
                <a:gd name="T58" fmla="*/ 89 w 91"/>
                <a:gd name="T59" fmla="*/ 63 h 108"/>
                <a:gd name="T60" fmla="*/ 91 w 91"/>
                <a:gd name="T61" fmla="*/ 76 h 108"/>
                <a:gd name="T62" fmla="*/ 88 w 91"/>
                <a:gd name="T63" fmla="*/ 89 h 108"/>
                <a:gd name="T64" fmla="*/ 79 w 91"/>
                <a:gd name="T65" fmla="*/ 99 h 108"/>
                <a:gd name="T66" fmla="*/ 64 w 91"/>
                <a:gd name="T67" fmla="*/ 105 h 108"/>
                <a:gd name="T68" fmla="*/ 46 w 91"/>
                <a:gd name="T69" fmla="*/ 108 h 108"/>
                <a:gd name="T70" fmla="*/ 26 w 91"/>
                <a:gd name="T71" fmla="*/ 105 h 108"/>
                <a:gd name="T72" fmla="*/ 12 w 91"/>
                <a:gd name="T73" fmla="*/ 99 h 108"/>
                <a:gd name="T74" fmla="*/ 0 w 91"/>
                <a:gd name="T75" fmla="*/ 89 h 108"/>
                <a:gd name="T76" fmla="*/ 15 w 91"/>
                <a:gd name="T77" fmla="*/ 7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1" h="108">
                  <a:moveTo>
                    <a:pt x="15" y="70"/>
                  </a:moveTo>
                  <a:cubicBezTo>
                    <a:pt x="17" y="73"/>
                    <a:pt x="20" y="76"/>
                    <a:pt x="24" y="78"/>
                  </a:cubicBezTo>
                  <a:cubicBezTo>
                    <a:pt x="26" y="80"/>
                    <a:pt x="30" y="81"/>
                    <a:pt x="33" y="83"/>
                  </a:cubicBezTo>
                  <a:cubicBezTo>
                    <a:pt x="37" y="84"/>
                    <a:pt x="41" y="85"/>
                    <a:pt x="46" y="85"/>
                  </a:cubicBezTo>
                  <a:cubicBezTo>
                    <a:pt x="51" y="85"/>
                    <a:pt x="55" y="84"/>
                    <a:pt x="59" y="83"/>
                  </a:cubicBezTo>
                  <a:cubicBezTo>
                    <a:pt x="63" y="81"/>
                    <a:pt x="65" y="79"/>
                    <a:pt x="65" y="76"/>
                  </a:cubicBezTo>
                  <a:cubicBezTo>
                    <a:pt x="65" y="73"/>
                    <a:pt x="64" y="70"/>
                    <a:pt x="61" y="69"/>
                  </a:cubicBezTo>
                  <a:cubicBezTo>
                    <a:pt x="58" y="68"/>
                    <a:pt x="52" y="66"/>
                    <a:pt x="45" y="65"/>
                  </a:cubicBezTo>
                  <a:cubicBezTo>
                    <a:pt x="40" y="63"/>
                    <a:pt x="35" y="62"/>
                    <a:pt x="30" y="60"/>
                  </a:cubicBezTo>
                  <a:cubicBezTo>
                    <a:pt x="26" y="59"/>
                    <a:pt x="21" y="57"/>
                    <a:pt x="18" y="54"/>
                  </a:cubicBezTo>
                  <a:cubicBezTo>
                    <a:pt x="15" y="51"/>
                    <a:pt x="12" y="48"/>
                    <a:pt x="10" y="45"/>
                  </a:cubicBezTo>
                  <a:cubicBezTo>
                    <a:pt x="8" y="41"/>
                    <a:pt x="7" y="37"/>
                    <a:pt x="7" y="32"/>
                  </a:cubicBezTo>
                  <a:cubicBezTo>
                    <a:pt x="7" y="28"/>
                    <a:pt x="8" y="24"/>
                    <a:pt x="9" y="20"/>
                  </a:cubicBezTo>
                  <a:cubicBezTo>
                    <a:pt x="11" y="16"/>
                    <a:pt x="14" y="13"/>
                    <a:pt x="18" y="10"/>
                  </a:cubicBezTo>
                  <a:cubicBezTo>
                    <a:pt x="22" y="7"/>
                    <a:pt x="26" y="5"/>
                    <a:pt x="32" y="3"/>
                  </a:cubicBezTo>
                  <a:cubicBezTo>
                    <a:pt x="37" y="1"/>
                    <a:pt x="44" y="0"/>
                    <a:pt x="51" y="0"/>
                  </a:cubicBezTo>
                  <a:cubicBezTo>
                    <a:pt x="57" y="0"/>
                    <a:pt x="62" y="1"/>
                    <a:pt x="67" y="2"/>
                  </a:cubicBezTo>
                  <a:cubicBezTo>
                    <a:pt x="71" y="3"/>
                    <a:pt x="75" y="5"/>
                    <a:pt x="79" y="6"/>
                  </a:cubicBezTo>
                  <a:cubicBezTo>
                    <a:pt x="83" y="8"/>
                    <a:pt x="86" y="10"/>
                    <a:pt x="89" y="13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74" y="30"/>
                    <a:pt x="71" y="29"/>
                    <a:pt x="69" y="27"/>
                  </a:cubicBezTo>
                  <a:cubicBezTo>
                    <a:pt x="66" y="26"/>
                    <a:pt x="64" y="25"/>
                    <a:pt x="61" y="24"/>
                  </a:cubicBezTo>
                  <a:cubicBezTo>
                    <a:pt x="57" y="23"/>
                    <a:pt x="54" y="23"/>
                    <a:pt x="51" y="23"/>
                  </a:cubicBezTo>
                  <a:cubicBezTo>
                    <a:pt x="46" y="23"/>
                    <a:pt x="41" y="24"/>
                    <a:pt x="38" y="25"/>
                  </a:cubicBezTo>
                  <a:cubicBezTo>
                    <a:pt x="34" y="27"/>
                    <a:pt x="32" y="29"/>
                    <a:pt x="32" y="33"/>
                  </a:cubicBezTo>
                  <a:cubicBezTo>
                    <a:pt x="32" y="36"/>
                    <a:pt x="34" y="38"/>
                    <a:pt x="38" y="39"/>
                  </a:cubicBezTo>
                  <a:cubicBezTo>
                    <a:pt x="41" y="41"/>
                    <a:pt x="48" y="42"/>
                    <a:pt x="56" y="44"/>
                  </a:cubicBezTo>
                  <a:cubicBezTo>
                    <a:pt x="61" y="45"/>
                    <a:pt x="66" y="46"/>
                    <a:pt x="70" y="48"/>
                  </a:cubicBezTo>
                  <a:cubicBezTo>
                    <a:pt x="75" y="49"/>
                    <a:pt x="78" y="51"/>
                    <a:pt x="81" y="54"/>
                  </a:cubicBezTo>
                  <a:cubicBezTo>
                    <a:pt x="84" y="56"/>
                    <a:pt x="87" y="59"/>
                    <a:pt x="89" y="63"/>
                  </a:cubicBezTo>
                  <a:cubicBezTo>
                    <a:pt x="90" y="66"/>
                    <a:pt x="91" y="71"/>
                    <a:pt x="91" y="76"/>
                  </a:cubicBezTo>
                  <a:cubicBezTo>
                    <a:pt x="91" y="81"/>
                    <a:pt x="90" y="85"/>
                    <a:pt x="88" y="89"/>
                  </a:cubicBezTo>
                  <a:cubicBezTo>
                    <a:pt x="86" y="93"/>
                    <a:pt x="83" y="96"/>
                    <a:pt x="79" y="99"/>
                  </a:cubicBezTo>
                  <a:cubicBezTo>
                    <a:pt x="75" y="101"/>
                    <a:pt x="70" y="104"/>
                    <a:pt x="64" y="105"/>
                  </a:cubicBezTo>
                  <a:cubicBezTo>
                    <a:pt x="59" y="107"/>
                    <a:pt x="53" y="108"/>
                    <a:pt x="46" y="108"/>
                  </a:cubicBezTo>
                  <a:cubicBezTo>
                    <a:pt x="39" y="108"/>
                    <a:pt x="32" y="107"/>
                    <a:pt x="26" y="105"/>
                  </a:cubicBezTo>
                  <a:cubicBezTo>
                    <a:pt x="21" y="103"/>
                    <a:pt x="16" y="101"/>
                    <a:pt x="12" y="99"/>
                  </a:cubicBezTo>
                  <a:cubicBezTo>
                    <a:pt x="7" y="96"/>
                    <a:pt x="3" y="93"/>
                    <a:pt x="0" y="89"/>
                  </a:cubicBezTo>
                  <a:lnTo>
                    <a:pt x="15" y="70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29">
              <a:extLst>
                <a:ext uri="{FF2B5EF4-FFF2-40B4-BE49-F238E27FC236}">
                  <a16:creationId xmlns:a16="http://schemas.microsoft.com/office/drawing/2014/main" id="{9372C604-68AB-4477-AE72-677FF516C6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8288" y="1058863"/>
              <a:ext cx="125413" cy="165100"/>
            </a:xfrm>
            <a:custGeom>
              <a:avLst/>
              <a:gdLst>
                <a:gd name="T0" fmla="*/ 15 w 118"/>
                <a:gd name="T1" fmla="*/ 124 h 155"/>
                <a:gd name="T2" fmla="*/ 19 w 118"/>
                <a:gd name="T3" fmla="*/ 127 h 155"/>
                <a:gd name="T4" fmla="*/ 23 w 118"/>
                <a:gd name="T5" fmla="*/ 129 h 155"/>
                <a:gd name="T6" fmla="*/ 28 w 118"/>
                <a:gd name="T7" fmla="*/ 130 h 155"/>
                <a:gd name="T8" fmla="*/ 34 w 118"/>
                <a:gd name="T9" fmla="*/ 130 h 155"/>
                <a:gd name="T10" fmla="*/ 38 w 118"/>
                <a:gd name="T11" fmla="*/ 128 h 155"/>
                <a:gd name="T12" fmla="*/ 42 w 118"/>
                <a:gd name="T13" fmla="*/ 123 h 155"/>
                <a:gd name="T14" fmla="*/ 46 w 118"/>
                <a:gd name="T15" fmla="*/ 115 h 155"/>
                <a:gd name="T16" fmla="*/ 50 w 118"/>
                <a:gd name="T17" fmla="*/ 105 h 155"/>
                <a:gd name="T18" fmla="*/ 0 w 118"/>
                <a:gd name="T19" fmla="*/ 0 h 155"/>
                <a:gd name="T20" fmla="*/ 29 w 118"/>
                <a:gd name="T21" fmla="*/ 0 h 155"/>
                <a:gd name="T22" fmla="*/ 63 w 118"/>
                <a:gd name="T23" fmla="*/ 75 h 155"/>
                <a:gd name="T24" fmla="*/ 90 w 118"/>
                <a:gd name="T25" fmla="*/ 0 h 155"/>
                <a:gd name="T26" fmla="*/ 118 w 118"/>
                <a:gd name="T27" fmla="*/ 0 h 155"/>
                <a:gd name="T28" fmla="*/ 69 w 118"/>
                <a:gd name="T29" fmla="*/ 125 h 155"/>
                <a:gd name="T30" fmla="*/ 52 w 118"/>
                <a:gd name="T31" fmla="*/ 148 h 155"/>
                <a:gd name="T32" fmla="*/ 30 w 118"/>
                <a:gd name="T33" fmla="*/ 155 h 155"/>
                <a:gd name="T34" fmla="*/ 19 w 118"/>
                <a:gd name="T35" fmla="*/ 153 h 155"/>
                <a:gd name="T36" fmla="*/ 11 w 118"/>
                <a:gd name="T37" fmla="*/ 149 h 155"/>
                <a:gd name="T38" fmla="*/ 2 w 118"/>
                <a:gd name="T39" fmla="*/ 144 h 155"/>
                <a:gd name="T40" fmla="*/ 15 w 118"/>
                <a:gd name="T41" fmla="*/ 124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8" h="155">
                  <a:moveTo>
                    <a:pt x="15" y="124"/>
                  </a:moveTo>
                  <a:cubicBezTo>
                    <a:pt x="16" y="125"/>
                    <a:pt x="17" y="126"/>
                    <a:pt x="19" y="127"/>
                  </a:cubicBezTo>
                  <a:cubicBezTo>
                    <a:pt x="20" y="128"/>
                    <a:pt x="22" y="129"/>
                    <a:pt x="23" y="129"/>
                  </a:cubicBezTo>
                  <a:cubicBezTo>
                    <a:pt x="25" y="130"/>
                    <a:pt x="27" y="130"/>
                    <a:pt x="28" y="130"/>
                  </a:cubicBezTo>
                  <a:cubicBezTo>
                    <a:pt x="30" y="130"/>
                    <a:pt x="32" y="130"/>
                    <a:pt x="34" y="130"/>
                  </a:cubicBezTo>
                  <a:cubicBezTo>
                    <a:pt x="36" y="129"/>
                    <a:pt x="37" y="129"/>
                    <a:pt x="38" y="128"/>
                  </a:cubicBezTo>
                  <a:cubicBezTo>
                    <a:pt x="40" y="126"/>
                    <a:pt x="41" y="125"/>
                    <a:pt x="42" y="123"/>
                  </a:cubicBezTo>
                  <a:cubicBezTo>
                    <a:pt x="43" y="121"/>
                    <a:pt x="45" y="118"/>
                    <a:pt x="46" y="11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4" y="137"/>
                    <a:pt x="58" y="144"/>
                    <a:pt x="52" y="148"/>
                  </a:cubicBezTo>
                  <a:cubicBezTo>
                    <a:pt x="45" y="153"/>
                    <a:pt x="38" y="155"/>
                    <a:pt x="30" y="155"/>
                  </a:cubicBezTo>
                  <a:cubicBezTo>
                    <a:pt x="26" y="155"/>
                    <a:pt x="22" y="154"/>
                    <a:pt x="19" y="153"/>
                  </a:cubicBezTo>
                  <a:cubicBezTo>
                    <a:pt x="16" y="152"/>
                    <a:pt x="13" y="151"/>
                    <a:pt x="11" y="149"/>
                  </a:cubicBezTo>
                  <a:cubicBezTo>
                    <a:pt x="7" y="148"/>
                    <a:pt x="5" y="146"/>
                    <a:pt x="2" y="144"/>
                  </a:cubicBezTo>
                  <a:lnTo>
                    <a:pt x="15" y="124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30">
              <a:extLst>
                <a:ext uri="{FF2B5EF4-FFF2-40B4-BE49-F238E27FC236}">
                  <a16:creationId xmlns:a16="http://schemas.microsoft.com/office/drawing/2014/main" id="{74D356EF-EA71-4FE4-B96B-27938F5F22F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78313" y="1055688"/>
              <a:ext cx="100013" cy="114300"/>
            </a:xfrm>
            <a:custGeom>
              <a:avLst/>
              <a:gdLst>
                <a:gd name="T0" fmla="*/ 83 w 95"/>
                <a:gd name="T1" fmla="*/ 10 h 108"/>
                <a:gd name="T2" fmla="*/ 95 w 95"/>
                <a:gd name="T3" fmla="*/ 38 h 108"/>
                <a:gd name="T4" fmla="*/ 95 w 95"/>
                <a:gd name="T5" fmla="*/ 105 h 108"/>
                <a:gd name="T6" fmla="*/ 71 w 95"/>
                <a:gd name="T7" fmla="*/ 105 h 108"/>
                <a:gd name="T8" fmla="*/ 71 w 95"/>
                <a:gd name="T9" fmla="*/ 92 h 108"/>
                <a:gd name="T10" fmla="*/ 63 w 95"/>
                <a:gd name="T11" fmla="*/ 100 h 108"/>
                <a:gd name="T12" fmla="*/ 53 w 95"/>
                <a:gd name="T13" fmla="*/ 106 h 108"/>
                <a:gd name="T14" fmla="*/ 37 w 95"/>
                <a:gd name="T15" fmla="*/ 108 h 108"/>
                <a:gd name="T16" fmla="*/ 24 w 95"/>
                <a:gd name="T17" fmla="*/ 106 h 108"/>
                <a:gd name="T18" fmla="*/ 12 w 95"/>
                <a:gd name="T19" fmla="*/ 99 h 108"/>
                <a:gd name="T20" fmla="*/ 3 w 95"/>
                <a:gd name="T21" fmla="*/ 88 h 108"/>
                <a:gd name="T22" fmla="*/ 0 w 95"/>
                <a:gd name="T23" fmla="*/ 73 h 108"/>
                <a:gd name="T24" fmla="*/ 4 w 95"/>
                <a:gd name="T25" fmla="*/ 60 h 108"/>
                <a:gd name="T26" fmla="*/ 12 w 95"/>
                <a:gd name="T27" fmla="*/ 49 h 108"/>
                <a:gd name="T28" fmla="*/ 25 w 95"/>
                <a:gd name="T29" fmla="*/ 42 h 108"/>
                <a:gd name="T30" fmla="*/ 41 w 95"/>
                <a:gd name="T31" fmla="*/ 39 h 108"/>
                <a:gd name="T32" fmla="*/ 53 w 95"/>
                <a:gd name="T33" fmla="*/ 41 h 108"/>
                <a:gd name="T34" fmla="*/ 62 w 95"/>
                <a:gd name="T35" fmla="*/ 43 h 108"/>
                <a:gd name="T36" fmla="*/ 69 w 95"/>
                <a:gd name="T37" fmla="*/ 47 h 108"/>
                <a:gd name="T38" fmla="*/ 69 w 95"/>
                <a:gd name="T39" fmla="*/ 41 h 108"/>
                <a:gd name="T40" fmla="*/ 67 w 95"/>
                <a:gd name="T41" fmla="*/ 33 h 108"/>
                <a:gd name="T42" fmla="*/ 62 w 95"/>
                <a:gd name="T43" fmla="*/ 27 h 108"/>
                <a:gd name="T44" fmla="*/ 55 w 95"/>
                <a:gd name="T45" fmla="*/ 24 h 108"/>
                <a:gd name="T46" fmla="*/ 47 w 95"/>
                <a:gd name="T47" fmla="*/ 23 h 108"/>
                <a:gd name="T48" fmla="*/ 36 w 95"/>
                <a:gd name="T49" fmla="*/ 24 h 108"/>
                <a:gd name="T50" fmla="*/ 26 w 95"/>
                <a:gd name="T51" fmla="*/ 27 h 108"/>
                <a:gd name="T52" fmla="*/ 16 w 95"/>
                <a:gd name="T53" fmla="*/ 31 h 108"/>
                <a:gd name="T54" fmla="*/ 8 w 95"/>
                <a:gd name="T55" fmla="*/ 9 h 108"/>
                <a:gd name="T56" fmla="*/ 20 w 95"/>
                <a:gd name="T57" fmla="*/ 5 h 108"/>
                <a:gd name="T58" fmla="*/ 33 w 95"/>
                <a:gd name="T59" fmla="*/ 1 h 108"/>
                <a:gd name="T60" fmla="*/ 48 w 95"/>
                <a:gd name="T61" fmla="*/ 0 h 108"/>
                <a:gd name="T62" fmla="*/ 83 w 95"/>
                <a:gd name="T63" fmla="*/ 10 h 108"/>
                <a:gd name="T64" fmla="*/ 56 w 95"/>
                <a:gd name="T65" fmla="*/ 84 h 108"/>
                <a:gd name="T66" fmla="*/ 63 w 95"/>
                <a:gd name="T67" fmla="*/ 80 h 108"/>
                <a:gd name="T68" fmla="*/ 69 w 95"/>
                <a:gd name="T69" fmla="*/ 74 h 108"/>
                <a:gd name="T70" fmla="*/ 69 w 95"/>
                <a:gd name="T71" fmla="*/ 64 h 108"/>
                <a:gd name="T72" fmla="*/ 63 w 95"/>
                <a:gd name="T73" fmla="*/ 61 h 108"/>
                <a:gd name="T74" fmla="*/ 55 w 95"/>
                <a:gd name="T75" fmla="*/ 59 h 108"/>
                <a:gd name="T76" fmla="*/ 46 w 95"/>
                <a:gd name="T77" fmla="*/ 59 h 108"/>
                <a:gd name="T78" fmla="*/ 39 w 95"/>
                <a:gd name="T79" fmla="*/ 59 h 108"/>
                <a:gd name="T80" fmla="*/ 33 w 95"/>
                <a:gd name="T81" fmla="*/ 62 h 108"/>
                <a:gd name="T82" fmla="*/ 29 w 95"/>
                <a:gd name="T83" fmla="*/ 66 h 108"/>
                <a:gd name="T84" fmla="*/ 27 w 95"/>
                <a:gd name="T85" fmla="*/ 73 h 108"/>
                <a:gd name="T86" fmla="*/ 29 w 95"/>
                <a:gd name="T87" fmla="*/ 80 h 108"/>
                <a:gd name="T88" fmla="*/ 33 w 95"/>
                <a:gd name="T89" fmla="*/ 84 h 108"/>
                <a:gd name="T90" fmla="*/ 39 w 95"/>
                <a:gd name="T91" fmla="*/ 86 h 108"/>
                <a:gd name="T92" fmla="*/ 45 w 95"/>
                <a:gd name="T93" fmla="*/ 86 h 108"/>
                <a:gd name="T94" fmla="*/ 56 w 95"/>
                <a:gd name="T95" fmla="*/ 8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5" h="108">
                  <a:moveTo>
                    <a:pt x="83" y="10"/>
                  </a:moveTo>
                  <a:cubicBezTo>
                    <a:pt x="91" y="17"/>
                    <a:pt x="95" y="27"/>
                    <a:pt x="95" y="38"/>
                  </a:cubicBezTo>
                  <a:cubicBezTo>
                    <a:pt x="95" y="105"/>
                    <a:pt x="95" y="105"/>
                    <a:pt x="95" y="105"/>
                  </a:cubicBezTo>
                  <a:cubicBezTo>
                    <a:pt x="71" y="105"/>
                    <a:pt x="71" y="105"/>
                    <a:pt x="71" y="105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9" y="95"/>
                    <a:pt x="66" y="98"/>
                    <a:pt x="63" y="100"/>
                  </a:cubicBezTo>
                  <a:cubicBezTo>
                    <a:pt x="60" y="102"/>
                    <a:pt x="57" y="104"/>
                    <a:pt x="53" y="106"/>
                  </a:cubicBezTo>
                  <a:cubicBezTo>
                    <a:pt x="48" y="107"/>
                    <a:pt x="43" y="108"/>
                    <a:pt x="37" y="108"/>
                  </a:cubicBezTo>
                  <a:cubicBezTo>
                    <a:pt x="33" y="108"/>
                    <a:pt x="28" y="107"/>
                    <a:pt x="24" y="106"/>
                  </a:cubicBezTo>
                  <a:cubicBezTo>
                    <a:pt x="19" y="104"/>
                    <a:pt x="15" y="102"/>
                    <a:pt x="12" y="99"/>
                  </a:cubicBezTo>
                  <a:cubicBezTo>
                    <a:pt x="8" y="96"/>
                    <a:pt x="5" y="92"/>
                    <a:pt x="3" y="88"/>
                  </a:cubicBezTo>
                  <a:cubicBezTo>
                    <a:pt x="1" y="84"/>
                    <a:pt x="0" y="79"/>
                    <a:pt x="0" y="73"/>
                  </a:cubicBezTo>
                  <a:cubicBezTo>
                    <a:pt x="0" y="69"/>
                    <a:pt x="1" y="64"/>
                    <a:pt x="4" y="60"/>
                  </a:cubicBezTo>
                  <a:cubicBezTo>
                    <a:pt x="6" y="56"/>
                    <a:pt x="8" y="52"/>
                    <a:pt x="12" y="49"/>
                  </a:cubicBezTo>
                  <a:cubicBezTo>
                    <a:pt x="16" y="46"/>
                    <a:pt x="20" y="44"/>
                    <a:pt x="25" y="42"/>
                  </a:cubicBezTo>
                  <a:cubicBezTo>
                    <a:pt x="30" y="40"/>
                    <a:pt x="35" y="39"/>
                    <a:pt x="41" y="39"/>
                  </a:cubicBezTo>
                  <a:cubicBezTo>
                    <a:pt x="45" y="39"/>
                    <a:pt x="50" y="40"/>
                    <a:pt x="53" y="41"/>
                  </a:cubicBezTo>
                  <a:cubicBezTo>
                    <a:pt x="57" y="41"/>
                    <a:pt x="60" y="42"/>
                    <a:pt x="62" y="43"/>
                  </a:cubicBezTo>
                  <a:cubicBezTo>
                    <a:pt x="65" y="44"/>
                    <a:pt x="67" y="45"/>
                    <a:pt x="69" y="47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38"/>
                    <a:pt x="69" y="35"/>
                    <a:pt x="67" y="33"/>
                  </a:cubicBezTo>
                  <a:cubicBezTo>
                    <a:pt x="66" y="30"/>
                    <a:pt x="64" y="28"/>
                    <a:pt x="62" y="27"/>
                  </a:cubicBezTo>
                  <a:cubicBezTo>
                    <a:pt x="59" y="26"/>
                    <a:pt x="57" y="25"/>
                    <a:pt x="55" y="24"/>
                  </a:cubicBezTo>
                  <a:cubicBezTo>
                    <a:pt x="52" y="23"/>
                    <a:pt x="49" y="23"/>
                    <a:pt x="47" y="23"/>
                  </a:cubicBezTo>
                  <a:cubicBezTo>
                    <a:pt x="43" y="23"/>
                    <a:pt x="40" y="24"/>
                    <a:pt x="36" y="24"/>
                  </a:cubicBezTo>
                  <a:cubicBezTo>
                    <a:pt x="32" y="25"/>
                    <a:pt x="29" y="26"/>
                    <a:pt x="26" y="27"/>
                  </a:cubicBezTo>
                  <a:cubicBezTo>
                    <a:pt x="23" y="28"/>
                    <a:pt x="19" y="29"/>
                    <a:pt x="16" y="31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2" y="8"/>
                    <a:pt x="16" y="6"/>
                    <a:pt x="20" y="5"/>
                  </a:cubicBezTo>
                  <a:cubicBezTo>
                    <a:pt x="24" y="3"/>
                    <a:pt x="28" y="2"/>
                    <a:pt x="33" y="1"/>
                  </a:cubicBezTo>
                  <a:cubicBezTo>
                    <a:pt x="38" y="1"/>
                    <a:pt x="43" y="0"/>
                    <a:pt x="48" y="0"/>
                  </a:cubicBezTo>
                  <a:cubicBezTo>
                    <a:pt x="63" y="0"/>
                    <a:pt x="75" y="3"/>
                    <a:pt x="83" y="10"/>
                  </a:cubicBezTo>
                  <a:close/>
                  <a:moveTo>
                    <a:pt x="56" y="84"/>
                  </a:moveTo>
                  <a:cubicBezTo>
                    <a:pt x="59" y="83"/>
                    <a:pt x="61" y="82"/>
                    <a:pt x="63" y="80"/>
                  </a:cubicBezTo>
                  <a:cubicBezTo>
                    <a:pt x="65" y="78"/>
                    <a:pt x="68" y="76"/>
                    <a:pt x="69" y="7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7" y="63"/>
                    <a:pt x="65" y="62"/>
                    <a:pt x="63" y="61"/>
                  </a:cubicBezTo>
                  <a:cubicBezTo>
                    <a:pt x="61" y="60"/>
                    <a:pt x="58" y="60"/>
                    <a:pt x="55" y="59"/>
                  </a:cubicBezTo>
                  <a:cubicBezTo>
                    <a:pt x="53" y="59"/>
                    <a:pt x="49" y="59"/>
                    <a:pt x="46" y="59"/>
                  </a:cubicBezTo>
                  <a:cubicBezTo>
                    <a:pt x="44" y="59"/>
                    <a:pt x="42" y="59"/>
                    <a:pt x="39" y="59"/>
                  </a:cubicBezTo>
                  <a:cubicBezTo>
                    <a:pt x="37" y="60"/>
                    <a:pt x="35" y="61"/>
                    <a:pt x="33" y="62"/>
                  </a:cubicBezTo>
                  <a:cubicBezTo>
                    <a:pt x="31" y="63"/>
                    <a:pt x="30" y="64"/>
                    <a:pt x="29" y="66"/>
                  </a:cubicBezTo>
                  <a:cubicBezTo>
                    <a:pt x="27" y="68"/>
                    <a:pt x="27" y="70"/>
                    <a:pt x="27" y="73"/>
                  </a:cubicBezTo>
                  <a:cubicBezTo>
                    <a:pt x="27" y="76"/>
                    <a:pt x="27" y="78"/>
                    <a:pt x="29" y="80"/>
                  </a:cubicBezTo>
                  <a:cubicBezTo>
                    <a:pt x="30" y="81"/>
                    <a:pt x="31" y="83"/>
                    <a:pt x="33" y="84"/>
                  </a:cubicBezTo>
                  <a:cubicBezTo>
                    <a:pt x="35" y="85"/>
                    <a:pt x="37" y="85"/>
                    <a:pt x="39" y="86"/>
                  </a:cubicBezTo>
                  <a:cubicBezTo>
                    <a:pt x="41" y="86"/>
                    <a:pt x="43" y="86"/>
                    <a:pt x="45" y="86"/>
                  </a:cubicBezTo>
                  <a:cubicBezTo>
                    <a:pt x="49" y="86"/>
                    <a:pt x="53" y="86"/>
                    <a:pt x="56" y="84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26845878-6581-42E7-A4FB-876FC9F74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11663" y="1055688"/>
              <a:ext cx="103188" cy="114300"/>
            </a:xfrm>
            <a:custGeom>
              <a:avLst/>
              <a:gdLst>
                <a:gd name="T0" fmla="*/ 67 w 98"/>
                <a:gd name="T1" fmla="*/ 82 h 108"/>
                <a:gd name="T2" fmla="*/ 75 w 98"/>
                <a:gd name="T3" fmla="*/ 77 h 108"/>
                <a:gd name="T4" fmla="*/ 81 w 98"/>
                <a:gd name="T5" fmla="*/ 71 h 108"/>
                <a:gd name="T6" fmla="*/ 98 w 98"/>
                <a:gd name="T7" fmla="*/ 88 h 108"/>
                <a:gd name="T8" fmla="*/ 87 w 98"/>
                <a:gd name="T9" fmla="*/ 98 h 108"/>
                <a:gd name="T10" fmla="*/ 74 w 98"/>
                <a:gd name="T11" fmla="*/ 105 h 108"/>
                <a:gd name="T12" fmla="*/ 55 w 98"/>
                <a:gd name="T13" fmla="*/ 108 h 108"/>
                <a:gd name="T14" fmla="*/ 34 w 98"/>
                <a:gd name="T15" fmla="*/ 104 h 108"/>
                <a:gd name="T16" fmla="*/ 16 w 98"/>
                <a:gd name="T17" fmla="*/ 92 h 108"/>
                <a:gd name="T18" fmla="*/ 5 w 98"/>
                <a:gd name="T19" fmla="*/ 75 h 108"/>
                <a:gd name="T20" fmla="*/ 0 w 98"/>
                <a:gd name="T21" fmla="*/ 54 h 108"/>
                <a:gd name="T22" fmla="*/ 5 w 98"/>
                <a:gd name="T23" fmla="*/ 33 h 108"/>
                <a:gd name="T24" fmla="*/ 16 w 98"/>
                <a:gd name="T25" fmla="*/ 16 h 108"/>
                <a:gd name="T26" fmla="*/ 34 w 98"/>
                <a:gd name="T27" fmla="*/ 4 h 108"/>
                <a:gd name="T28" fmla="*/ 55 w 98"/>
                <a:gd name="T29" fmla="*/ 0 h 108"/>
                <a:gd name="T30" fmla="*/ 74 w 98"/>
                <a:gd name="T31" fmla="*/ 3 h 108"/>
                <a:gd name="T32" fmla="*/ 87 w 98"/>
                <a:gd name="T33" fmla="*/ 10 h 108"/>
                <a:gd name="T34" fmla="*/ 97 w 98"/>
                <a:gd name="T35" fmla="*/ 19 h 108"/>
                <a:gd name="T36" fmla="*/ 79 w 98"/>
                <a:gd name="T37" fmla="*/ 35 h 108"/>
                <a:gd name="T38" fmla="*/ 73 w 98"/>
                <a:gd name="T39" fmla="*/ 30 h 108"/>
                <a:gd name="T40" fmla="*/ 66 w 98"/>
                <a:gd name="T41" fmla="*/ 26 h 108"/>
                <a:gd name="T42" fmla="*/ 55 w 98"/>
                <a:gd name="T43" fmla="*/ 24 h 108"/>
                <a:gd name="T44" fmla="*/ 43 w 98"/>
                <a:gd name="T45" fmla="*/ 27 h 108"/>
                <a:gd name="T46" fmla="*/ 34 w 98"/>
                <a:gd name="T47" fmla="*/ 33 h 108"/>
                <a:gd name="T48" fmla="*/ 29 w 98"/>
                <a:gd name="T49" fmla="*/ 42 h 108"/>
                <a:gd name="T50" fmla="*/ 27 w 98"/>
                <a:gd name="T51" fmla="*/ 54 h 108"/>
                <a:gd name="T52" fmla="*/ 29 w 98"/>
                <a:gd name="T53" fmla="*/ 65 h 108"/>
                <a:gd name="T54" fmla="*/ 34 w 98"/>
                <a:gd name="T55" fmla="*/ 75 h 108"/>
                <a:gd name="T56" fmla="*/ 43 w 98"/>
                <a:gd name="T57" fmla="*/ 81 h 108"/>
                <a:gd name="T58" fmla="*/ 55 w 98"/>
                <a:gd name="T59" fmla="*/ 84 h 108"/>
                <a:gd name="T60" fmla="*/ 67 w 98"/>
                <a:gd name="T61" fmla="*/ 8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8" h="108">
                  <a:moveTo>
                    <a:pt x="67" y="82"/>
                  </a:moveTo>
                  <a:cubicBezTo>
                    <a:pt x="70" y="80"/>
                    <a:pt x="73" y="79"/>
                    <a:pt x="75" y="77"/>
                  </a:cubicBezTo>
                  <a:cubicBezTo>
                    <a:pt x="77" y="75"/>
                    <a:pt x="79" y="73"/>
                    <a:pt x="81" y="71"/>
                  </a:cubicBezTo>
                  <a:cubicBezTo>
                    <a:pt x="98" y="88"/>
                    <a:pt x="98" y="88"/>
                    <a:pt x="98" y="88"/>
                  </a:cubicBezTo>
                  <a:cubicBezTo>
                    <a:pt x="95" y="92"/>
                    <a:pt x="91" y="95"/>
                    <a:pt x="87" y="98"/>
                  </a:cubicBezTo>
                  <a:cubicBezTo>
                    <a:pt x="83" y="101"/>
                    <a:pt x="79" y="103"/>
                    <a:pt x="74" y="105"/>
                  </a:cubicBezTo>
                  <a:cubicBezTo>
                    <a:pt x="68" y="107"/>
                    <a:pt x="62" y="108"/>
                    <a:pt x="55" y="108"/>
                  </a:cubicBezTo>
                  <a:cubicBezTo>
                    <a:pt x="48" y="108"/>
                    <a:pt x="41" y="106"/>
                    <a:pt x="34" y="104"/>
                  </a:cubicBezTo>
                  <a:cubicBezTo>
                    <a:pt x="27" y="101"/>
                    <a:pt x="21" y="97"/>
                    <a:pt x="16" y="92"/>
                  </a:cubicBezTo>
                  <a:cubicBezTo>
                    <a:pt x="11" y="87"/>
                    <a:pt x="7" y="82"/>
                    <a:pt x="5" y="75"/>
                  </a:cubicBezTo>
                  <a:cubicBezTo>
                    <a:pt x="2" y="69"/>
                    <a:pt x="0" y="61"/>
                    <a:pt x="0" y="54"/>
                  </a:cubicBezTo>
                  <a:cubicBezTo>
                    <a:pt x="0" y="46"/>
                    <a:pt x="2" y="39"/>
                    <a:pt x="5" y="33"/>
                  </a:cubicBezTo>
                  <a:cubicBezTo>
                    <a:pt x="7" y="26"/>
                    <a:pt x="11" y="21"/>
                    <a:pt x="16" y="16"/>
                  </a:cubicBezTo>
                  <a:cubicBezTo>
                    <a:pt x="21" y="11"/>
                    <a:pt x="27" y="7"/>
                    <a:pt x="34" y="4"/>
                  </a:cubicBezTo>
                  <a:cubicBezTo>
                    <a:pt x="41" y="1"/>
                    <a:pt x="48" y="0"/>
                    <a:pt x="55" y="0"/>
                  </a:cubicBezTo>
                  <a:cubicBezTo>
                    <a:pt x="62" y="0"/>
                    <a:pt x="68" y="1"/>
                    <a:pt x="74" y="3"/>
                  </a:cubicBezTo>
                  <a:cubicBezTo>
                    <a:pt x="79" y="5"/>
                    <a:pt x="83" y="7"/>
                    <a:pt x="87" y="10"/>
                  </a:cubicBezTo>
                  <a:cubicBezTo>
                    <a:pt x="91" y="12"/>
                    <a:pt x="94" y="15"/>
                    <a:pt x="97" y="19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78" y="33"/>
                    <a:pt x="76" y="31"/>
                    <a:pt x="73" y="30"/>
                  </a:cubicBezTo>
                  <a:cubicBezTo>
                    <a:pt x="71" y="28"/>
                    <a:pt x="69" y="27"/>
                    <a:pt x="66" y="26"/>
                  </a:cubicBezTo>
                  <a:cubicBezTo>
                    <a:pt x="63" y="25"/>
                    <a:pt x="59" y="24"/>
                    <a:pt x="55" y="24"/>
                  </a:cubicBezTo>
                  <a:cubicBezTo>
                    <a:pt x="51" y="24"/>
                    <a:pt x="47" y="25"/>
                    <a:pt x="43" y="27"/>
                  </a:cubicBezTo>
                  <a:cubicBezTo>
                    <a:pt x="40" y="28"/>
                    <a:pt x="37" y="30"/>
                    <a:pt x="34" y="33"/>
                  </a:cubicBezTo>
                  <a:cubicBezTo>
                    <a:pt x="32" y="36"/>
                    <a:pt x="30" y="39"/>
                    <a:pt x="29" y="42"/>
                  </a:cubicBezTo>
                  <a:cubicBezTo>
                    <a:pt x="27" y="46"/>
                    <a:pt x="27" y="50"/>
                    <a:pt x="27" y="54"/>
                  </a:cubicBezTo>
                  <a:cubicBezTo>
                    <a:pt x="27" y="58"/>
                    <a:pt x="27" y="62"/>
                    <a:pt x="29" y="65"/>
                  </a:cubicBezTo>
                  <a:cubicBezTo>
                    <a:pt x="30" y="69"/>
                    <a:pt x="32" y="72"/>
                    <a:pt x="34" y="75"/>
                  </a:cubicBezTo>
                  <a:cubicBezTo>
                    <a:pt x="37" y="77"/>
                    <a:pt x="40" y="80"/>
                    <a:pt x="43" y="81"/>
                  </a:cubicBezTo>
                  <a:cubicBezTo>
                    <a:pt x="47" y="83"/>
                    <a:pt x="51" y="84"/>
                    <a:pt x="55" y="84"/>
                  </a:cubicBezTo>
                  <a:cubicBezTo>
                    <a:pt x="60" y="84"/>
                    <a:pt x="64" y="83"/>
                    <a:pt x="67" y="82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32">
              <a:extLst>
                <a:ext uri="{FF2B5EF4-FFF2-40B4-BE49-F238E27FC236}">
                  <a16:creationId xmlns:a16="http://schemas.microsoft.com/office/drawing/2014/main" id="{C7633EF0-FE39-4612-8A49-19236B552C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1" y="1055688"/>
              <a:ext cx="104775" cy="114300"/>
            </a:xfrm>
            <a:custGeom>
              <a:avLst/>
              <a:gdLst>
                <a:gd name="T0" fmla="*/ 67 w 98"/>
                <a:gd name="T1" fmla="*/ 82 h 108"/>
                <a:gd name="T2" fmla="*/ 75 w 98"/>
                <a:gd name="T3" fmla="*/ 77 h 108"/>
                <a:gd name="T4" fmla="*/ 81 w 98"/>
                <a:gd name="T5" fmla="*/ 71 h 108"/>
                <a:gd name="T6" fmla="*/ 98 w 98"/>
                <a:gd name="T7" fmla="*/ 88 h 108"/>
                <a:gd name="T8" fmla="*/ 87 w 98"/>
                <a:gd name="T9" fmla="*/ 98 h 108"/>
                <a:gd name="T10" fmla="*/ 74 w 98"/>
                <a:gd name="T11" fmla="*/ 105 h 108"/>
                <a:gd name="T12" fmla="*/ 55 w 98"/>
                <a:gd name="T13" fmla="*/ 108 h 108"/>
                <a:gd name="T14" fmla="*/ 34 w 98"/>
                <a:gd name="T15" fmla="*/ 104 h 108"/>
                <a:gd name="T16" fmla="*/ 16 w 98"/>
                <a:gd name="T17" fmla="*/ 92 h 108"/>
                <a:gd name="T18" fmla="*/ 5 w 98"/>
                <a:gd name="T19" fmla="*/ 75 h 108"/>
                <a:gd name="T20" fmla="*/ 0 w 98"/>
                <a:gd name="T21" fmla="*/ 54 h 108"/>
                <a:gd name="T22" fmla="*/ 5 w 98"/>
                <a:gd name="T23" fmla="*/ 33 h 108"/>
                <a:gd name="T24" fmla="*/ 16 w 98"/>
                <a:gd name="T25" fmla="*/ 16 h 108"/>
                <a:gd name="T26" fmla="*/ 34 w 98"/>
                <a:gd name="T27" fmla="*/ 4 h 108"/>
                <a:gd name="T28" fmla="*/ 55 w 98"/>
                <a:gd name="T29" fmla="*/ 0 h 108"/>
                <a:gd name="T30" fmla="*/ 74 w 98"/>
                <a:gd name="T31" fmla="*/ 3 h 108"/>
                <a:gd name="T32" fmla="*/ 87 w 98"/>
                <a:gd name="T33" fmla="*/ 10 h 108"/>
                <a:gd name="T34" fmla="*/ 97 w 98"/>
                <a:gd name="T35" fmla="*/ 19 h 108"/>
                <a:gd name="T36" fmla="*/ 79 w 98"/>
                <a:gd name="T37" fmla="*/ 35 h 108"/>
                <a:gd name="T38" fmla="*/ 73 w 98"/>
                <a:gd name="T39" fmla="*/ 30 h 108"/>
                <a:gd name="T40" fmla="*/ 66 w 98"/>
                <a:gd name="T41" fmla="*/ 26 h 108"/>
                <a:gd name="T42" fmla="*/ 55 w 98"/>
                <a:gd name="T43" fmla="*/ 24 h 108"/>
                <a:gd name="T44" fmla="*/ 44 w 98"/>
                <a:gd name="T45" fmla="*/ 27 h 108"/>
                <a:gd name="T46" fmla="*/ 34 w 98"/>
                <a:gd name="T47" fmla="*/ 33 h 108"/>
                <a:gd name="T48" fmla="*/ 29 w 98"/>
                <a:gd name="T49" fmla="*/ 42 h 108"/>
                <a:gd name="T50" fmla="*/ 27 w 98"/>
                <a:gd name="T51" fmla="*/ 54 h 108"/>
                <a:gd name="T52" fmla="*/ 29 w 98"/>
                <a:gd name="T53" fmla="*/ 65 h 108"/>
                <a:gd name="T54" fmla="*/ 34 w 98"/>
                <a:gd name="T55" fmla="*/ 75 h 108"/>
                <a:gd name="T56" fmla="*/ 44 w 98"/>
                <a:gd name="T57" fmla="*/ 81 h 108"/>
                <a:gd name="T58" fmla="*/ 55 w 98"/>
                <a:gd name="T59" fmla="*/ 84 h 108"/>
                <a:gd name="T60" fmla="*/ 67 w 98"/>
                <a:gd name="T61" fmla="*/ 8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8" h="108">
                  <a:moveTo>
                    <a:pt x="67" y="82"/>
                  </a:moveTo>
                  <a:cubicBezTo>
                    <a:pt x="70" y="80"/>
                    <a:pt x="73" y="79"/>
                    <a:pt x="75" y="77"/>
                  </a:cubicBezTo>
                  <a:cubicBezTo>
                    <a:pt x="77" y="75"/>
                    <a:pt x="79" y="73"/>
                    <a:pt x="81" y="71"/>
                  </a:cubicBezTo>
                  <a:cubicBezTo>
                    <a:pt x="98" y="88"/>
                    <a:pt x="98" y="88"/>
                    <a:pt x="98" y="88"/>
                  </a:cubicBezTo>
                  <a:cubicBezTo>
                    <a:pt x="95" y="92"/>
                    <a:pt x="91" y="95"/>
                    <a:pt x="87" y="98"/>
                  </a:cubicBezTo>
                  <a:cubicBezTo>
                    <a:pt x="83" y="101"/>
                    <a:pt x="79" y="103"/>
                    <a:pt x="74" y="105"/>
                  </a:cubicBezTo>
                  <a:cubicBezTo>
                    <a:pt x="68" y="107"/>
                    <a:pt x="62" y="108"/>
                    <a:pt x="55" y="108"/>
                  </a:cubicBezTo>
                  <a:cubicBezTo>
                    <a:pt x="48" y="108"/>
                    <a:pt x="41" y="106"/>
                    <a:pt x="34" y="104"/>
                  </a:cubicBezTo>
                  <a:cubicBezTo>
                    <a:pt x="27" y="101"/>
                    <a:pt x="21" y="97"/>
                    <a:pt x="16" y="92"/>
                  </a:cubicBezTo>
                  <a:cubicBezTo>
                    <a:pt x="11" y="87"/>
                    <a:pt x="7" y="82"/>
                    <a:pt x="5" y="75"/>
                  </a:cubicBezTo>
                  <a:cubicBezTo>
                    <a:pt x="2" y="69"/>
                    <a:pt x="0" y="61"/>
                    <a:pt x="0" y="54"/>
                  </a:cubicBezTo>
                  <a:cubicBezTo>
                    <a:pt x="0" y="46"/>
                    <a:pt x="2" y="39"/>
                    <a:pt x="5" y="33"/>
                  </a:cubicBezTo>
                  <a:cubicBezTo>
                    <a:pt x="7" y="26"/>
                    <a:pt x="11" y="21"/>
                    <a:pt x="16" y="16"/>
                  </a:cubicBezTo>
                  <a:cubicBezTo>
                    <a:pt x="21" y="11"/>
                    <a:pt x="27" y="7"/>
                    <a:pt x="34" y="4"/>
                  </a:cubicBezTo>
                  <a:cubicBezTo>
                    <a:pt x="41" y="1"/>
                    <a:pt x="48" y="0"/>
                    <a:pt x="55" y="0"/>
                  </a:cubicBezTo>
                  <a:cubicBezTo>
                    <a:pt x="62" y="0"/>
                    <a:pt x="68" y="1"/>
                    <a:pt x="74" y="3"/>
                  </a:cubicBezTo>
                  <a:cubicBezTo>
                    <a:pt x="79" y="5"/>
                    <a:pt x="83" y="7"/>
                    <a:pt x="87" y="10"/>
                  </a:cubicBezTo>
                  <a:cubicBezTo>
                    <a:pt x="91" y="12"/>
                    <a:pt x="94" y="15"/>
                    <a:pt x="97" y="19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78" y="33"/>
                    <a:pt x="76" y="31"/>
                    <a:pt x="73" y="30"/>
                  </a:cubicBezTo>
                  <a:cubicBezTo>
                    <a:pt x="71" y="28"/>
                    <a:pt x="69" y="27"/>
                    <a:pt x="66" y="26"/>
                  </a:cubicBezTo>
                  <a:cubicBezTo>
                    <a:pt x="63" y="25"/>
                    <a:pt x="59" y="24"/>
                    <a:pt x="55" y="24"/>
                  </a:cubicBezTo>
                  <a:cubicBezTo>
                    <a:pt x="51" y="24"/>
                    <a:pt x="47" y="25"/>
                    <a:pt x="44" y="27"/>
                  </a:cubicBezTo>
                  <a:cubicBezTo>
                    <a:pt x="40" y="28"/>
                    <a:pt x="37" y="30"/>
                    <a:pt x="34" y="33"/>
                  </a:cubicBezTo>
                  <a:cubicBezTo>
                    <a:pt x="32" y="36"/>
                    <a:pt x="30" y="39"/>
                    <a:pt x="29" y="42"/>
                  </a:cubicBezTo>
                  <a:cubicBezTo>
                    <a:pt x="27" y="46"/>
                    <a:pt x="27" y="50"/>
                    <a:pt x="27" y="54"/>
                  </a:cubicBezTo>
                  <a:cubicBezTo>
                    <a:pt x="27" y="58"/>
                    <a:pt x="27" y="62"/>
                    <a:pt x="29" y="65"/>
                  </a:cubicBezTo>
                  <a:cubicBezTo>
                    <a:pt x="30" y="69"/>
                    <a:pt x="32" y="72"/>
                    <a:pt x="34" y="75"/>
                  </a:cubicBezTo>
                  <a:cubicBezTo>
                    <a:pt x="37" y="77"/>
                    <a:pt x="40" y="80"/>
                    <a:pt x="44" y="81"/>
                  </a:cubicBezTo>
                  <a:cubicBezTo>
                    <a:pt x="47" y="83"/>
                    <a:pt x="51" y="84"/>
                    <a:pt x="55" y="84"/>
                  </a:cubicBezTo>
                  <a:cubicBezTo>
                    <a:pt x="60" y="84"/>
                    <a:pt x="64" y="83"/>
                    <a:pt x="67" y="82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33">
              <a:extLst>
                <a:ext uri="{FF2B5EF4-FFF2-40B4-BE49-F238E27FC236}">
                  <a16:creationId xmlns:a16="http://schemas.microsoft.com/office/drawing/2014/main" id="{56A23D21-952A-4A1A-A157-96525208000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657726" y="1055688"/>
              <a:ext cx="111125" cy="114300"/>
            </a:xfrm>
            <a:custGeom>
              <a:avLst/>
              <a:gdLst>
                <a:gd name="T0" fmla="*/ 72 w 104"/>
                <a:gd name="T1" fmla="*/ 4 h 108"/>
                <a:gd name="T2" fmla="*/ 88 w 104"/>
                <a:gd name="T3" fmla="*/ 15 h 108"/>
                <a:gd name="T4" fmla="*/ 99 w 104"/>
                <a:gd name="T5" fmla="*/ 32 h 108"/>
                <a:gd name="T6" fmla="*/ 104 w 104"/>
                <a:gd name="T7" fmla="*/ 54 h 108"/>
                <a:gd name="T8" fmla="*/ 104 w 104"/>
                <a:gd name="T9" fmla="*/ 58 h 108"/>
                <a:gd name="T10" fmla="*/ 103 w 104"/>
                <a:gd name="T11" fmla="*/ 63 h 108"/>
                <a:gd name="T12" fmla="*/ 27 w 104"/>
                <a:gd name="T13" fmla="*/ 63 h 108"/>
                <a:gd name="T14" fmla="*/ 30 w 104"/>
                <a:gd name="T15" fmla="*/ 70 h 108"/>
                <a:gd name="T16" fmla="*/ 36 w 104"/>
                <a:gd name="T17" fmla="*/ 77 h 108"/>
                <a:gd name="T18" fmla="*/ 44 w 104"/>
                <a:gd name="T19" fmla="*/ 82 h 108"/>
                <a:gd name="T20" fmla="*/ 56 w 104"/>
                <a:gd name="T21" fmla="*/ 84 h 108"/>
                <a:gd name="T22" fmla="*/ 68 w 104"/>
                <a:gd name="T23" fmla="*/ 82 h 108"/>
                <a:gd name="T24" fmla="*/ 76 w 104"/>
                <a:gd name="T25" fmla="*/ 79 h 108"/>
                <a:gd name="T26" fmla="*/ 84 w 104"/>
                <a:gd name="T27" fmla="*/ 74 h 108"/>
                <a:gd name="T28" fmla="*/ 97 w 104"/>
                <a:gd name="T29" fmla="*/ 93 h 108"/>
                <a:gd name="T30" fmla="*/ 85 w 104"/>
                <a:gd name="T31" fmla="*/ 101 h 108"/>
                <a:gd name="T32" fmla="*/ 73 w 104"/>
                <a:gd name="T33" fmla="*/ 106 h 108"/>
                <a:gd name="T34" fmla="*/ 56 w 104"/>
                <a:gd name="T35" fmla="*/ 108 h 108"/>
                <a:gd name="T36" fmla="*/ 34 w 104"/>
                <a:gd name="T37" fmla="*/ 104 h 108"/>
                <a:gd name="T38" fmla="*/ 16 w 104"/>
                <a:gd name="T39" fmla="*/ 92 h 108"/>
                <a:gd name="T40" fmla="*/ 5 w 104"/>
                <a:gd name="T41" fmla="*/ 75 h 108"/>
                <a:gd name="T42" fmla="*/ 0 w 104"/>
                <a:gd name="T43" fmla="*/ 54 h 108"/>
                <a:gd name="T44" fmla="*/ 4 w 104"/>
                <a:gd name="T45" fmla="*/ 33 h 108"/>
                <a:gd name="T46" fmla="*/ 15 w 104"/>
                <a:gd name="T47" fmla="*/ 16 h 108"/>
                <a:gd name="T48" fmla="*/ 31 w 104"/>
                <a:gd name="T49" fmla="*/ 4 h 108"/>
                <a:gd name="T50" fmla="*/ 52 w 104"/>
                <a:gd name="T51" fmla="*/ 0 h 108"/>
                <a:gd name="T52" fmla="*/ 72 w 104"/>
                <a:gd name="T53" fmla="*/ 4 h 108"/>
                <a:gd name="T54" fmla="*/ 78 w 104"/>
                <a:gd name="T55" fmla="*/ 44 h 108"/>
                <a:gd name="T56" fmla="*/ 76 w 104"/>
                <a:gd name="T57" fmla="*/ 38 h 108"/>
                <a:gd name="T58" fmla="*/ 71 w 104"/>
                <a:gd name="T59" fmla="*/ 31 h 108"/>
                <a:gd name="T60" fmla="*/ 63 w 104"/>
                <a:gd name="T61" fmla="*/ 26 h 108"/>
                <a:gd name="T62" fmla="*/ 52 w 104"/>
                <a:gd name="T63" fmla="*/ 24 h 108"/>
                <a:gd name="T64" fmla="*/ 41 w 104"/>
                <a:gd name="T65" fmla="*/ 26 h 108"/>
                <a:gd name="T66" fmla="*/ 33 w 104"/>
                <a:gd name="T67" fmla="*/ 31 h 108"/>
                <a:gd name="T68" fmla="*/ 29 w 104"/>
                <a:gd name="T69" fmla="*/ 37 h 108"/>
                <a:gd name="T70" fmla="*/ 27 w 104"/>
                <a:gd name="T71" fmla="*/ 44 h 108"/>
                <a:gd name="T72" fmla="*/ 78 w 104"/>
                <a:gd name="T73" fmla="*/ 4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4" h="108">
                  <a:moveTo>
                    <a:pt x="72" y="4"/>
                  </a:moveTo>
                  <a:cubicBezTo>
                    <a:pt x="78" y="7"/>
                    <a:pt x="84" y="10"/>
                    <a:pt x="88" y="15"/>
                  </a:cubicBezTo>
                  <a:cubicBezTo>
                    <a:pt x="93" y="20"/>
                    <a:pt x="97" y="25"/>
                    <a:pt x="99" y="32"/>
                  </a:cubicBezTo>
                  <a:cubicBezTo>
                    <a:pt x="102" y="38"/>
                    <a:pt x="104" y="46"/>
                    <a:pt x="104" y="54"/>
                  </a:cubicBezTo>
                  <a:cubicBezTo>
                    <a:pt x="104" y="55"/>
                    <a:pt x="104" y="56"/>
                    <a:pt x="104" y="58"/>
                  </a:cubicBezTo>
                  <a:cubicBezTo>
                    <a:pt x="104" y="59"/>
                    <a:pt x="104" y="61"/>
                    <a:pt x="103" y="63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7" y="66"/>
                    <a:pt x="28" y="68"/>
                    <a:pt x="30" y="70"/>
                  </a:cubicBezTo>
                  <a:cubicBezTo>
                    <a:pt x="31" y="73"/>
                    <a:pt x="33" y="75"/>
                    <a:pt x="36" y="77"/>
                  </a:cubicBezTo>
                  <a:cubicBezTo>
                    <a:pt x="38" y="79"/>
                    <a:pt x="41" y="81"/>
                    <a:pt x="44" y="82"/>
                  </a:cubicBezTo>
                  <a:cubicBezTo>
                    <a:pt x="48" y="83"/>
                    <a:pt x="51" y="84"/>
                    <a:pt x="56" y="84"/>
                  </a:cubicBezTo>
                  <a:cubicBezTo>
                    <a:pt x="60" y="84"/>
                    <a:pt x="64" y="84"/>
                    <a:pt x="68" y="82"/>
                  </a:cubicBezTo>
                  <a:cubicBezTo>
                    <a:pt x="71" y="81"/>
                    <a:pt x="74" y="80"/>
                    <a:pt x="76" y="79"/>
                  </a:cubicBezTo>
                  <a:cubicBezTo>
                    <a:pt x="79" y="77"/>
                    <a:pt x="82" y="76"/>
                    <a:pt x="84" y="74"/>
                  </a:cubicBezTo>
                  <a:cubicBezTo>
                    <a:pt x="97" y="93"/>
                    <a:pt x="97" y="93"/>
                    <a:pt x="97" y="93"/>
                  </a:cubicBezTo>
                  <a:cubicBezTo>
                    <a:pt x="93" y="96"/>
                    <a:pt x="90" y="98"/>
                    <a:pt x="85" y="101"/>
                  </a:cubicBezTo>
                  <a:cubicBezTo>
                    <a:pt x="82" y="102"/>
                    <a:pt x="77" y="104"/>
                    <a:pt x="73" y="106"/>
                  </a:cubicBezTo>
                  <a:cubicBezTo>
                    <a:pt x="68" y="107"/>
                    <a:pt x="62" y="108"/>
                    <a:pt x="56" y="108"/>
                  </a:cubicBezTo>
                  <a:cubicBezTo>
                    <a:pt x="48" y="108"/>
                    <a:pt x="40" y="106"/>
                    <a:pt x="34" y="104"/>
                  </a:cubicBezTo>
                  <a:cubicBezTo>
                    <a:pt x="27" y="101"/>
                    <a:pt x="21" y="97"/>
                    <a:pt x="16" y="92"/>
                  </a:cubicBezTo>
                  <a:cubicBezTo>
                    <a:pt x="11" y="87"/>
                    <a:pt x="7" y="82"/>
                    <a:pt x="5" y="75"/>
                  </a:cubicBezTo>
                  <a:cubicBezTo>
                    <a:pt x="2" y="69"/>
                    <a:pt x="0" y="61"/>
                    <a:pt x="0" y="54"/>
                  </a:cubicBezTo>
                  <a:cubicBezTo>
                    <a:pt x="0" y="46"/>
                    <a:pt x="2" y="39"/>
                    <a:pt x="4" y="33"/>
                  </a:cubicBezTo>
                  <a:cubicBezTo>
                    <a:pt x="7" y="26"/>
                    <a:pt x="10" y="21"/>
                    <a:pt x="15" y="16"/>
                  </a:cubicBezTo>
                  <a:cubicBezTo>
                    <a:pt x="19" y="11"/>
                    <a:pt x="25" y="7"/>
                    <a:pt x="31" y="4"/>
                  </a:cubicBezTo>
                  <a:cubicBezTo>
                    <a:pt x="38" y="1"/>
                    <a:pt x="44" y="0"/>
                    <a:pt x="52" y="0"/>
                  </a:cubicBezTo>
                  <a:cubicBezTo>
                    <a:pt x="59" y="0"/>
                    <a:pt x="66" y="1"/>
                    <a:pt x="72" y="4"/>
                  </a:cubicBezTo>
                  <a:close/>
                  <a:moveTo>
                    <a:pt x="78" y="44"/>
                  </a:moveTo>
                  <a:cubicBezTo>
                    <a:pt x="77" y="42"/>
                    <a:pt x="77" y="40"/>
                    <a:pt x="76" y="38"/>
                  </a:cubicBezTo>
                  <a:cubicBezTo>
                    <a:pt x="75" y="35"/>
                    <a:pt x="73" y="33"/>
                    <a:pt x="71" y="31"/>
                  </a:cubicBezTo>
                  <a:cubicBezTo>
                    <a:pt x="69" y="29"/>
                    <a:pt x="66" y="27"/>
                    <a:pt x="63" y="26"/>
                  </a:cubicBezTo>
                  <a:cubicBezTo>
                    <a:pt x="60" y="24"/>
                    <a:pt x="56" y="24"/>
                    <a:pt x="52" y="24"/>
                  </a:cubicBezTo>
                  <a:cubicBezTo>
                    <a:pt x="48" y="24"/>
                    <a:pt x="44" y="24"/>
                    <a:pt x="41" y="26"/>
                  </a:cubicBezTo>
                  <a:cubicBezTo>
                    <a:pt x="38" y="27"/>
                    <a:pt x="35" y="29"/>
                    <a:pt x="33" y="31"/>
                  </a:cubicBezTo>
                  <a:cubicBezTo>
                    <a:pt x="31" y="33"/>
                    <a:pt x="30" y="35"/>
                    <a:pt x="29" y="37"/>
                  </a:cubicBezTo>
                  <a:cubicBezTo>
                    <a:pt x="28" y="40"/>
                    <a:pt x="27" y="42"/>
                    <a:pt x="27" y="44"/>
                  </a:cubicBezTo>
                  <a:lnTo>
                    <a:pt x="78" y="44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Freeform 34">
              <a:extLst>
                <a:ext uri="{FF2B5EF4-FFF2-40B4-BE49-F238E27FC236}">
                  <a16:creationId xmlns:a16="http://schemas.microsoft.com/office/drawing/2014/main" id="{CA19857A-A213-4A64-B52F-74AA41539F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1076" y="1055688"/>
              <a:ext cx="96838" cy="114300"/>
            </a:xfrm>
            <a:custGeom>
              <a:avLst/>
              <a:gdLst>
                <a:gd name="T0" fmla="*/ 15 w 91"/>
                <a:gd name="T1" fmla="*/ 70 h 108"/>
                <a:gd name="T2" fmla="*/ 24 w 91"/>
                <a:gd name="T3" fmla="*/ 78 h 108"/>
                <a:gd name="T4" fmla="*/ 33 w 91"/>
                <a:gd name="T5" fmla="*/ 83 h 108"/>
                <a:gd name="T6" fmla="*/ 46 w 91"/>
                <a:gd name="T7" fmla="*/ 85 h 108"/>
                <a:gd name="T8" fmla="*/ 59 w 91"/>
                <a:gd name="T9" fmla="*/ 83 h 108"/>
                <a:gd name="T10" fmla="*/ 65 w 91"/>
                <a:gd name="T11" fmla="*/ 76 h 108"/>
                <a:gd name="T12" fmla="*/ 61 w 91"/>
                <a:gd name="T13" fmla="*/ 69 h 108"/>
                <a:gd name="T14" fmla="*/ 45 w 91"/>
                <a:gd name="T15" fmla="*/ 65 h 108"/>
                <a:gd name="T16" fmla="*/ 30 w 91"/>
                <a:gd name="T17" fmla="*/ 60 h 108"/>
                <a:gd name="T18" fmla="*/ 18 w 91"/>
                <a:gd name="T19" fmla="*/ 54 h 108"/>
                <a:gd name="T20" fmla="*/ 10 w 91"/>
                <a:gd name="T21" fmla="*/ 45 h 108"/>
                <a:gd name="T22" fmla="*/ 7 w 91"/>
                <a:gd name="T23" fmla="*/ 32 h 108"/>
                <a:gd name="T24" fmla="*/ 10 w 91"/>
                <a:gd name="T25" fmla="*/ 20 h 108"/>
                <a:gd name="T26" fmla="*/ 18 w 91"/>
                <a:gd name="T27" fmla="*/ 10 h 108"/>
                <a:gd name="T28" fmla="*/ 32 w 91"/>
                <a:gd name="T29" fmla="*/ 3 h 108"/>
                <a:gd name="T30" fmla="*/ 51 w 91"/>
                <a:gd name="T31" fmla="*/ 0 h 108"/>
                <a:gd name="T32" fmla="*/ 67 w 91"/>
                <a:gd name="T33" fmla="*/ 2 h 108"/>
                <a:gd name="T34" fmla="*/ 79 w 91"/>
                <a:gd name="T35" fmla="*/ 6 h 108"/>
                <a:gd name="T36" fmla="*/ 89 w 91"/>
                <a:gd name="T37" fmla="*/ 13 h 108"/>
                <a:gd name="T38" fmla="*/ 76 w 91"/>
                <a:gd name="T39" fmla="*/ 32 h 108"/>
                <a:gd name="T40" fmla="*/ 69 w 91"/>
                <a:gd name="T41" fmla="*/ 27 h 108"/>
                <a:gd name="T42" fmla="*/ 61 w 91"/>
                <a:gd name="T43" fmla="*/ 24 h 108"/>
                <a:gd name="T44" fmla="*/ 51 w 91"/>
                <a:gd name="T45" fmla="*/ 23 h 108"/>
                <a:gd name="T46" fmla="*/ 38 w 91"/>
                <a:gd name="T47" fmla="*/ 25 h 108"/>
                <a:gd name="T48" fmla="*/ 32 w 91"/>
                <a:gd name="T49" fmla="*/ 33 h 108"/>
                <a:gd name="T50" fmla="*/ 38 w 91"/>
                <a:gd name="T51" fmla="*/ 39 h 108"/>
                <a:gd name="T52" fmla="*/ 56 w 91"/>
                <a:gd name="T53" fmla="*/ 44 h 108"/>
                <a:gd name="T54" fmla="*/ 70 w 91"/>
                <a:gd name="T55" fmla="*/ 48 h 108"/>
                <a:gd name="T56" fmla="*/ 81 w 91"/>
                <a:gd name="T57" fmla="*/ 54 h 108"/>
                <a:gd name="T58" fmla="*/ 89 w 91"/>
                <a:gd name="T59" fmla="*/ 63 h 108"/>
                <a:gd name="T60" fmla="*/ 91 w 91"/>
                <a:gd name="T61" fmla="*/ 76 h 108"/>
                <a:gd name="T62" fmla="*/ 88 w 91"/>
                <a:gd name="T63" fmla="*/ 89 h 108"/>
                <a:gd name="T64" fmla="*/ 79 w 91"/>
                <a:gd name="T65" fmla="*/ 99 h 108"/>
                <a:gd name="T66" fmla="*/ 64 w 91"/>
                <a:gd name="T67" fmla="*/ 105 h 108"/>
                <a:gd name="T68" fmla="*/ 46 w 91"/>
                <a:gd name="T69" fmla="*/ 108 h 108"/>
                <a:gd name="T70" fmla="*/ 27 w 91"/>
                <a:gd name="T71" fmla="*/ 105 h 108"/>
                <a:gd name="T72" fmla="*/ 12 w 91"/>
                <a:gd name="T73" fmla="*/ 99 h 108"/>
                <a:gd name="T74" fmla="*/ 0 w 91"/>
                <a:gd name="T75" fmla="*/ 89 h 108"/>
                <a:gd name="T76" fmla="*/ 15 w 91"/>
                <a:gd name="T77" fmla="*/ 7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1" h="108">
                  <a:moveTo>
                    <a:pt x="15" y="70"/>
                  </a:moveTo>
                  <a:cubicBezTo>
                    <a:pt x="17" y="73"/>
                    <a:pt x="20" y="76"/>
                    <a:pt x="24" y="78"/>
                  </a:cubicBezTo>
                  <a:cubicBezTo>
                    <a:pt x="26" y="80"/>
                    <a:pt x="30" y="81"/>
                    <a:pt x="33" y="83"/>
                  </a:cubicBezTo>
                  <a:cubicBezTo>
                    <a:pt x="37" y="84"/>
                    <a:pt x="41" y="85"/>
                    <a:pt x="46" y="85"/>
                  </a:cubicBezTo>
                  <a:cubicBezTo>
                    <a:pt x="51" y="85"/>
                    <a:pt x="56" y="84"/>
                    <a:pt x="59" y="83"/>
                  </a:cubicBezTo>
                  <a:cubicBezTo>
                    <a:pt x="63" y="81"/>
                    <a:pt x="65" y="79"/>
                    <a:pt x="65" y="76"/>
                  </a:cubicBezTo>
                  <a:cubicBezTo>
                    <a:pt x="65" y="73"/>
                    <a:pt x="64" y="70"/>
                    <a:pt x="61" y="69"/>
                  </a:cubicBezTo>
                  <a:cubicBezTo>
                    <a:pt x="58" y="68"/>
                    <a:pt x="53" y="66"/>
                    <a:pt x="45" y="65"/>
                  </a:cubicBezTo>
                  <a:cubicBezTo>
                    <a:pt x="40" y="63"/>
                    <a:pt x="35" y="62"/>
                    <a:pt x="30" y="60"/>
                  </a:cubicBezTo>
                  <a:cubicBezTo>
                    <a:pt x="26" y="59"/>
                    <a:pt x="22" y="57"/>
                    <a:pt x="18" y="54"/>
                  </a:cubicBezTo>
                  <a:cubicBezTo>
                    <a:pt x="15" y="51"/>
                    <a:pt x="12" y="48"/>
                    <a:pt x="10" y="45"/>
                  </a:cubicBezTo>
                  <a:cubicBezTo>
                    <a:pt x="8" y="41"/>
                    <a:pt x="7" y="37"/>
                    <a:pt x="7" y="32"/>
                  </a:cubicBezTo>
                  <a:cubicBezTo>
                    <a:pt x="7" y="28"/>
                    <a:pt x="8" y="24"/>
                    <a:pt x="10" y="20"/>
                  </a:cubicBezTo>
                  <a:cubicBezTo>
                    <a:pt x="11" y="16"/>
                    <a:pt x="14" y="13"/>
                    <a:pt x="18" y="10"/>
                  </a:cubicBezTo>
                  <a:cubicBezTo>
                    <a:pt x="22" y="7"/>
                    <a:pt x="26" y="5"/>
                    <a:pt x="32" y="3"/>
                  </a:cubicBezTo>
                  <a:cubicBezTo>
                    <a:pt x="37" y="1"/>
                    <a:pt x="44" y="0"/>
                    <a:pt x="51" y="0"/>
                  </a:cubicBezTo>
                  <a:cubicBezTo>
                    <a:pt x="57" y="0"/>
                    <a:pt x="62" y="1"/>
                    <a:pt x="67" y="2"/>
                  </a:cubicBezTo>
                  <a:cubicBezTo>
                    <a:pt x="71" y="3"/>
                    <a:pt x="75" y="5"/>
                    <a:pt x="79" y="6"/>
                  </a:cubicBezTo>
                  <a:cubicBezTo>
                    <a:pt x="83" y="8"/>
                    <a:pt x="86" y="10"/>
                    <a:pt x="89" y="13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74" y="30"/>
                    <a:pt x="72" y="29"/>
                    <a:pt x="69" y="27"/>
                  </a:cubicBezTo>
                  <a:cubicBezTo>
                    <a:pt x="66" y="26"/>
                    <a:pt x="64" y="25"/>
                    <a:pt x="61" y="24"/>
                  </a:cubicBezTo>
                  <a:cubicBezTo>
                    <a:pt x="58" y="23"/>
                    <a:pt x="54" y="23"/>
                    <a:pt x="51" y="23"/>
                  </a:cubicBezTo>
                  <a:cubicBezTo>
                    <a:pt x="46" y="23"/>
                    <a:pt x="42" y="24"/>
                    <a:pt x="38" y="25"/>
                  </a:cubicBezTo>
                  <a:cubicBezTo>
                    <a:pt x="34" y="27"/>
                    <a:pt x="32" y="29"/>
                    <a:pt x="32" y="33"/>
                  </a:cubicBezTo>
                  <a:cubicBezTo>
                    <a:pt x="32" y="36"/>
                    <a:pt x="34" y="38"/>
                    <a:pt x="38" y="39"/>
                  </a:cubicBezTo>
                  <a:cubicBezTo>
                    <a:pt x="42" y="41"/>
                    <a:pt x="48" y="42"/>
                    <a:pt x="56" y="44"/>
                  </a:cubicBezTo>
                  <a:cubicBezTo>
                    <a:pt x="61" y="45"/>
                    <a:pt x="66" y="46"/>
                    <a:pt x="70" y="48"/>
                  </a:cubicBezTo>
                  <a:cubicBezTo>
                    <a:pt x="75" y="49"/>
                    <a:pt x="78" y="51"/>
                    <a:pt x="81" y="54"/>
                  </a:cubicBezTo>
                  <a:cubicBezTo>
                    <a:pt x="85" y="56"/>
                    <a:pt x="87" y="59"/>
                    <a:pt x="89" y="63"/>
                  </a:cubicBezTo>
                  <a:cubicBezTo>
                    <a:pt x="90" y="66"/>
                    <a:pt x="91" y="71"/>
                    <a:pt x="91" y="76"/>
                  </a:cubicBezTo>
                  <a:cubicBezTo>
                    <a:pt x="91" y="81"/>
                    <a:pt x="90" y="85"/>
                    <a:pt x="88" y="89"/>
                  </a:cubicBezTo>
                  <a:cubicBezTo>
                    <a:pt x="86" y="93"/>
                    <a:pt x="83" y="96"/>
                    <a:pt x="79" y="99"/>
                  </a:cubicBezTo>
                  <a:cubicBezTo>
                    <a:pt x="75" y="101"/>
                    <a:pt x="70" y="104"/>
                    <a:pt x="64" y="105"/>
                  </a:cubicBezTo>
                  <a:cubicBezTo>
                    <a:pt x="59" y="107"/>
                    <a:pt x="53" y="108"/>
                    <a:pt x="46" y="108"/>
                  </a:cubicBezTo>
                  <a:cubicBezTo>
                    <a:pt x="39" y="108"/>
                    <a:pt x="32" y="107"/>
                    <a:pt x="27" y="105"/>
                  </a:cubicBezTo>
                  <a:cubicBezTo>
                    <a:pt x="21" y="103"/>
                    <a:pt x="16" y="101"/>
                    <a:pt x="12" y="99"/>
                  </a:cubicBezTo>
                  <a:cubicBezTo>
                    <a:pt x="7" y="96"/>
                    <a:pt x="3" y="93"/>
                    <a:pt x="0" y="89"/>
                  </a:cubicBezTo>
                  <a:lnTo>
                    <a:pt x="15" y="70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Freeform 35">
              <a:extLst>
                <a:ext uri="{FF2B5EF4-FFF2-40B4-BE49-F238E27FC236}">
                  <a16:creationId xmlns:a16="http://schemas.microsoft.com/office/drawing/2014/main" id="{518C9716-235D-46E0-A70C-E68E93DD62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13313" y="1055688"/>
              <a:ext cx="96838" cy="114300"/>
            </a:xfrm>
            <a:custGeom>
              <a:avLst/>
              <a:gdLst>
                <a:gd name="T0" fmla="*/ 14 w 91"/>
                <a:gd name="T1" fmla="*/ 70 h 108"/>
                <a:gd name="T2" fmla="*/ 23 w 91"/>
                <a:gd name="T3" fmla="*/ 78 h 108"/>
                <a:gd name="T4" fmla="*/ 33 w 91"/>
                <a:gd name="T5" fmla="*/ 83 h 108"/>
                <a:gd name="T6" fmla="*/ 45 w 91"/>
                <a:gd name="T7" fmla="*/ 85 h 108"/>
                <a:gd name="T8" fmla="*/ 59 w 91"/>
                <a:gd name="T9" fmla="*/ 83 h 108"/>
                <a:gd name="T10" fmla="*/ 65 w 91"/>
                <a:gd name="T11" fmla="*/ 76 h 108"/>
                <a:gd name="T12" fmla="*/ 60 w 91"/>
                <a:gd name="T13" fmla="*/ 69 h 108"/>
                <a:gd name="T14" fmla="*/ 44 w 91"/>
                <a:gd name="T15" fmla="*/ 65 h 108"/>
                <a:gd name="T16" fmla="*/ 30 w 91"/>
                <a:gd name="T17" fmla="*/ 60 h 108"/>
                <a:gd name="T18" fmla="*/ 18 w 91"/>
                <a:gd name="T19" fmla="*/ 54 h 108"/>
                <a:gd name="T20" fmla="*/ 9 w 91"/>
                <a:gd name="T21" fmla="*/ 45 h 108"/>
                <a:gd name="T22" fmla="*/ 6 w 91"/>
                <a:gd name="T23" fmla="*/ 32 h 108"/>
                <a:gd name="T24" fmla="*/ 9 w 91"/>
                <a:gd name="T25" fmla="*/ 20 h 108"/>
                <a:gd name="T26" fmla="*/ 18 w 91"/>
                <a:gd name="T27" fmla="*/ 10 h 108"/>
                <a:gd name="T28" fmla="*/ 31 w 91"/>
                <a:gd name="T29" fmla="*/ 3 h 108"/>
                <a:gd name="T30" fmla="*/ 50 w 91"/>
                <a:gd name="T31" fmla="*/ 0 h 108"/>
                <a:gd name="T32" fmla="*/ 66 w 91"/>
                <a:gd name="T33" fmla="*/ 2 h 108"/>
                <a:gd name="T34" fmla="*/ 78 w 91"/>
                <a:gd name="T35" fmla="*/ 6 h 108"/>
                <a:gd name="T36" fmla="*/ 89 w 91"/>
                <a:gd name="T37" fmla="*/ 13 h 108"/>
                <a:gd name="T38" fmla="*/ 76 w 91"/>
                <a:gd name="T39" fmla="*/ 32 h 108"/>
                <a:gd name="T40" fmla="*/ 68 w 91"/>
                <a:gd name="T41" fmla="*/ 27 h 108"/>
                <a:gd name="T42" fmla="*/ 60 w 91"/>
                <a:gd name="T43" fmla="*/ 24 h 108"/>
                <a:gd name="T44" fmla="*/ 50 w 91"/>
                <a:gd name="T45" fmla="*/ 23 h 108"/>
                <a:gd name="T46" fmla="*/ 37 w 91"/>
                <a:gd name="T47" fmla="*/ 25 h 108"/>
                <a:gd name="T48" fmla="*/ 32 w 91"/>
                <a:gd name="T49" fmla="*/ 33 h 108"/>
                <a:gd name="T50" fmla="*/ 37 w 91"/>
                <a:gd name="T51" fmla="*/ 39 h 108"/>
                <a:gd name="T52" fmla="*/ 56 w 91"/>
                <a:gd name="T53" fmla="*/ 44 h 108"/>
                <a:gd name="T54" fmla="*/ 70 w 91"/>
                <a:gd name="T55" fmla="*/ 48 h 108"/>
                <a:gd name="T56" fmla="*/ 81 w 91"/>
                <a:gd name="T57" fmla="*/ 54 h 108"/>
                <a:gd name="T58" fmla="*/ 88 w 91"/>
                <a:gd name="T59" fmla="*/ 63 h 108"/>
                <a:gd name="T60" fmla="*/ 91 w 91"/>
                <a:gd name="T61" fmla="*/ 76 h 108"/>
                <a:gd name="T62" fmla="*/ 87 w 91"/>
                <a:gd name="T63" fmla="*/ 89 h 108"/>
                <a:gd name="T64" fmla="*/ 78 w 91"/>
                <a:gd name="T65" fmla="*/ 99 h 108"/>
                <a:gd name="T66" fmla="*/ 64 w 91"/>
                <a:gd name="T67" fmla="*/ 105 h 108"/>
                <a:gd name="T68" fmla="*/ 46 w 91"/>
                <a:gd name="T69" fmla="*/ 108 h 108"/>
                <a:gd name="T70" fmla="*/ 26 w 91"/>
                <a:gd name="T71" fmla="*/ 105 h 108"/>
                <a:gd name="T72" fmla="*/ 12 w 91"/>
                <a:gd name="T73" fmla="*/ 99 h 108"/>
                <a:gd name="T74" fmla="*/ 0 w 91"/>
                <a:gd name="T75" fmla="*/ 89 h 108"/>
                <a:gd name="T76" fmla="*/ 14 w 91"/>
                <a:gd name="T77" fmla="*/ 7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1" h="108">
                  <a:moveTo>
                    <a:pt x="14" y="70"/>
                  </a:moveTo>
                  <a:cubicBezTo>
                    <a:pt x="17" y="73"/>
                    <a:pt x="20" y="76"/>
                    <a:pt x="23" y="78"/>
                  </a:cubicBezTo>
                  <a:cubicBezTo>
                    <a:pt x="26" y="80"/>
                    <a:pt x="29" y="81"/>
                    <a:pt x="33" y="83"/>
                  </a:cubicBezTo>
                  <a:cubicBezTo>
                    <a:pt x="37" y="84"/>
                    <a:pt x="41" y="85"/>
                    <a:pt x="45" y="85"/>
                  </a:cubicBezTo>
                  <a:cubicBezTo>
                    <a:pt x="50" y="85"/>
                    <a:pt x="55" y="84"/>
                    <a:pt x="59" y="83"/>
                  </a:cubicBezTo>
                  <a:cubicBezTo>
                    <a:pt x="63" y="81"/>
                    <a:pt x="65" y="79"/>
                    <a:pt x="65" y="76"/>
                  </a:cubicBezTo>
                  <a:cubicBezTo>
                    <a:pt x="65" y="73"/>
                    <a:pt x="63" y="70"/>
                    <a:pt x="60" y="69"/>
                  </a:cubicBezTo>
                  <a:cubicBezTo>
                    <a:pt x="57" y="68"/>
                    <a:pt x="52" y="66"/>
                    <a:pt x="44" y="65"/>
                  </a:cubicBezTo>
                  <a:cubicBezTo>
                    <a:pt x="39" y="63"/>
                    <a:pt x="34" y="62"/>
                    <a:pt x="30" y="60"/>
                  </a:cubicBezTo>
                  <a:cubicBezTo>
                    <a:pt x="25" y="59"/>
                    <a:pt x="21" y="57"/>
                    <a:pt x="18" y="54"/>
                  </a:cubicBezTo>
                  <a:cubicBezTo>
                    <a:pt x="14" y="51"/>
                    <a:pt x="11" y="48"/>
                    <a:pt x="9" y="45"/>
                  </a:cubicBezTo>
                  <a:cubicBezTo>
                    <a:pt x="7" y="41"/>
                    <a:pt x="6" y="37"/>
                    <a:pt x="6" y="32"/>
                  </a:cubicBezTo>
                  <a:cubicBezTo>
                    <a:pt x="6" y="28"/>
                    <a:pt x="7" y="24"/>
                    <a:pt x="9" y="20"/>
                  </a:cubicBezTo>
                  <a:cubicBezTo>
                    <a:pt x="11" y="16"/>
                    <a:pt x="14" y="13"/>
                    <a:pt x="18" y="10"/>
                  </a:cubicBezTo>
                  <a:cubicBezTo>
                    <a:pt x="21" y="7"/>
                    <a:pt x="26" y="5"/>
                    <a:pt x="31" y="3"/>
                  </a:cubicBezTo>
                  <a:cubicBezTo>
                    <a:pt x="37" y="1"/>
                    <a:pt x="43" y="0"/>
                    <a:pt x="50" y="0"/>
                  </a:cubicBezTo>
                  <a:cubicBezTo>
                    <a:pt x="56" y="0"/>
                    <a:pt x="62" y="1"/>
                    <a:pt x="66" y="2"/>
                  </a:cubicBezTo>
                  <a:cubicBezTo>
                    <a:pt x="71" y="3"/>
                    <a:pt x="75" y="5"/>
                    <a:pt x="78" y="6"/>
                  </a:cubicBezTo>
                  <a:cubicBezTo>
                    <a:pt x="82" y="8"/>
                    <a:pt x="86" y="10"/>
                    <a:pt x="89" y="13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74" y="30"/>
                    <a:pt x="71" y="29"/>
                    <a:pt x="68" y="27"/>
                  </a:cubicBezTo>
                  <a:cubicBezTo>
                    <a:pt x="66" y="26"/>
                    <a:pt x="63" y="25"/>
                    <a:pt x="60" y="24"/>
                  </a:cubicBezTo>
                  <a:cubicBezTo>
                    <a:pt x="57" y="23"/>
                    <a:pt x="54" y="23"/>
                    <a:pt x="50" y="23"/>
                  </a:cubicBezTo>
                  <a:cubicBezTo>
                    <a:pt x="45" y="23"/>
                    <a:pt x="41" y="24"/>
                    <a:pt x="37" y="25"/>
                  </a:cubicBezTo>
                  <a:cubicBezTo>
                    <a:pt x="34" y="27"/>
                    <a:pt x="32" y="29"/>
                    <a:pt x="32" y="33"/>
                  </a:cubicBezTo>
                  <a:cubicBezTo>
                    <a:pt x="32" y="36"/>
                    <a:pt x="34" y="38"/>
                    <a:pt x="37" y="39"/>
                  </a:cubicBezTo>
                  <a:cubicBezTo>
                    <a:pt x="41" y="41"/>
                    <a:pt x="47" y="42"/>
                    <a:pt x="56" y="44"/>
                  </a:cubicBezTo>
                  <a:cubicBezTo>
                    <a:pt x="61" y="45"/>
                    <a:pt x="66" y="46"/>
                    <a:pt x="70" y="48"/>
                  </a:cubicBezTo>
                  <a:cubicBezTo>
                    <a:pt x="74" y="49"/>
                    <a:pt x="78" y="51"/>
                    <a:pt x="81" y="54"/>
                  </a:cubicBezTo>
                  <a:cubicBezTo>
                    <a:pt x="84" y="56"/>
                    <a:pt x="86" y="59"/>
                    <a:pt x="88" y="63"/>
                  </a:cubicBezTo>
                  <a:cubicBezTo>
                    <a:pt x="90" y="66"/>
                    <a:pt x="91" y="71"/>
                    <a:pt x="91" y="76"/>
                  </a:cubicBezTo>
                  <a:cubicBezTo>
                    <a:pt x="91" y="81"/>
                    <a:pt x="90" y="85"/>
                    <a:pt x="87" y="89"/>
                  </a:cubicBezTo>
                  <a:cubicBezTo>
                    <a:pt x="85" y="93"/>
                    <a:pt x="82" y="96"/>
                    <a:pt x="78" y="99"/>
                  </a:cubicBezTo>
                  <a:cubicBezTo>
                    <a:pt x="74" y="101"/>
                    <a:pt x="69" y="104"/>
                    <a:pt x="64" y="105"/>
                  </a:cubicBezTo>
                  <a:cubicBezTo>
                    <a:pt x="58" y="107"/>
                    <a:pt x="52" y="108"/>
                    <a:pt x="46" y="108"/>
                  </a:cubicBezTo>
                  <a:cubicBezTo>
                    <a:pt x="38" y="108"/>
                    <a:pt x="32" y="107"/>
                    <a:pt x="26" y="105"/>
                  </a:cubicBezTo>
                  <a:cubicBezTo>
                    <a:pt x="20" y="103"/>
                    <a:pt x="15" y="101"/>
                    <a:pt x="12" y="99"/>
                  </a:cubicBezTo>
                  <a:cubicBezTo>
                    <a:pt x="7" y="96"/>
                    <a:pt x="3" y="93"/>
                    <a:pt x="0" y="89"/>
                  </a:cubicBezTo>
                  <a:lnTo>
                    <a:pt x="14" y="70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Freeform 36">
              <a:extLst>
                <a:ext uri="{FF2B5EF4-FFF2-40B4-BE49-F238E27FC236}">
                  <a16:creationId xmlns:a16="http://schemas.microsoft.com/office/drawing/2014/main" id="{FA4DAB51-C7DA-483D-BDF7-F3103C8509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94288" y="1025525"/>
              <a:ext cx="85725" cy="144463"/>
            </a:xfrm>
            <a:custGeom>
              <a:avLst/>
              <a:gdLst>
                <a:gd name="T0" fmla="*/ 0 w 80"/>
                <a:gd name="T1" fmla="*/ 31 h 136"/>
                <a:gd name="T2" fmla="*/ 20 w 80"/>
                <a:gd name="T3" fmla="*/ 31 h 136"/>
                <a:gd name="T4" fmla="*/ 20 w 80"/>
                <a:gd name="T5" fmla="*/ 0 h 136"/>
                <a:gd name="T6" fmla="*/ 46 w 80"/>
                <a:gd name="T7" fmla="*/ 0 h 136"/>
                <a:gd name="T8" fmla="*/ 46 w 80"/>
                <a:gd name="T9" fmla="*/ 31 h 136"/>
                <a:gd name="T10" fmla="*/ 77 w 80"/>
                <a:gd name="T11" fmla="*/ 31 h 136"/>
                <a:gd name="T12" fmla="*/ 77 w 80"/>
                <a:gd name="T13" fmla="*/ 54 h 136"/>
                <a:gd name="T14" fmla="*/ 46 w 80"/>
                <a:gd name="T15" fmla="*/ 54 h 136"/>
                <a:gd name="T16" fmla="*/ 46 w 80"/>
                <a:gd name="T17" fmla="*/ 95 h 136"/>
                <a:gd name="T18" fmla="*/ 50 w 80"/>
                <a:gd name="T19" fmla="*/ 108 h 136"/>
                <a:gd name="T20" fmla="*/ 59 w 80"/>
                <a:gd name="T21" fmla="*/ 112 h 136"/>
                <a:gd name="T22" fmla="*/ 64 w 80"/>
                <a:gd name="T23" fmla="*/ 111 h 136"/>
                <a:gd name="T24" fmla="*/ 67 w 80"/>
                <a:gd name="T25" fmla="*/ 110 h 136"/>
                <a:gd name="T26" fmla="*/ 70 w 80"/>
                <a:gd name="T27" fmla="*/ 108 h 136"/>
                <a:gd name="T28" fmla="*/ 80 w 80"/>
                <a:gd name="T29" fmla="*/ 129 h 136"/>
                <a:gd name="T30" fmla="*/ 73 w 80"/>
                <a:gd name="T31" fmla="*/ 132 h 136"/>
                <a:gd name="T32" fmla="*/ 65 w 80"/>
                <a:gd name="T33" fmla="*/ 135 h 136"/>
                <a:gd name="T34" fmla="*/ 55 w 80"/>
                <a:gd name="T35" fmla="*/ 136 h 136"/>
                <a:gd name="T36" fmla="*/ 41 w 80"/>
                <a:gd name="T37" fmla="*/ 133 h 136"/>
                <a:gd name="T38" fmla="*/ 30 w 80"/>
                <a:gd name="T39" fmla="*/ 126 h 136"/>
                <a:gd name="T40" fmla="*/ 23 w 80"/>
                <a:gd name="T41" fmla="*/ 114 h 136"/>
                <a:gd name="T42" fmla="*/ 20 w 80"/>
                <a:gd name="T43" fmla="*/ 100 h 136"/>
                <a:gd name="T44" fmla="*/ 20 w 80"/>
                <a:gd name="T45" fmla="*/ 54 h 136"/>
                <a:gd name="T46" fmla="*/ 0 w 80"/>
                <a:gd name="T47" fmla="*/ 54 h 136"/>
                <a:gd name="T48" fmla="*/ 0 w 80"/>
                <a:gd name="T49" fmla="*/ 31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0" h="136">
                  <a:moveTo>
                    <a:pt x="0" y="31"/>
                  </a:moveTo>
                  <a:cubicBezTo>
                    <a:pt x="20" y="31"/>
                    <a:pt x="20" y="31"/>
                    <a:pt x="20" y="31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77" y="31"/>
                    <a:pt x="77" y="31"/>
                    <a:pt x="77" y="31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46" y="54"/>
                    <a:pt x="46" y="54"/>
                    <a:pt x="46" y="54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6" y="102"/>
                    <a:pt x="47" y="106"/>
                    <a:pt x="50" y="108"/>
                  </a:cubicBezTo>
                  <a:cubicBezTo>
                    <a:pt x="53" y="110"/>
                    <a:pt x="56" y="112"/>
                    <a:pt x="59" y="112"/>
                  </a:cubicBezTo>
                  <a:cubicBezTo>
                    <a:pt x="61" y="112"/>
                    <a:pt x="62" y="111"/>
                    <a:pt x="64" y="111"/>
                  </a:cubicBezTo>
                  <a:cubicBezTo>
                    <a:pt x="65" y="111"/>
                    <a:pt x="66" y="110"/>
                    <a:pt x="67" y="110"/>
                  </a:cubicBezTo>
                  <a:cubicBezTo>
                    <a:pt x="68" y="109"/>
                    <a:pt x="69" y="109"/>
                    <a:pt x="70" y="108"/>
                  </a:cubicBezTo>
                  <a:cubicBezTo>
                    <a:pt x="80" y="129"/>
                    <a:pt x="80" y="129"/>
                    <a:pt x="80" y="129"/>
                  </a:cubicBezTo>
                  <a:cubicBezTo>
                    <a:pt x="78" y="130"/>
                    <a:pt x="76" y="132"/>
                    <a:pt x="73" y="132"/>
                  </a:cubicBezTo>
                  <a:cubicBezTo>
                    <a:pt x="71" y="133"/>
                    <a:pt x="68" y="134"/>
                    <a:pt x="65" y="135"/>
                  </a:cubicBezTo>
                  <a:cubicBezTo>
                    <a:pt x="62" y="136"/>
                    <a:pt x="59" y="136"/>
                    <a:pt x="55" y="136"/>
                  </a:cubicBezTo>
                  <a:cubicBezTo>
                    <a:pt x="50" y="136"/>
                    <a:pt x="46" y="135"/>
                    <a:pt x="41" y="133"/>
                  </a:cubicBezTo>
                  <a:cubicBezTo>
                    <a:pt x="37" y="132"/>
                    <a:pt x="33" y="129"/>
                    <a:pt x="30" y="126"/>
                  </a:cubicBezTo>
                  <a:cubicBezTo>
                    <a:pt x="27" y="123"/>
                    <a:pt x="24" y="119"/>
                    <a:pt x="23" y="114"/>
                  </a:cubicBezTo>
                  <a:cubicBezTo>
                    <a:pt x="21" y="110"/>
                    <a:pt x="20" y="105"/>
                    <a:pt x="20" y="100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0" y="54"/>
                    <a:pt x="0" y="54"/>
                    <a:pt x="0" y="54"/>
                  </a:cubicBezTo>
                  <a:lnTo>
                    <a:pt x="0" y="31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Freeform 37">
              <a:extLst>
                <a:ext uri="{FF2B5EF4-FFF2-40B4-BE49-F238E27FC236}">
                  <a16:creationId xmlns:a16="http://schemas.microsoft.com/office/drawing/2014/main" id="{58995B45-611D-4FC6-9BF1-9514A767C5B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00651" y="1055688"/>
              <a:ext cx="115888" cy="114300"/>
            </a:xfrm>
            <a:custGeom>
              <a:avLst/>
              <a:gdLst>
                <a:gd name="T0" fmla="*/ 76 w 109"/>
                <a:gd name="T1" fmla="*/ 4 h 108"/>
                <a:gd name="T2" fmla="*/ 93 w 109"/>
                <a:gd name="T3" fmla="*/ 16 h 108"/>
                <a:gd name="T4" fmla="*/ 105 w 109"/>
                <a:gd name="T5" fmla="*/ 33 h 108"/>
                <a:gd name="T6" fmla="*/ 109 w 109"/>
                <a:gd name="T7" fmla="*/ 54 h 108"/>
                <a:gd name="T8" fmla="*/ 105 w 109"/>
                <a:gd name="T9" fmla="*/ 75 h 108"/>
                <a:gd name="T10" fmla="*/ 93 w 109"/>
                <a:gd name="T11" fmla="*/ 92 h 108"/>
                <a:gd name="T12" fmla="*/ 76 w 109"/>
                <a:gd name="T13" fmla="*/ 104 h 108"/>
                <a:gd name="T14" fmla="*/ 55 w 109"/>
                <a:gd name="T15" fmla="*/ 108 h 108"/>
                <a:gd name="T16" fmla="*/ 33 w 109"/>
                <a:gd name="T17" fmla="*/ 104 h 108"/>
                <a:gd name="T18" fmla="*/ 16 w 109"/>
                <a:gd name="T19" fmla="*/ 92 h 108"/>
                <a:gd name="T20" fmla="*/ 4 w 109"/>
                <a:gd name="T21" fmla="*/ 75 h 108"/>
                <a:gd name="T22" fmla="*/ 0 w 109"/>
                <a:gd name="T23" fmla="*/ 54 h 108"/>
                <a:gd name="T24" fmla="*/ 4 w 109"/>
                <a:gd name="T25" fmla="*/ 33 h 108"/>
                <a:gd name="T26" fmla="*/ 16 w 109"/>
                <a:gd name="T27" fmla="*/ 16 h 108"/>
                <a:gd name="T28" fmla="*/ 33 w 109"/>
                <a:gd name="T29" fmla="*/ 4 h 108"/>
                <a:gd name="T30" fmla="*/ 55 w 109"/>
                <a:gd name="T31" fmla="*/ 0 h 108"/>
                <a:gd name="T32" fmla="*/ 76 w 109"/>
                <a:gd name="T33" fmla="*/ 4 h 108"/>
                <a:gd name="T34" fmla="*/ 66 w 109"/>
                <a:gd name="T35" fmla="*/ 81 h 108"/>
                <a:gd name="T36" fmla="*/ 75 w 109"/>
                <a:gd name="T37" fmla="*/ 75 h 108"/>
                <a:gd name="T38" fmla="*/ 81 w 109"/>
                <a:gd name="T39" fmla="*/ 65 h 108"/>
                <a:gd name="T40" fmla="*/ 83 w 109"/>
                <a:gd name="T41" fmla="*/ 54 h 108"/>
                <a:gd name="T42" fmla="*/ 81 w 109"/>
                <a:gd name="T43" fmla="*/ 42 h 108"/>
                <a:gd name="T44" fmla="*/ 75 w 109"/>
                <a:gd name="T45" fmla="*/ 33 h 108"/>
                <a:gd name="T46" fmla="*/ 66 w 109"/>
                <a:gd name="T47" fmla="*/ 27 h 108"/>
                <a:gd name="T48" fmla="*/ 55 w 109"/>
                <a:gd name="T49" fmla="*/ 24 h 108"/>
                <a:gd name="T50" fmla="*/ 43 w 109"/>
                <a:gd name="T51" fmla="*/ 27 h 108"/>
                <a:gd name="T52" fmla="*/ 34 w 109"/>
                <a:gd name="T53" fmla="*/ 33 h 108"/>
                <a:gd name="T54" fmla="*/ 28 w 109"/>
                <a:gd name="T55" fmla="*/ 42 h 108"/>
                <a:gd name="T56" fmla="*/ 26 w 109"/>
                <a:gd name="T57" fmla="*/ 54 h 108"/>
                <a:gd name="T58" fmla="*/ 28 w 109"/>
                <a:gd name="T59" fmla="*/ 65 h 108"/>
                <a:gd name="T60" fmla="*/ 34 w 109"/>
                <a:gd name="T61" fmla="*/ 75 h 108"/>
                <a:gd name="T62" fmla="*/ 43 w 109"/>
                <a:gd name="T63" fmla="*/ 81 h 108"/>
                <a:gd name="T64" fmla="*/ 55 w 109"/>
                <a:gd name="T65" fmla="*/ 84 h 108"/>
                <a:gd name="T66" fmla="*/ 66 w 109"/>
                <a:gd name="T67" fmla="*/ 8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" h="108">
                  <a:moveTo>
                    <a:pt x="76" y="4"/>
                  </a:moveTo>
                  <a:cubicBezTo>
                    <a:pt x="83" y="7"/>
                    <a:pt x="88" y="11"/>
                    <a:pt x="93" y="16"/>
                  </a:cubicBezTo>
                  <a:cubicBezTo>
                    <a:pt x="98" y="21"/>
                    <a:pt x="102" y="26"/>
                    <a:pt x="105" y="33"/>
                  </a:cubicBezTo>
                  <a:cubicBezTo>
                    <a:pt x="108" y="39"/>
                    <a:pt x="109" y="46"/>
                    <a:pt x="109" y="54"/>
                  </a:cubicBezTo>
                  <a:cubicBezTo>
                    <a:pt x="109" y="61"/>
                    <a:pt x="108" y="69"/>
                    <a:pt x="105" y="75"/>
                  </a:cubicBezTo>
                  <a:cubicBezTo>
                    <a:pt x="102" y="82"/>
                    <a:pt x="98" y="87"/>
                    <a:pt x="93" y="92"/>
                  </a:cubicBezTo>
                  <a:cubicBezTo>
                    <a:pt x="88" y="97"/>
                    <a:pt x="83" y="101"/>
                    <a:pt x="76" y="104"/>
                  </a:cubicBezTo>
                  <a:cubicBezTo>
                    <a:pt x="69" y="106"/>
                    <a:pt x="62" y="108"/>
                    <a:pt x="55" y="108"/>
                  </a:cubicBezTo>
                  <a:cubicBezTo>
                    <a:pt x="47" y="108"/>
                    <a:pt x="40" y="106"/>
                    <a:pt x="33" y="104"/>
                  </a:cubicBezTo>
                  <a:cubicBezTo>
                    <a:pt x="26" y="101"/>
                    <a:pt x="21" y="97"/>
                    <a:pt x="16" y="92"/>
                  </a:cubicBezTo>
                  <a:cubicBezTo>
                    <a:pt x="11" y="87"/>
                    <a:pt x="7" y="82"/>
                    <a:pt x="4" y="75"/>
                  </a:cubicBezTo>
                  <a:cubicBezTo>
                    <a:pt x="1" y="69"/>
                    <a:pt x="0" y="61"/>
                    <a:pt x="0" y="54"/>
                  </a:cubicBezTo>
                  <a:cubicBezTo>
                    <a:pt x="0" y="46"/>
                    <a:pt x="1" y="39"/>
                    <a:pt x="4" y="33"/>
                  </a:cubicBezTo>
                  <a:cubicBezTo>
                    <a:pt x="7" y="26"/>
                    <a:pt x="11" y="21"/>
                    <a:pt x="16" y="16"/>
                  </a:cubicBezTo>
                  <a:cubicBezTo>
                    <a:pt x="21" y="11"/>
                    <a:pt x="26" y="7"/>
                    <a:pt x="33" y="4"/>
                  </a:cubicBezTo>
                  <a:cubicBezTo>
                    <a:pt x="40" y="1"/>
                    <a:pt x="47" y="0"/>
                    <a:pt x="55" y="0"/>
                  </a:cubicBezTo>
                  <a:cubicBezTo>
                    <a:pt x="62" y="0"/>
                    <a:pt x="69" y="1"/>
                    <a:pt x="76" y="4"/>
                  </a:cubicBezTo>
                  <a:close/>
                  <a:moveTo>
                    <a:pt x="66" y="81"/>
                  </a:moveTo>
                  <a:cubicBezTo>
                    <a:pt x="70" y="80"/>
                    <a:pt x="73" y="77"/>
                    <a:pt x="75" y="75"/>
                  </a:cubicBezTo>
                  <a:cubicBezTo>
                    <a:pt x="78" y="72"/>
                    <a:pt x="80" y="69"/>
                    <a:pt x="81" y="65"/>
                  </a:cubicBezTo>
                  <a:cubicBezTo>
                    <a:pt x="82" y="62"/>
                    <a:pt x="83" y="58"/>
                    <a:pt x="83" y="54"/>
                  </a:cubicBezTo>
                  <a:cubicBezTo>
                    <a:pt x="83" y="50"/>
                    <a:pt x="82" y="46"/>
                    <a:pt x="81" y="42"/>
                  </a:cubicBezTo>
                  <a:cubicBezTo>
                    <a:pt x="80" y="39"/>
                    <a:pt x="78" y="36"/>
                    <a:pt x="75" y="33"/>
                  </a:cubicBezTo>
                  <a:cubicBezTo>
                    <a:pt x="73" y="30"/>
                    <a:pt x="70" y="28"/>
                    <a:pt x="66" y="27"/>
                  </a:cubicBezTo>
                  <a:cubicBezTo>
                    <a:pt x="63" y="25"/>
                    <a:pt x="59" y="24"/>
                    <a:pt x="55" y="24"/>
                  </a:cubicBezTo>
                  <a:cubicBezTo>
                    <a:pt x="50" y="24"/>
                    <a:pt x="46" y="25"/>
                    <a:pt x="43" y="27"/>
                  </a:cubicBezTo>
                  <a:cubicBezTo>
                    <a:pt x="39" y="28"/>
                    <a:pt x="36" y="30"/>
                    <a:pt x="34" y="33"/>
                  </a:cubicBezTo>
                  <a:cubicBezTo>
                    <a:pt x="31" y="36"/>
                    <a:pt x="29" y="39"/>
                    <a:pt x="28" y="42"/>
                  </a:cubicBezTo>
                  <a:cubicBezTo>
                    <a:pt x="27" y="46"/>
                    <a:pt x="26" y="50"/>
                    <a:pt x="26" y="54"/>
                  </a:cubicBezTo>
                  <a:cubicBezTo>
                    <a:pt x="26" y="58"/>
                    <a:pt x="27" y="62"/>
                    <a:pt x="28" y="65"/>
                  </a:cubicBezTo>
                  <a:cubicBezTo>
                    <a:pt x="29" y="69"/>
                    <a:pt x="31" y="72"/>
                    <a:pt x="34" y="75"/>
                  </a:cubicBezTo>
                  <a:cubicBezTo>
                    <a:pt x="36" y="77"/>
                    <a:pt x="39" y="80"/>
                    <a:pt x="43" y="81"/>
                  </a:cubicBezTo>
                  <a:cubicBezTo>
                    <a:pt x="46" y="83"/>
                    <a:pt x="50" y="84"/>
                    <a:pt x="55" y="84"/>
                  </a:cubicBezTo>
                  <a:cubicBezTo>
                    <a:pt x="59" y="84"/>
                    <a:pt x="63" y="83"/>
                    <a:pt x="66" y="81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Freeform 38">
              <a:extLst>
                <a:ext uri="{FF2B5EF4-FFF2-40B4-BE49-F238E27FC236}">
                  <a16:creationId xmlns:a16="http://schemas.microsoft.com/office/drawing/2014/main" id="{F7C5BF45-0B1F-4E53-8168-1441ED38A9B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81626" y="1006475"/>
              <a:ext cx="153988" cy="160338"/>
            </a:xfrm>
            <a:custGeom>
              <a:avLst/>
              <a:gdLst>
                <a:gd name="T0" fmla="*/ 18 w 97"/>
                <a:gd name="T1" fmla="*/ 101 h 101"/>
                <a:gd name="T2" fmla="*/ 0 w 97"/>
                <a:gd name="T3" fmla="*/ 101 h 101"/>
                <a:gd name="T4" fmla="*/ 40 w 97"/>
                <a:gd name="T5" fmla="*/ 0 h 101"/>
                <a:gd name="T6" fmla="*/ 57 w 97"/>
                <a:gd name="T7" fmla="*/ 0 h 101"/>
                <a:gd name="T8" fmla="*/ 97 w 97"/>
                <a:gd name="T9" fmla="*/ 101 h 101"/>
                <a:gd name="T10" fmla="*/ 79 w 97"/>
                <a:gd name="T11" fmla="*/ 101 h 101"/>
                <a:gd name="T12" fmla="*/ 70 w 97"/>
                <a:gd name="T13" fmla="*/ 77 h 101"/>
                <a:gd name="T14" fmla="*/ 27 w 97"/>
                <a:gd name="T15" fmla="*/ 77 h 101"/>
                <a:gd name="T16" fmla="*/ 18 w 97"/>
                <a:gd name="T17" fmla="*/ 101 h 101"/>
                <a:gd name="T18" fmla="*/ 64 w 97"/>
                <a:gd name="T19" fmla="*/ 62 h 101"/>
                <a:gd name="T20" fmla="*/ 49 w 97"/>
                <a:gd name="T21" fmla="*/ 21 h 101"/>
                <a:gd name="T22" fmla="*/ 33 w 97"/>
                <a:gd name="T23" fmla="*/ 62 h 101"/>
                <a:gd name="T24" fmla="*/ 64 w 97"/>
                <a:gd name="T25" fmla="*/ 62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7" h="101">
                  <a:moveTo>
                    <a:pt x="18" y="101"/>
                  </a:moveTo>
                  <a:lnTo>
                    <a:pt x="0" y="101"/>
                  </a:lnTo>
                  <a:lnTo>
                    <a:pt x="40" y="0"/>
                  </a:lnTo>
                  <a:lnTo>
                    <a:pt x="57" y="0"/>
                  </a:lnTo>
                  <a:lnTo>
                    <a:pt x="97" y="101"/>
                  </a:lnTo>
                  <a:lnTo>
                    <a:pt x="79" y="101"/>
                  </a:lnTo>
                  <a:lnTo>
                    <a:pt x="70" y="77"/>
                  </a:lnTo>
                  <a:lnTo>
                    <a:pt x="27" y="77"/>
                  </a:lnTo>
                  <a:lnTo>
                    <a:pt x="18" y="101"/>
                  </a:lnTo>
                  <a:close/>
                  <a:moveTo>
                    <a:pt x="64" y="62"/>
                  </a:moveTo>
                  <a:lnTo>
                    <a:pt x="49" y="21"/>
                  </a:lnTo>
                  <a:lnTo>
                    <a:pt x="33" y="62"/>
                  </a:lnTo>
                  <a:lnTo>
                    <a:pt x="64" y="62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Freeform 39">
              <a:extLst>
                <a:ext uri="{FF2B5EF4-FFF2-40B4-BE49-F238E27FC236}">
                  <a16:creationId xmlns:a16="http://schemas.microsoft.com/office/drawing/2014/main" id="{767F1B17-5AC2-4C7D-971B-E11790DCC1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59426" y="1058863"/>
              <a:ext cx="100013" cy="111125"/>
            </a:xfrm>
            <a:custGeom>
              <a:avLst/>
              <a:gdLst>
                <a:gd name="T0" fmla="*/ 24 w 93"/>
                <a:gd name="T1" fmla="*/ 102 h 105"/>
                <a:gd name="T2" fmla="*/ 12 w 93"/>
                <a:gd name="T3" fmla="*/ 95 h 105"/>
                <a:gd name="T4" fmla="*/ 3 w 93"/>
                <a:gd name="T5" fmla="*/ 83 h 105"/>
                <a:gd name="T6" fmla="*/ 0 w 93"/>
                <a:gd name="T7" fmla="*/ 66 h 105"/>
                <a:gd name="T8" fmla="*/ 0 w 93"/>
                <a:gd name="T9" fmla="*/ 0 h 105"/>
                <a:gd name="T10" fmla="*/ 26 w 93"/>
                <a:gd name="T11" fmla="*/ 0 h 105"/>
                <a:gd name="T12" fmla="*/ 26 w 93"/>
                <a:gd name="T13" fmla="*/ 59 h 105"/>
                <a:gd name="T14" fmla="*/ 31 w 93"/>
                <a:gd name="T15" fmla="*/ 76 h 105"/>
                <a:gd name="T16" fmla="*/ 47 w 93"/>
                <a:gd name="T17" fmla="*/ 81 h 105"/>
                <a:gd name="T18" fmla="*/ 56 w 93"/>
                <a:gd name="T19" fmla="*/ 79 h 105"/>
                <a:gd name="T20" fmla="*/ 62 w 93"/>
                <a:gd name="T21" fmla="*/ 74 h 105"/>
                <a:gd name="T22" fmla="*/ 67 w 93"/>
                <a:gd name="T23" fmla="*/ 68 h 105"/>
                <a:gd name="T24" fmla="*/ 67 w 93"/>
                <a:gd name="T25" fmla="*/ 0 h 105"/>
                <a:gd name="T26" fmla="*/ 93 w 93"/>
                <a:gd name="T27" fmla="*/ 0 h 105"/>
                <a:gd name="T28" fmla="*/ 93 w 93"/>
                <a:gd name="T29" fmla="*/ 102 h 105"/>
                <a:gd name="T30" fmla="*/ 69 w 93"/>
                <a:gd name="T31" fmla="*/ 102 h 105"/>
                <a:gd name="T32" fmla="*/ 69 w 93"/>
                <a:gd name="T33" fmla="*/ 87 h 105"/>
                <a:gd name="T34" fmla="*/ 61 w 93"/>
                <a:gd name="T35" fmla="*/ 96 h 105"/>
                <a:gd name="T36" fmla="*/ 52 w 93"/>
                <a:gd name="T37" fmla="*/ 102 h 105"/>
                <a:gd name="T38" fmla="*/ 38 w 93"/>
                <a:gd name="T39" fmla="*/ 105 h 105"/>
                <a:gd name="T40" fmla="*/ 24 w 93"/>
                <a:gd name="T41" fmla="*/ 102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" h="105">
                  <a:moveTo>
                    <a:pt x="24" y="102"/>
                  </a:moveTo>
                  <a:cubicBezTo>
                    <a:pt x="19" y="101"/>
                    <a:pt x="15" y="98"/>
                    <a:pt x="12" y="95"/>
                  </a:cubicBezTo>
                  <a:cubicBezTo>
                    <a:pt x="8" y="91"/>
                    <a:pt x="6" y="87"/>
                    <a:pt x="3" y="83"/>
                  </a:cubicBezTo>
                  <a:cubicBezTo>
                    <a:pt x="1" y="78"/>
                    <a:pt x="0" y="72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7"/>
                    <a:pt x="28" y="72"/>
                    <a:pt x="31" y="76"/>
                  </a:cubicBezTo>
                  <a:cubicBezTo>
                    <a:pt x="35" y="79"/>
                    <a:pt x="40" y="81"/>
                    <a:pt x="47" y="81"/>
                  </a:cubicBezTo>
                  <a:cubicBezTo>
                    <a:pt x="50" y="81"/>
                    <a:pt x="53" y="80"/>
                    <a:pt x="56" y="79"/>
                  </a:cubicBezTo>
                  <a:cubicBezTo>
                    <a:pt x="58" y="77"/>
                    <a:pt x="60" y="76"/>
                    <a:pt x="62" y="74"/>
                  </a:cubicBezTo>
                  <a:cubicBezTo>
                    <a:pt x="64" y="72"/>
                    <a:pt x="66" y="70"/>
                    <a:pt x="67" y="68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69" y="102"/>
                    <a:pt x="69" y="102"/>
                    <a:pt x="69" y="102"/>
                  </a:cubicBezTo>
                  <a:cubicBezTo>
                    <a:pt x="69" y="87"/>
                    <a:pt x="69" y="87"/>
                    <a:pt x="69" y="87"/>
                  </a:cubicBezTo>
                  <a:cubicBezTo>
                    <a:pt x="67" y="91"/>
                    <a:pt x="64" y="94"/>
                    <a:pt x="61" y="96"/>
                  </a:cubicBezTo>
                  <a:cubicBezTo>
                    <a:pt x="59" y="98"/>
                    <a:pt x="56" y="100"/>
                    <a:pt x="52" y="102"/>
                  </a:cubicBezTo>
                  <a:cubicBezTo>
                    <a:pt x="48" y="104"/>
                    <a:pt x="43" y="105"/>
                    <a:pt x="38" y="105"/>
                  </a:cubicBezTo>
                  <a:cubicBezTo>
                    <a:pt x="33" y="105"/>
                    <a:pt x="28" y="104"/>
                    <a:pt x="24" y="102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Freeform 40">
              <a:extLst>
                <a:ext uri="{FF2B5EF4-FFF2-40B4-BE49-F238E27FC236}">
                  <a16:creationId xmlns:a16="http://schemas.microsoft.com/office/drawing/2014/main" id="{4763BC45-BB15-4154-B84B-587968F445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89601" y="1055688"/>
              <a:ext cx="98425" cy="114300"/>
            </a:xfrm>
            <a:custGeom>
              <a:avLst/>
              <a:gdLst>
                <a:gd name="T0" fmla="*/ 15 w 92"/>
                <a:gd name="T1" fmla="*/ 70 h 108"/>
                <a:gd name="T2" fmla="*/ 24 w 92"/>
                <a:gd name="T3" fmla="*/ 78 h 108"/>
                <a:gd name="T4" fmla="*/ 34 w 92"/>
                <a:gd name="T5" fmla="*/ 83 h 108"/>
                <a:gd name="T6" fmla="*/ 46 w 92"/>
                <a:gd name="T7" fmla="*/ 85 h 108"/>
                <a:gd name="T8" fmla="*/ 60 w 92"/>
                <a:gd name="T9" fmla="*/ 83 h 108"/>
                <a:gd name="T10" fmla="*/ 65 w 92"/>
                <a:gd name="T11" fmla="*/ 76 h 108"/>
                <a:gd name="T12" fmla="*/ 61 w 92"/>
                <a:gd name="T13" fmla="*/ 69 h 108"/>
                <a:gd name="T14" fmla="*/ 45 w 92"/>
                <a:gd name="T15" fmla="*/ 65 h 108"/>
                <a:gd name="T16" fmla="*/ 30 w 92"/>
                <a:gd name="T17" fmla="*/ 60 h 108"/>
                <a:gd name="T18" fmla="*/ 18 w 92"/>
                <a:gd name="T19" fmla="*/ 54 h 108"/>
                <a:gd name="T20" fmla="*/ 10 w 92"/>
                <a:gd name="T21" fmla="*/ 45 h 108"/>
                <a:gd name="T22" fmla="*/ 7 w 92"/>
                <a:gd name="T23" fmla="*/ 32 h 108"/>
                <a:gd name="T24" fmla="*/ 10 w 92"/>
                <a:gd name="T25" fmla="*/ 20 h 108"/>
                <a:gd name="T26" fmla="*/ 18 w 92"/>
                <a:gd name="T27" fmla="*/ 10 h 108"/>
                <a:gd name="T28" fmla="*/ 32 w 92"/>
                <a:gd name="T29" fmla="*/ 3 h 108"/>
                <a:gd name="T30" fmla="*/ 51 w 92"/>
                <a:gd name="T31" fmla="*/ 0 h 108"/>
                <a:gd name="T32" fmla="*/ 67 w 92"/>
                <a:gd name="T33" fmla="*/ 2 h 108"/>
                <a:gd name="T34" fmla="*/ 79 w 92"/>
                <a:gd name="T35" fmla="*/ 6 h 108"/>
                <a:gd name="T36" fmla="*/ 90 w 92"/>
                <a:gd name="T37" fmla="*/ 13 h 108"/>
                <a:gd name="T38" fmla="*/ 77 w 92"/>
                <a:gd name="T39" fmla="*/ 32 h 108"/>
                <a:gd name="T40" fmla="*/ 69 w 92"/>
                <a:gd name="T41" fmla="*/ 27 h 108"/>
                <a:gd name="T42" fmla="*/ 61 w 92"/>
                <a:gd name="T43" fmla="*/ 24 h 108"/>
                <a:gd name="T44" fmla="*/ 51 w 92"/>
                <a:gd name="T45" fmla="*/ 23 h 108"/>
                <a:gd name="T46" fmla="*/ 38 w 92"/>
                <a:gd name="T47" fmla="*/ 25 h 108"/>
                <a:gd name="T48" fmla="*/ 32 w 92"/>
                <a:gd name="T49" fmla="*/ 33 h 108"/>
                <a:gd name="T50" fmla="*/ 38 w 92"/>
                <a:gd name="T51" fmla="*/ 39 h 108"/>
                <a:gd name="T52" fmla="*/ 57 w 92"/>
                <a:gd name="T53" fmla="*/ 44 h 108"/>
                <a:gd name="T54" fmla="*/ 71 w 92"/>
                <a:gd name="T55" fmla="*/ 48 h 108"/>
                <a:gd name="T56" fmla="*/ 82 w 92"/>
                <a:gd name="T57" fmla="*/ 54 h 108"/>
                <a:gd name="T58" fmla="*/ 89 w 92"/>
                <a:gd name="T59" fmla="*/ 63 h 108"/>
                <a:gd name="T60" fmla="*/ 92 w 92"/>
                <a:gd name="T61" fmla="*/ 76 h 108"/>
                <a:gd name="T62" fmla="*/ 88 w 92"/>
                <a:gd name="T63" fmla="*/ 89 h 108"/>
                <a:gd name="T64" fmla="*/ 79 w 92"/>
                <a:gd name="T65" fmla="*/ 99 h 108"/>
                <a:gd name="T66" fmla="*/ 65 w 92"/>
                <a:gd name="T67" fmla="*/ 105 h 108"/>
                <a:gd name="T68" fmla="*/ 47 w 92"/>
                <a:gd name="T69" fmla="*/ 108 h 108"/>
                <a:gd name="T70" fmla="*/ 27 w 92"/>
                <a:gd name="T71" fmla="*/ 105 h 108"/>
                <a:gd name="T72" fmla="*/ 12 w 92"/>
                <a:gd name="T73" fmla="*/ 99 h 108"/>
                <a:gd name="T74" fmla="*/ 0 w 92"/>
                <a:gd name="T75" fmla="*/ 89 h 108"/>
                <a:gd name="T76" fmla="*/ 15 w 92"/>
                <a:gd name="T77" fmla="*/ 7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2" h="108">
                  <a:moveTo>
                    <a:pt x="15" y="70"/>
                  </a:moveTo>
                  <a:cubicBezTo>
                    <a:pt x="18" y="73"/>
                    <a:pt x="21" y="76"/>
                    <a:pt x="24" y="78"/>
                  </a:cubicBezTo>
                  <a:cubicBezTo>
                    <a:pt x="27" y="80"/>
                    <a:pt x="30" y="81"/>
                    <a:pt x="34" y="83"/>
                  </a:cubicBezTo>
                  <a:cubicBezTo>
                    <a:pt x="37" y="84"/>
                    <a:pt x="41" y="85"/>
                    <a:pt x="46" y="85"/>
                  </a:cubicBezTo>
                  <a:cubicBezTo>
                    <a:pt x="51" y="85"/>
                    <a:pt x="56" y="84"/>
                    <a:pt x="60" y="83"/>
                  </a:cubicBezTo>
                  <a:cubicBezTo>
                    <a:pt x="63" y="81"/>
                    <a:pt x="65" y="79"/>
                    <a:pt x="65" y="76"/>
                  </a:cubicBezTo>
                  <a:cubicBezTo>
                    <a:pt x="65" y="73"/>
                    <a:pt x="64" y="70"/>
                    <a:pt x="61" y="69"/>
                  </a:cubicBezTo>
                  <a:cubicBezTo>
                    <a:pt x="58" y="68"/>
                    <a:pt x="53" y="66"/>
                    <a:pt x="45" y="65"/>
                  </a:cubicBezTo>
                  <a:cubicBezTo>
                    <a:pt x="40" y="63"/>
                    <a:pt x="35" y="62"/>
                    <a:pt x="30" y="60"/>
                  </a:cubicBezTo>
                  <a:cubicBezTo>
                    <a:pt x="26" y="59"/>
                    <a:pt x="22" y="57"/>
                    <a:pt x="18" y="54"/>
                  </a:cubicBezTo>
                  <a:cubicBezTo>
                    <a:pt x="15" y="51"/>
                    <a:pt x="12" y="48"/>
                    <a:pt x="10" y="45"/>
                  </a:cubicBezTo>
                  <a:cubicBezTo>
                    <a:pt x="8" y="41"/>
                    <a:pt x="7" y="37"/>
                    <a:pt x="7" y="32"/>
                  </a:cubicBezTo>
                  <a:cubicBezTo>
                    <a:pt x="7" y="28"/>
                    <a:pt x="8" y="24"/>
                    <a:pt x="10" y="20"/>
                  </a:cubicBezTo>
                  <a:cubicBezTo>
                    <a:pt x="12" y="16"/>
                    <a:pt x="15" y="13"/>
                    <a:pt x="18" y="10"/>
                  </a:cubicBezTo>
                  <a:cubicBezTo>
                    <a:pt x="22" y="7"/>
                    <a:pt x="27" y="5"/>
                    <a:pt x="32" y="3"/>
                  </a:cubicBezTo>
                  <a:cubicBezTo>
                    <a:pt x="38" y="1"/>
                    <a:pt x="44" y="0"/>
                    <a:pt x="51" y="0"/>
                  </a:cubicBezTo>
                  <a:cubicBezTo>
                    <a:pt x="57" y="0"/>
                    <a:pt x="62" y="1"/>
                    <a:pt x="67" y="2"/>
                  </a:cubicBezTo>
                  <a:cubicBezTo>
                    <a:pt x="72" y="3"/>
                    <a:pt x="76" y="5"/>
                    <a:pt x="79" y="6"/>
                  </a:cubicBezTo>
                  <a:cubicBezTo>
                    <a:pt x="83" y="8"/>
                    <a:pt x="87" y="10"/>
                    <a:pt x="90" y="13"/>
                  </a:cubicBezTo>
                  <a:cubicBezTo>
                    <a:pt x="77" y="32"/>
                    <a:pt x="77" y="32"/>
                    <a:pt x="77" y="32"/>
                  </a:cubicBezTo>
                  <a:cubicBezTo>
                    <a:pt x="74" y="30"/>
                    <a:pt x="72" y="29"/>
                    <a:pt x="69" y="27"/>
                  </a:cubicBezTo>
                  <a:cubicBezTo>
                    <a:pt x="67" y="26"/>
                    <a:pt x="64" y="25"/>
                    <a:pt x="61" y="24"/>
                  </a:cubicBezTo>
                  <a:cubicBezTo>
                    <a:pt x="58" y="23"/>
                    <a:pt x="54" y="23"/>
                    <a:pt x="51" y="23"/>
                  </a:cubicBezTo>
                  <a:cubicBezTo>
                    <a:pt x="46" y="23"/>
                    <a:pt x="42" y="24"/>
                    <a:pt x="38" y="25"/>
                  </a:cubicBezTo>
                  <a:cubicBezTo>
                    <a:pt x="34" y="27"/>
                    <a:pt x="32" y="29"/>
                    <a:pt x="32" y="33"/>
                  </a:cubicBezTo>
                  <a:cubicBezTo>
                    <a:pt x="32" y="36"/>
                    <a:pt x="34" y="38"/>
                    <a:pt x="38" y="39"/>
                  </a:cubicBezTo>
                  <a:cubicBezTo>
                    <a:pt x="42" y="41"/>
                    <a:pt x="48" y="42"/>
                    <a:pt x="57" y="44"/>
                  </a:cubicBezTo>
                  <a:cubicBezTo>
                    <a:pt x="62" y="45"/>
                    <a:pt x="66" y="46"/>
                    <a:pt x="71" y="48"/>
                  </a:cubicBezTo>
                  <a:cubicBezTo>
                    <a:pt x="75" y="49"/>
                    <a:pt x="79" y="51"/>
                    <a:pt x="82" y="54"/>
                  </a:cubicBezTo>
                  <a:cubicBezTo>
                    <a:pt x="85" y="56"/>
                    <a:pt x="87" y="59"/>
                    <a:pt x="89" y="63"/>
                  </a:cubicBezTo>
                  <a:cubicBezTo>
                    <a:pt x="91" y="66"/>
                    <a:pt x="92" y="71"/>
                    <a:pt x="92" y="76"/>
                  </a:cubicBezTo>
                  <a:cubicBezTo>
                    <a:pt x="92" y="81"/>
                    <a:pt x="90" y="85"/>
                    <a:pt x="88" y="89"/>
                  </a:cubicBezTo>
                  <a:cubicBezTo>
                    <a:pt x="86" y="93"/>
                    <a:pt x="83" y="96"/>
                    <a:pt x="79" y="99"/>
                  </a:cubicBezTo>
                  <a:cubicBezTo>
                    <a:pt x="75" y="101"/>
                    <a:pt x="70" y="104"/>
                    <a:pt x="65" y="105"/>
                  </a:cubicBezTo>
                  <a:cubicBezTo>
                    <a:pt x="59" y="107"/>
                    <a:pt x="53" y="108"/>
                    <a:pt x="47" y="108"/>
                  </a:cubicBezTo>
                  <a:cubicBezTo>
                    <a:pt x="39" y="108"/>
                    <a:pt x="33" y="107"/>
                    <a:pt x="27" y="105"/>
                  </a:cubicBezTo>
                  <a:cubicBezTo>
                    <a:pt x="21" y="103"/>
                    <a:pt x="16" y="101"/>
                    <a:pt x="12" y="99"/>
                  </a:cubicBezTo>
                  <a:cubicBezTo>
                    <a:pt x="8" y="96"/>
                    <a:pt x="4" y="93"/>
                    <a:pt x="0" y="89"/>
                  </a:cubicBezTo>
                  <a:lnTo>
                    <a:pt x="15" y="70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Freeform 41">
              <a:extLst>
                <a:ext uri="{FF2B5EF4-FFF2-40B4-BE49-F238E27FC236}">
                  <a16:creationId xmlns:a16="http://schemas.microsoft.com/office/drawing/2014/main" id="{CF423C5F-6CB0-4072-B978-3D0C263B55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10251" y="1025525"/>
              <a:ext cx="85725" cy="144463"/>
            </a:xfrm>
            <a:custGeom>
              <a:avLst/>
              <a:gdLst>
                <a:gd name="T0" fmla="*/ 0 w 80"/>
                <a:gd name="T1" fmla="*/ 31 h 136"/>
                <a:gd name="T2" fmla="*/ 20 w 80"/>
                <a:gd name="T3" fmla="*/ 31 h 136"/>
                <a:gd name="T4" fmla="*/ 20 w 80"/>
                <a:gd name="T5" fmla="*/ 0 h 136"/>
                <a:gd name="T6" fmla="*/ 46 w 80"/>
                <a:gd name="T7" fmla="*/ 0 h 136"/>
                <a:gd name="T8" fmla="*/ 46 w 80"/>
                <a:gd name="T9" fmla="*/ 31 h 136"/>
                <a:gd name="T10" fmla="*/ 77 w 80"/>
                <a:gd name="T11" fmla="*/ 31 h 136"/>
                <a:gd name="T12" fmla="*/ 77 w 80"/>
                <a:gd name="T13" fmla="*/ 54 h 136"/>
                <a:gd name="T14" fmla="*/ 46 w 80"/>
                <a:gd name="T15" fmla="*/ 54 h 136"/>
                <a:gd name="T16" fmla="*/ 46 w 80"/>
                <a:gd name="T17" fmla="*/ 95 h 136"/>
                <a:gd name="T18" fmla="*/ 50 w 80"/>
                <a:gd name="T19" fmla="*/ 108 h 136"/>
                <a:gd name="T20" fmla="*/ 60 w 80"/>
                <a:gd name="T21" fmla="*/ 112 h 136"/>
                <a:gd name="T22" fmla="*/ 64 w 80"/>
                <a:gd name="T23" fmla="*/ 111 h 136"/>
                <a:gd name="T24" fmla="*/ 67 w 80"/>
                <a:gd name="T25" fmla="*/ 110 h 136"/>
                <a:gd name="T26" fmla="*/ 71 w 80"/>
                <a:gd name="T27" fmla="*/ 108 h 136"/>
                <a:gd name="T28" fmla="*/ 80 w 80"/>
                <a:gd name="T29" fmla="*/ 129 h 136"/>
                <a:gd name="T30" fmla="*/ 73 w 80"/>
                <a:gd name="T31" fmla="*/ 132 h 136"/>
                <a:gd name="T32" fmla="*/ 66 w 80"/>
                <a:gd name="T33" fmla="*/ 135 h 136"/>
                <a:gd name="T34" fmla="*/ 55 w 80"/>
                <a:gd name="T35" fmla="*/ 136 h 136"/>
                <a:gd name="T36" fmla="*/ 42 w 80"/>
                <a:gd name="T37" fmla="*/ 133 h 136"/>
                <a:gd name="T38" fmla="*/ 30 w 80"/>
                <a:gd name="T39" fmla="*/ 126 h 136"/>
                <a:gd name="T40" fmla="*/ 23 w 80"/>
                <a:gd name="T41" fmla="*/ 114 h 136"/>
                <a:gd name="T42" fmla="*/ 20 w 80"/>
                <a:gd name="T43" fmla="*/ 100 h 136"/>
                <a:gd name="T44" fmla="*/ 20 w 80"/>
                <a:gd name="T45" fmla="*/ 54 h 136"/>
                <a:gd name="T46" fmla="*/ 0 w 80"/>
                <a:gd name="T47" fmla="*/ 54 h 136"/>
                <a:gd name="T48" fmla="*/ 0 w 80"/>
                <a:gd name="T49" fmla="*/ 31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0" h="136">
                  <a:moveTo>
                    <a:pt x="0" y="31"/>
                  </a:moveTo>
                  <a:cubicBezTo>
                    <a:pt x="20" y="31"/>
                    <a:pt x="20" y="31"/>
                    <a:pt x="20" y="31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77" y="31"/>
                    <a:pt x="77" y="31"/>
                    <a:pt x="77" y="31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46" y="54"/>
                    <a:pt x="46" y="54"/>
                    <a:pt x="46" y="54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6" y="102"/>
                    <a:pt x="48" y="106"/>
                    <a:pt x="50" y="108"/>
                  </a:cubicBezTo>
                  <a:cubicBezTo>
                    <a:pt x="53" y="110"/>
                    <a:pt x="56" y="112"/>
                    <a:pt x="60" y="112"/>
                  </a:cubicBezTo>
                  <a:cubicBezTo>
                    <a:pt x="61" y="112"/>
                    <a:pt x="63" y="111"/>
                    <a:pt x="64" y="111"/>
                  </a:cubicBezTo>
                  <a:cubicBezTo>
                    <a:pt x="65" y="111"/>
                    <a:pt x="66" y="110"/>
                    <a:pt x="67" y="110"/>
                  </a:cubicBezTo>
                  <a:cubicBezTo>
                    <a:pt x="68" y="109"/>
                    <a:pt x="70" y="109"/>
                    <a:pt x="71" y="108"/>
                  </a:cubicBezTo>
                  <a:cubicBezTo>
                    <a:pt x="80" y="129"/>
                    <a:pt x="80" y="129"/>
                    <a:pt x="80" y="129"/>
                  </a:cubicBezTo>
                  <a:cubicBezTo>
                    <a:pt x="78" y="130"/>
                    <a:pt x="76" y="132"/>
                    <a:pt x="73" y="132"/>
                  </a:cubicBezTo>
                  <a:cubicBezTo>
                    <a:pt x="71" y="133"/>
                    <a:pt x="69" y="134"/>
                    <a:pt x="66" y="135"/>
                  </a:cubicBezTo>
                  <a:cubicBezTo>
                    <a:pt x="63" y="136"/>
                    <a:pt x="59" y="136"/>
                    <a:pt x="55" y="136"/>
                  </a:cubicBezTo>
                  <a:cubicBezTo>
                    <a:pt x="51" y="136"/>
                    <a:pt x="46" y="135"/>
                    <a:pt x="42" y="133"/>
                  </a:cubicBezTo>
                  <a:cubicBezTo>
                    <a:pt x="37" y="132"/>
                    <a:pt x="34" y="129"/>
                    <a:pt x="30" y="126"/>
                  </a:cubicBezTo>
                  <a:cubicBezTo>
                    <a:pt x="27" y="123"/>
                    <a:pt x="25" y="119"/>
                    <a:pt x="23" y="114"/>
                  </a:cubicBezTo>
                  <a:cubicBezTo>
                    <a:pt x="21" y="110"/>
                    <a:pt x="20" y="105"/>
                    <a:pt x="20" y="100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0" y="54"/>
                    <a:pt x="0" y="54"/>
                    <a:pt x="0" y="54"/>
                  </a:cubicBezTo>
                  <a:lnTo>
                    <a:pt x="0" y="31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Freeform 42">
              <a:extLst>
                <a:ext uri="{FF2B5EF4-FFF2-40B4-BE49-F238E27FC236}">
                  <a16:creationId xmlns:a16="http://schemas.microsoft.com/office/drawing/2014/main" id="{07E65987-E8A4-44DC-A4BB-D452FCC939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26138" y="1055688"/>
              <a:ext cx="74613" cy="111125"/>
            </a:xfrm>
            <a:custGeom>
              <a:avLst/>
              <a:gdLst>
                <a:gd name="T0" fmla="*/ 59 w 70"/>
                <a:gd name="T1" fmla="*/ 1 h 105"/>
                <a:gd name="T2" fmla="*/ 65 w 70"/>
                <a:gd name="T3" fmla="*/ 2 h 105"/>
                <a:gd name="T4" fmla="*/ 70 w 70"/>
                <a:gd name="T5" fmla="*/ 3 h 105"/>
                <a:gd name="T6" fmla="*/ 61 w 70"/>
                <a:gd name="T7" fmla="*/ 27 h 105"/>
                <a:gd name="T8" fmla="*/ 58 w 70"/>
                <a:gd name="T9" fmla="*/ 25 h 105"/>
                <a:gd name="T10" fmla="*/ 54 w 70"/>
                <a:gd name="T11" fmla="*/ 25 h 105"/>
                <a:gd name="T12" fmla="*/ 49 w 70"/>
                <a:gd name="T13" fmla="*/ 24 h 105"/>
                <a:gd name="T14" fmla="*/ 39 w 70"/>
                <a:gd name="T15" fmla="*/ 26 h 105"/>
                <a:gd name="T16" fmla="*/ 32 w 70"/>
                <a:gd name="T17" fmla="*/ 31 h 105"/>
                <a:gd name="T18" fmla="*/ 26 w 70"/>
                <a:gd name="T19" fmla="*/ 38 h 105"/>
                <a:gd name="T20" fmla="*/ 26 w 70"/>
                <a:gd name="T21" fmla="*/ 105 h 105"/>
                <a:gd name="T22" fmla="*/ 0 w 70"/>
                <a:gd name="T23" fmla="*/ 105 h 105"/>
                <a:gd name="T24" fmla="*/ 0 w 70"/>
                <a:gd name="T25" fmla="*/ 3 h 105"/>
                <a:gd name="T26" fmla="*/ 25 w 70"/>
                <a:gd name="T27" fmla="*/ 3 h 105"/>
                <a:gd name="T28" fmla="*/ 25 w 70"/>
                <a:gd name="T29" fmla="*/ 18 h 105"/>
                <a:gd name="T30" fmla="*/ 32 w 70"/>
                <a:gd name="T31" fmla="*/ 9 h 105"/>
                <a:gd name="T32" fmla="*/ 40 w 70"/>
                <a:gd name="T33" fmla="*/ 3 h 105"/>
                <a:gd name="T34" fmla="*/ 53 w 70"/>
                <a:gd name="T35" fmla="*/ 0 h 105"/>
                <a:gd name="T36" fmla="*/ 59 w 70"/>
                <a:gd name="T37" fmla="*/ 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0" h="105">
                  <a:moveTo>
                    <a:pt x="59" y="1"/>
                  </a:moveTo>
                  <a:cubicBezTo>
                    <a:pt x="62" y="1"/>
                    <a:pt x="63" y="1"/>
                    <a:pt x="65" y="2"/>
                  </a:cubicBezTo>
                  <a:cubicBezTo>
                    <a:pt x="67" y="2"/>
                    <a:pt x="69" y="3"/>
                    <a:pt x="70" y="3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0" y="26"/>
                    <a:pt x="59" y="26"/>
                    <a:pt x="58" y="25"/>
                  </a:cubicBezTo>
                  <a:cubicBezTo>
                    <a:pt x="57" y="25"/>
                    <a:pt x="56" y="25"/>
                    <a:pt x="54" y="25"/>
                  </a:cubicBezTo>
                  <a:cubicBezTo>
                    <a:pt x="53" y="24"/>
                    <a:pt x="51" y="24"/>
                    <a:pt x="49" y="24"/>
                  </a:cubicBezTo>
                  <a:cubicBezTo>
                    <a:pt x="45" y="24"/>
                    <a:pt x="42" y="25"/>
                    <a:pt x="39" y="26"/>
                  </a:cubicBezTo>
                  <a:cubicBezTo>
                    <a:pt x="36" y="28"/>
                    <a:pt x="33" y="29"/>
                    <a:pt x="32" y="31"/>
                  </a:cubicBezTo>
                  <a:cubicBezTo>
                    <a:pt x="29" y="33"/>
                    <a:pt x="27" y="36"/>
                    <a:pt x="26" y="38"/>
                  </a:cubicBezTo>
                  <a:cubicBezTo>
                    <a:pt x="26" y="105"/>
                    <a:pt x="26" y="105"/>
                    <a:pt x="26" y="105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7" y="14"/>
                    <a:pt x="29" y="11"/>
                    <a:pt x="32" y="9"/>
                  </a:cubicBezTo>
                  <a:cubicBezTo>
                    <a:pt x="34" y="7"/>
                    <a:pt x="37" y="5"/>
                    <a:pt x="40" y="3"/>
                  </a:cubicBezTo>
                  <a:cubicBezTo>
                    <a:pt x="44" y="1"/>
                    <a:pt x="48" y="0"/>
                    <a:pt x="53" y="0"/>
                  </a:cubicBezTo>
                  <a:cubicBezTo>
                    <a:pt x="55" y="0"/>
                    <a:pt x="57" y="0"/>
                    <a:pt x="59" y="1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Freeform 43">
              <a:extLst>
                <a:ext uri="{FF2B5EF4-FFF2-40B4-BE49-F238E27FC236}">
                  <a16:creationId xmlns:a16="http://schemas.microsoft.com/office/drawing/2014/main" id="{03292961-08C2-493A-8574-389794E2DF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024563" y="1004888"/>
              <a:ext cx="36513" cy="161925"/>
            </a:xfrm>
            <a:custGeom>
              <a:avLst/>
              <a:gdLst>
                <a:gd name="T0" fmla="*/ 5 w 34"/>
                <a:gd name="T1" fmla="*/ 5 h 153"/>
                <a:gd name="T2" fmla="*/ 17 w 34"/>
                <a:gd name="T3" fmla="*/ 0 h 153"/>
                <a:gd name="T4" fmla="*/ 29 w 34"/>
                <a:gd name="T5" fmla="*/ 5 h 153"/>
                <a:gd name="T6" fmla="*/ 34 w 34"/>
                <a:gd name="T7" fmla="*/ 17 h 153"/>
                <a:gd name="T8" fmla="*/ 29 w 34"/>
                <a:gd name="T9" fmla="*/ 30 h 153"/>
                <a:gd name="T10" fmla="*/ 17 w 34"/>
                <a:gd name="T11" fmla="*/ 35 h 153"/>
                <a:gd name="T12" fmla="*/ 5 w 34"/>
                <a:gd name="T13" fmla="*/ 30 h 153"/>
                <a:gd name="T14" fmla="*/ 0 w 34"/>
                <a:gd name="T15" fmla="*/ 17 h 153"/>
                <a:gd name="T16" fmla="*/ 5 w 34"/>
                <a:gd name="T17" fmla="*/ 5 h 153"/>
                <a:gd name="T18" fmla="*/ 4 w 34"/>
                <a:gd name="T19" fmla="*/ 51 h 153"/>
                <a:gd name="T20" fmla="*/ 30 w 34"/>
                <a:gd name="T21" fmla="*/ 51 h 153"/>
                <a:gd name="T22" fmla="*/ 30 w 34"/>
                <a:gd name="T23" fmla="*/ 153 h 153"/>
                <a:gd name="T24" fmla="*/ 4 w 34"/>
                <a:gd name="T25" fmla="*/ 153 h 153"/>
                <a:gd name="T26" fmla="*/ 4 w 34"/>
                <a:gd name="T27" fmla="*/ 5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153">
                  <a:moveTo>
                    <a:pt x="5" y="5"/>
                  </a:moveTo>
                  <a:cubicBezTo>
                    <a:pt x="8" y="2"/>
                    <a:pt x="12" y="0"/>
                    <a:pt x="17" y="0"/>
                  </a:cubicBezTo>
                  <a:cubicBezTo>
                    <a:pt x="22" y="0"/>
                    <a:pt x="26" y="2"/>
                    <a:pt x="29" y="5"/>
                  </a:cubicBezTo>
                  <a:cubicBezTo>
                    <a:pt x="32" y="9"/>
                    <a:pt x="34" y="13"/>
                    <a:pt x="34" y="17"/>
                  </a:cubicBezTo>
                  <a:cubicBezTo>
                    <a:pt x="34" y="22"/>
                    <a:pt x="32" y="26"/>
                    <a:pt x="29" y="30"/>
                  </a:cubicBezTo>
                  <a:cubicBezTo>
                    <a:pt x="26" y="33"/>
                    <a:pt x="22" y="35"/>
                    <a:pt x="17" y="35"/>
                  </a:cubicBezTo>
                  <a:cubicBezTo>
                    <a:pt x="12" y="35"/>
                    <a:pt x="8" y="33"/>
                    <a:pt x="5" y="30"/>
                  </a:cubicBezTo>
                  <a:cubicBezTo>
                    <a:pt x="1" y="26"/>
                    <a:pt x="0" y="22"/>
                    <a:pt x="0" y="17"/>
                  </a:cubicBezTo>
                  <a:cubicBezTo>
                    <a:pt x="0" y="13"/>
                    <a:pt x="1" y="9"/>
                    <a:pt x="5" y="5"/>
                  </a:cubicBezTo>
                  <a:close/>
                  <a:moveTo>
                    <a:pt x="4" y="51"/>
                  </a:moveTo>
                  <a:cubicBezTo>
                    <a:pt x="30" y="51"/>
                    <a:pt x="30" y="51"/>
                    <a:pt x="30" y="51"/>
                  </a:cubicBezTo>
                  <a:cubicBezTo>
                    <a:pt x="30" y="153"/>
                    <a:pt x="30" y="153"/>
                    <a:pt x="30" y="153"/>
                  </a:cubicBezTo>
                  <a:cubicBezTo>
                    <a:pt x="4" y="153"/>
                    <a:pt x="4" y="153"/>
                    <a:pt x="4" y="153"/>
                  </a:cubicBezTo>
                  <a:lnTo>
                    <a:pt x="4" y="51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44">
              <a:extLst>
                <a:ext uri="{FF2B5EF4-FFF2-40B4-BE49-F238E27FC236}">
                  <a16:creationId xmlns:a16="http://schemas.microsoft.com/office/drawing/2014/main" id="{5BFA12EB-95E1-4F3A-BB32-1C36BAF6DDC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091238" y="1055688"/>
              <a:ext cx="100013" cy="114300"/>
            </a:xfrm>
            <a:custGeom>
              <a:avLst/>
              <a:gdLst>
                <a:gd name="T0" fmla="*/ 83 w 95"/>
                <a:gd name="T1" fmla="*/ 10 h 108"/>
                <a:gd name="T2" fmla="*/ 95 w 95"/>
                <a:gd name="T3" fmla="*/ 38 h 108"/>
                <a:gd name="T4" fmla="*/ 95 w 95"/>
                <a:gd name="T5" fmla="*/ 105 h 108"/>
                <a:gd name="T6" fmla="*/ 71 w 95"/>
                <a:gd name="T7" fmla="*/ 105 h 108"/>
                <a:gd name="T8" fmla="*/ 71 w 95"/>
                <a:gd name="T9" fmla="*/ 92 h 108"/>
                <a:gd name="T10" fmla="*/ 63 w 95"/>
                <a:gd name="T11" fmla="*/ 100 h 108"/>
                <a:gd name="T12" fmla="*/ 53 w 95"/>
                <a:gd name="T13" fmla="*/ 106 h 108"/>
                <a:gd name="T14" fmla="*/ 38 w 95"/>
                <a:gd name="T15" fmla="*/ 108 h 108"/>
                <a:gd name="T16" fmla="*/ 24 w 95"/>
                <a:gd name="T17" fmla="*/ 106 h 108"/>
                <a:gd name="T18" fmla="*/ 12 w 95"/>
                <a:gd name="T19" fmla="*/ 99 h 108"/>
                <a:gd name="T20" fmla="*/ 4 w 95"/>
                <a:gd name="T21" fmla="*/ 88 h 108"/>
                <a:gd name="T22" fmla="*/ 0 w 95"/>
                <a:gd name="T23" fmla="*/ 73 h 108"/>
                <a:gd name="T24" fmla="*/ 4 w 95"/>
                <a:gd name="T25" fmla="*/ 60 h 108"/>
                <a:gd name="T26" fmla="*/ 12 w 95"/>
                <a:gd name="T27" fmla="*/ 49 h 108"/>
                <a:gd name="T28" fmla="*/ 25 w 95"/>
                <a:gd name="T29" fmla="*/ 42 h 108"/>
                <a:gd name="T30" fmla="*/ 41 w 95"/>
                <a:gd name="T31" fmla="*/ 39 h 108"/>
                <a:gd name="T32" fmla="*/ 53 w 95"/>
                <a:gd name="T33" fmla="*/ 41 h 108"/>
                <a:gd name="T34" fmla="*/ 62 w 95"/>
                <a:gd name="T35" fmla="*/ 43 h 108"/>
                <a:gd name="T36" fmla="*/ 69 w 95"/>
                <a:gd name="T37" fmla="*/ 47 h 108"/>
                <a:gd name="T38" fmla="*/ 69 w 95"/>
                <a:gd name="T39" fmla="*/ 41 h 108"/>
                <a:gd name="T40" fmla="*/ 67 w 95"/>
                <a:gd name="T41" fmla="*/ 33 h 108"/>
                <a:gd name="T42" fmla="*/ 62 w 95"/>
                <a:gd name="T43" fmla="*/ 27 h 108"/>
                <a:gd name="T44" fmla="*/ 55 w 95"/>
                <a:gd name="T45" fmla="*/ 24 h 108"/>
                <a:gd name="T46" fmla="*/ 47 w 95"/>
                <a:gd name="T47" fmla="*/ 23 h 108"/>
                <a:gd name="T48" fmla="*/ 36 w 95"/>
                <a:gd name="T49" fmla="*/ 24 h 108"/>
                <a:gd name="T50" fmla="*/ 26 w 95"/>
                <a:gd name="T51" fmla="*/ 27 h 108"/>
                <a:gd name="T52" fmla="*/ 17 w 95"/>
                <a:gd name="T53" fmla="*/ 31 h 108"/>
                <a:gd name="T54" fmla="*/ 8 w 95"/>
                <a:gd name="T55" fmla="*/ 9 h 108"/>
                <a:gd name="T56" fmla="*/ 20 w 95"/>
                <a:gd name="T57" fmla="*/ 5 h 108"/>
                <a:gd name="T58" fmla="*/ 33 w 95"/>
                <a:gd name="T59" fmla="*/ 1 h 108"/>
                <a:gd name="T60" fmla="*/ 49 w 95"/>
                <a:gd name="T61" fmla="*/ 0 h 108"/>
                <a:gd name="T62" fmla="*/ 83 w 95"/>
                <a:gd name="T63" fmla="*/ 10 h 108"/>
                <a:gd name="T64" fmla="*/ 56 w 95"/>
                <a:gd name="T65" fmla="*/ 84 h 108"/>
                <a:gd name="T66" fmla="*/ 63 w 95"/>
                <a:gd name="T67" fmla="*/ 80 h 108"/>
                <a:gd name="T68" fmla="*/ 69 w 95"/>
                <a:gd name="T69" fmla="*/ 74 h 108"/>
                <a:gd name="T70" fmla="*/ 69 w 95"/>
                <a:gd name="T71" fmla="*/ 64 h 108"/>
                <a:gd name="T72" fmla="*/ 63 w 95"/>
                <a:gd name="T73" fmla="*/ 61 h 108"/>
                <a:gd name="T74" fmla="*/ 56 w 95"/>
                <a:gd name="T75" fmla="*/ 59 h 108"/>
                <a:gd name="T76" fmla="*/ 46 w 95"/>
                <a:gd name="T77" fmla="*/ 59 h 108"/>
                <a:gd name="T78" fmla="*/ 40 w 95"/>
                <a:gd name="T79" fmla="*/ 59 h 108"/>
                <a:gd name="T80" fmla="*/ 33 w 95"/>
                <a:gd name="T81" fmla="*/ 62 h 108"/>
                <a:gd name="T82" fmla="*/ 29 w 95"/>
                <a:gd name="T83" fmla="*/ 66 h 108"/>
                <a:gd name="T84" fmla="*/ 27 w 95"/>
                <a:gd name="T85" fmla="*/ 73 h 108"/>
                <a:gd name="T86" fmla="*/ 29 w 95"/>
                <a:gd name="T87" fmla="*/ 80 h 108"/>
                <a:gd name="T88" fmla="*/ 33 w 95"/>
                <a:gd name="T89" fmla="*/ 84 h 108"/>
                <a:gd name="T90" fmla="*/ 39 w 95"/>
                <a:gd name="T91" fmla="*/ 86 h 108"/>
                <a:gd name="T92" fmla="*/ 46 w 95"/>
                <a:gd name="T93" fmla="*/ 86 h 108"/>
                <a:gd name="T94" fmla="*/ 56 w 95"/>
                <a:gd name="T95" fmla="*/ 8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5" h="108">
                  <a:moveTo>
                    <a:pt x="83" y="10"/>
                  </a:moveTo>
                  <a:cubicBezTo>
                    <a:pt x="91" y="17"/>
                    <a:pt x="95" y="27"/>
                    <a:pt x="95" y="38"/>
                  </a:cubicBezTo>
                  <a:cubicBezTo>
                    <a:pt x="95" y="105"/>
                    <a:pt x="95" y="105"/>
                    <a:pt x="95" y="105"/>
                  </a:cubicBezTo>
                  <a:cubicBezTo>
                    <a:pt x="71" y="105"/>
                    <a:pt x="71" y="105"/>
                    <a:pt x="71" y="105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9" y="95"/>
                    <a:pt x="66" y="98"/>
                    <a:pt x="63" y="100"/>
                  </a:cubicBezTo>
                  <a:cubicBezTo>
                    <a:pt x="60" y="102"/>
                    <a:pt x="57" y="104"/>
                    <a:pt x="53" y="106"/>
                  </a:cubicBezTo>
                  <a:cubicBezTo>
                    <a:pt x="48" y="107"/>
                    <a:pt x="43" y="108"/>
                    <a:pt x="38" y="108"/>
                  </a:cubicBezTo>
                  <a:cubicBezTo>
                    <a:pt x="33" y="108"/>
                    <a:pt x="28" y="107"/>
                    <a:pt x="24" y="106"/>
                  </a:cubicBezTo>
                  <a:cubicBezTo>
                    <a:pt x="19" y="104"/>
                    <a:pt x="15" y="102"/>
                    <a:pt x="12" y="99"/>
                  </a:cubicBezTo>
                  <a:cubicBezTo>
                    <a:pt x="8" y="96"/>
                    <a:pt x="6" y="92"/>
                    <a:pt x="4" y="88"/>
                  </a:cubicBezTo>
                  <a:cubicBezTo>
                    <a:pt x="1" y="84"/>
                    <a:pt x="0" y="79"/>
                    <a:pt x="0" y="73"/>
                  </a:cubicBezTo>
                  <a:cubicBezTo>
                    <a:pt x="0" y="69"/>
                    <a:pt x="2" y="64"/>
                    <a:pt x="4" y="60"/>
                  </a:cubicBezTo>
                  <a:cubicBezTo>
                    <a:pt x="6" y="56"/>
                    <a:pt x="9" y="52"/>
                    <a:pt x="12" y="49"/>
                  </a:cubicBezTo>
                  <a:cubicBezTo>
                    <a:pt x="16" y="46"/>
                    <a:pt x="20" y="44"/>
                    <a:pt x="25" y="42"/>
                  </a:cubicBezTo>
                  <a:cubicBezTo>
                    <a:pt x="30" y="40"/>
                    <a:pt x="35" y="39"/>
                    <a:pt x="41" y="39"/>
                  </a:cubicBezTo>
                  <a:cubicBezTo>
                    <a:pt x="46" y="39"/>
                    <a:pt x="50" y="40"/>
                    <a:pt x="53" y="41"/>
                  </a:cubicBezTo>
                  <a:cubicBezTo>
                    <a:pt x="57" y="41"/>
                    <a:pt x="60" y="42"/>
                    <a:pt x="62" y="43"/>
                  </a:cubicBezTo>
                  <a:cubicBezTo>
                    <a:pt x="65" y="44"/>
                    <a:pt x="67" y="45"/>
                    <a:pt x="69" y="47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38"/>
                    <a:pt x="69" y="35"/>
                    <a:pt x="67" y="33"/>
                  </a:cubicBezTo>
                  <a:cubicBezTo>
                    <a:pt x="66" y="30"/>
                    <a:pt x="64" y="28"/>
                    <a:pt x="62" y="27"/>
                  </a:cubicBezTo>
                  <a:cubicBezTo>
                    <a:pt x="60" y="26"/>
                    <a:pt x="57" y="25"/>
                    <a:pt x="55" y="24"/>
                  </a:cubicBezTo>
                  <a:cubicBezTo>
                    <a:pt x="52" y="23"/>
                    <a:pt x="50" y="23"/>
                    <a:pt x="47" y="23"/>
                  </a:cubicBezTo>
                  <a:cubicBezTo>
                    <a:pt x="43" y="23"/>
                    <a:pt x="40" y="24"/>
                    <a:pt x="36" y="24"/>
                  </a:cubicBezTo>
                  <a:cubicBezTo>
                    <a:pt x="32" y="25"/>
                    <a:pt x="29" y="26"/>
                    <a:pt x="26" y="27"/>
                  </a:cubicBezTo>
                  <a:cubicBezTo>
                    <a:pt x="23" y="28"/>
                    <a:pt x="20" y="29"/>
                    <a:pt x="17" y="31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2" y="8"/>
                    <a:pt x="16" y="6"/>
                    <a:pt x="20" y="5"/>
                  </a:cubicBezTo>
                  <a:cubicBezTo>
                    <a:pt x="24" y="3"/>
                    <a:pt x="28" y="2"/>
                    <a:pt x="33" y="1"/>
                  </a:cubicBezTo>
                  <a:cubicBezTo>
                    <a:pt x="38" y="1"/>
                    <a:pt x="43" y="0"/>
                    <a:pt x="49" y="0"/>
                  </a:cubicBezTo>
                  <a:cubicBezTo>
                    <a:pt x="63" y="0"/>
                    <a:pt x="75" y="3"/>
                    <a:pt x="83" y="10"/>
                  </a:cubicBezTo>
                  <a:close/>
                  <a:moveTo>
                    <a:pt x="56" y="84"/>
                  </a:moveTo>
                  <a:cubicBezTo>
                    <a:pt x="59" y="83"/>
                    <a:pt x="61" y="82"/>
                    <a:pt x="63" y="80"/>
                  </a:cubicBezTo>
                  <a:cubicBezTo>
                    <a:pt x="66" y="78"/>
                    <a:pt x="68" y="76"/>
                    <a:pt x="69" y="7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7" y="63"/>
                    <a:pt x="65" y="62"/>
                    <a:pt x="63" y="61"/>
                  </a:cubicBezTo>
                  <a:cubicBezTo>
                    <a:pt x="61" y="60"/>
                    <a:pt x="58" y="60"/>
                    <a:pt x="56" y="59"/>
                  </a:cubicBezTo>
                  <a:cubicBezTo>
                    <a:pt x="53" y="59"/>
                    <a:pt x="50" y="59"/>
                    <a:pt x="46" y="59"/>
                  </a:cubicBezTo>
                  <a:cubicBezTo>
                    <a:pt x="44" y="59"/>
                    <a:pt x="42" y="59"/>
                    <a:pt x="40" y="59"/>
                  </a:cubicBezTo>
                  <a:cubicBezTo>
                    <a:pt x="37" y="60"/>
                    <a:pt x="35" y="61"/>
                    <a:pt x="33" y="62"/>
                  </a:cubicBezTo>
                  <a:cubicBezTo>
                    <a:pt x="32" y="63"/>
                    <a:pt x="30" y="64"/>
                    <a:pt x="29" y="66"/>
                  </a:cubicBezTo>
                  <a:cubicBezTo>
                    <a:pt x="28" y="68"/>
                    <a:pt x="27" y="70"/>
                    <a:pt x="27" y="73"/>
                  </a:cubicBezTo>
                  <a:cubicBezTo>
                    <a:pt x="27" y="76"/>
                    <a:pt x="27" y="78"/>
                    <a:pt x="29" y="80"/>
                  </a:cubicBezTo>
                  <a:cubicBezTo>
                    <a:pt x="30" y="81"/>
                    <a:pt x="31" y="83"/>
                    <a:pt x="33" y="84"/>
                  </a:cubicBezTo>
                  <a:cubicBezTo>
                    <a:pt x="35" y="85"/>
                    <a:pt x="37" y="85"/>
                    <a:pt x="39" y="86"/>
                  </a:cubicBezTo>
                  <a:cubicBezTo>
                    <a:pt x="41" y="86"/>
                    <a:pt x="43" y="86"/>
                    <a:pt x="46" y="86"/>
                  </a:cubicBezTo>
                  <a:cubicBezTo>
                    <a:pt x="49" y="86"/>
                    <a:pt x="53" y="86"/>
                    <a:pt x="56" y="84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848500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äulen + F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45B2A81-20D5-4DCD-B2D5-0DD68492C0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7795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45B2A81-20D5-4DCD-B2D5-0DD68492C0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AA155B-CCB9-45EF-83E7-A4F386C3D5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46BAB9-04B4-4317-A1F0-FDDB9A1286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56EE890-29E0-44E4-9668-F68CDE7A61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9538" y="208338"/>
            <a:ext cx="8631786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9" name="Content Placeholder 7">
            <a:extLst>
              <a:ext uri="{FF2B5EF4-FFF2-40B4-BE49-F238E27FC236}">
                <a16:creationId xmlns:a16="http://schemas.microsoft.com/office/drawing/2014/main" id="{4E46B802-7A11-4132-902C-6A8E73CAE6F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225" y="4696691"/>
            <a:ext cx="2387743" cy="1073531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Content Placeholder 7">
            <a:extLst>
              <a:ext uri="{FF2B5EF4-FFF2-40B4-BE49-F238E27FC236}">
                <a16:creationId xmlns:a16="http://schemas.microsoft.com/office/drawing/2014/main" id="{8C88EDB6-B166-4ABB-BA7D-0E492F4665A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985646" y="4696691"/>
            <a:ext cx="2387743" cy="1073531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Content Placeholder 7">
            <a:extLst>
              <a:ext uri="{FF2B5EF4-FFF2-40B4-BE49-F238E27FC236}">
                <a16:creationId xmlns:a16="http://schemas.microsoft.com/office/drawing/2014/main" id="{61D25E78-0AEF-4E09-8B9A-9996BEE68EE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9060067" y="4696691"/>
            <a:ext cx="2387743" cy="1073531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1C5F30F-C9B7-4000-8B2D-22FCB12B188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1" y="1052513"/>
            <a:ext cx="4043159" cy="3461298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A4924A90-45F3-47AB-9B15-4F778FBE223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74420" y="1052513"/>
            <a:ext cx="4043159" cy="3461298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EE7A4228-1859-43D7-A855-F6BF17DA22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48841" y="1052513"/>
            <a:ext cx="4043159" cy="3461298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0013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mi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11817AE-51ED-41E3-A690-ED26CAEA9D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6229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11817AE-51ED-41E3-A690-ED26CAEA9D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EC5787D-011E-416D-94DD-7B499E6E75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052513"/>
            <a:ext cx="12192000" cy="5805487"/>
          </a:xfrm>
          <a:solidFill>
            <a:schemeClr val="tx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A194230-98A5-4312-912D-7CAE3A9610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3033" y="210209"/>
            <a:ext cx="8619430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E5B1355D-DD05-472A-9160-73E5F49FBB8B}"/>
              </a:ext>
            </a:extLst>
          </p:cNvPr>
          <p:cNvGrpSpPr/>
          <p:nvPr userDrawn="1"/>
        </p:nvGrpSpPr>
        <p:grpSpPr>
          <a:xfrm>
            <a:off x="9809018" y="6114397"/>
            <a:ext cx="2022620" cy="422928"/>
            <a:chOff x="9809018" y="6114397"/>
            <a:chExt cx="2022620" cy="422928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BA0A10D1-360F-45ED-BB02-7489FB5422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66356" y="6115872"/>
              <a:ext cx="510226" cy="421453"/>
            </a:xfrm>
            <a:custGeom>
              <a:avLst/>
              <a:gdLst>
                <a:gd name="T0" fmla="*/ 318 w 1730"/>
                <a:gd name="T1" fmla="*/ 1429 h 1429"/>
                <a:gd name="T2" fmla="*/ 0 w 1730"/>
                <a:gd name="T3" fmla="*/ 1429 h 1429"/>
                <a:gd name="T4" fmla="*/ 721 w 1730"/>
                <a:gd name="T5" fmla="*/ 0 h 1429"/>
                <a:gd name="T6" fmla="*/ 1009 w 1730"/>
                <a:gd name="T7" fmla="*/ 0 h 1429"/>
                <a:gd name="T8" fmla="*/ 1730 w 1730"/>
                <a:gd name="T9" fmla="*/ 1429 h 1429"/>
                <a:gd name="T10" fmla="*/ 1405 w 1730"/>
                <a:gd name="T11" fmla="*/ 1429 h 1429"/>
                <a:gd name="T12" fmla="*/ 861 w 1730"/>
                <a:gd name="T13" fmla="*/ 376 h 1429"/>
                <a:gd name="T14" fmla="*/ 318 w 1730"/>
                <a:gd name="T15" fmla="*/ 1429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0" h="1429">
                  <a:moveTo>
                    <a:pt x="318" y="1429"/>
                  </a:moveTo>
                  <a:lnTo>
                    <a:pt x="0" y="1429"/>
                  </a:lnTo>
                  <a:lnTo>
                    <a:pt x="721" y="0"/>
                  </a:lnTo>
                  <a:lnTo>
                    <a:pt x="1009" y="0"/>
                  </a:lnTo>
                  <a:lnTo>
                    <a:pt x="1730" y="1429"/>
                  </a:lnTo>
                  <a:lnTo>
                    <a:pt x="1405" y="1429"/>
                  </a:lnTo>
                  <a:lnTo>
                    <a:pt x="861" y="376"/>
                  </a:lnTo>
                  <a:lnTo>
                    <a:pt x="318" y="14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Rectangle 6">
              <a:extLst>
                <a:ext uri="{FF2B5EF4-FFF2-40B4-BE49-F238E27FC236}">
                  <a16:creationId xmlns:a16="http://schemas.microsoft.com/office/drawing/2014/main" id="{1EAC1829-369D-48DB-A45E-C4A1D6F8F57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273043" y="6115872"/>
              <a:ext cx="14746" cy="11325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514FC642-3668-45C5-9273-50FCCA2586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0822" y="6115872"/>
              <a:ext cx="94967" cy="113253"/>
            </a:xfrm>
            <a:custGeom>
              <a:avLst/>
              <a:gdLst>
                <a:gd name="T0" fmla="*/ 0 w 136"/>
                <a:gd name="T1" fmla="*/ 161 h 161"/>
                <a:gd name="T2" fmla="*/ 0 w 136"/>
                <a:gd name="T3" fmla="*/ 0 h 161"/>
                <a:gd name="T4" fmla="*/ 20 w 136"/>
                <a:gd name="T5" fmla="*/ 0 h 161"/>
                <a:gd name="T6" fmla="*/ 88 w 136"/>
                <a:gd name="T7" fmla="*/ 90 h 161"/>
                <a:gd name="T8" fmla="*/ 116 w 136"/>
                <a:gd name="T9" fmla="*/ 127 h 161"/>
                <a:gd name="T10" fmla="*/ 116 w 136"/>
                <a:gd name="T11" fmla="*/ 127 h 161"/>
                <a:gd name="T12" fmla="*/ 116 w 136"/>
                <a:gd name="T13" fmla="*/ 81 h 161"/>
                <a:gd name="T14" fmla="*/ 116 w 136"/>
                <a:gd name="T15" fmla="*/ 0 h 161"/>
                <a:gd name="T16" fmla="*/ 136 w 136"/>
                <a:gd name="T17" fmla="*/ 0 h 161"/>
                <a:gd name="T18" fmla="*/ 136 w 136"/>
                <a:gd name="T19" fmla="*/ 161 h 161"/>
                <a:gd name="T20" fmla="*/ 116 w 136"/>
                <a:gd name="T21" fmla="*/ 161 h 161"/>
                <a:gd name="T22" fmla="*/ 49 w 136"/>
                <a:gd name="T23" fmla="*/ 72 h 161"/>
                <a:gd name="T24" fmla="*/ 21 w 136"/>
                <a:gd name="T25" fmla="*/ 34 h 161"/>
                <a:gd name="T26" fmla="*/ 20 w 136"/>
                <a:gd name="T27" fmla="*/ 34 h 161"/>
                <a:gd name="T28" fmla="*/ 21 w 136"/>
                <a:gd name="T29" fmla="*/ 80 h 161"/>
                <a:gd name="T30" fmla="*/ 21 w 136"/>
                <a:gd name="T31" fmla="*/ 161 h 161"/>
                <a:gd name="T32" fmla="*/ 0 w 136"/>
                <a:gd name="T33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61">
                  <a:moveTo>
                    <a:pt x="0" y="16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88" y="90"/>
                    <a:pt x="88" y="90"/>
                    <a:pt x="88" y="90"/>
                  </a:cubicBezTo>
                  <a:cubicBezTo>
                    <a:pt x="97" y="102"/>
                    <a:pt x="106" y="114"/>
                    <a:pt x="116" y="127"/>
                  </a:cubicBezTo>
                  <a:cubicBezTo>
                    <a:pt x="116" y="127"/>
                    <a:pt x="116" y="127"/>
                    <a:pt x="116" y="127"/>
                  </a:cubicBezTo>
                  <a:cubicBezTo>
                    <a:pt x="116" y="113"/>
                    <a:pt x="116" y="97"/>
                    <a:pt x="116" y="81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161"/>
                    <a:pt x="136" y="161"/>
                    <a:pt x="136" y="161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39" y="60"/>
                    <a:pt x="30" y="47"/>
                    <a:pt x="21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1" y="48"/>
                    <a:pt x="21" y="65"/>
                    <a:pt x="21" y="80"/>
                  </a:cubicBezTo>
                  <a:cubicBezTo>
                    <a:pt x="21" y="161"/>
                    <a:pt x="21" y="161"/>
                    <a:pt x="21" y="161"/>
                  </a:cubicBezTo>
                  <a:lnTo>
                    <a:pt x="0" y="16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614C5C17-9731-4A21-BE20-2AE052E5F0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6729" y="6115872"/>
              <a:ext cx="101750" cy="113253"/>
            </a:xfrm>
            <a:custGeom>
              <a:avLst/>
              <a:gdLst>
                <a:gd name="T0" fmla="*/ 0 w 145"/>
                <a:gd name="T1" fmla="*/ 0 h 161"/>
                <a:gd name="T2" fmla="*/ 23 w 145"/>
                <a:gd name="T3" fmla="*/ 0 h 161"/>
                <a:gd name="T4" fmla="*/ 57 w 145"/>
                <a:gd name="T5" fmla="*/ 90 h 161"/>
                <a:gd name="T6" fmla="*/ 73 w 145"/>
                <a:gd name="T7" fmla="*/ 133 h 161"/>
                <a:gd name="T8" fmla="*/ 73 w 145"/>
                <a:gd name="T9" fmla="*/ 133 h 161"/>
                <a:gd name="T10" fmla="*/ 89 w 145"/>
                <a:gd name="T11" fmla="*/ 90 h 161"/>
                <a:gd name="T12" fmla="*/ 124 w 145"/>
                <a:gd name="T13" fmla="*/ 0 h 161"/>
                <a:gd name="T14" fmla="*/ 145 w 145"/>
                <a:gd name="T15" fmla="*/ 0 h 161"/>
                <a:gd name="T16" fmla="*/ 84 w 145"/>
                <a:gd name="T17" fmla="*/ 161 h 161"/>
                <a:gd name="T18" fmla="*/ 62 w 145"/>
                <a:gd name="T19" fmla="*/ 161 h 161"/>
                <a:gd name="T20" fmla="*/ 0 w 145"/>
                <a:gd name="T21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5" h="161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62" y="104"/>
                    <a:pt x="67" y="118"/>
                    <a:pt x="73" y="133"/>
                  </a:cubicBezTo>
                  <a:cubicBezTo>
                    <a:pt x="73" y="133"/>
                    <a:pt x="73" y="133"/>
                    <a:pt x="73" y="133"/>
                  </a:cubicBezTo>
                  <a:cubicBezTo>
                    <a:pt x="79" y="118"/>
                    <a:pt x="84" y="104"/>
                    <a:pt x="89" y="9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84" y="161"/>
                    <a:pt x="84" y="161"/>
                    <a:pt x="84" y="161"/>
                  </a:cubicBezTo>
                  <a:cubicBezTo>
                    <a:pt x="62" y="161"/>
                    <a:pt x="62" y="161"/>
                    <a:pt x="62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875D6CEE-8A5C-4632-968D-932A5901A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60009" y="6115872"/>
              <a:ext cx="66654" cy="113253"/>
            </a:xfrm>
            <a:custGeom>
              <a:avLst/>
              <a:gdLst>
                <a:gd name="T0" fmla="*/ 0 w 226"/>
                <a:gd name="T1" fmla="*/ 0 h 384"/>
                <a:gd name="T2" fmla="*/ 221 w 226"/>
                <a:gd name="T3" fmla="*/ 0 h 384"/>
                <a:gd name="T4" fmla="*/ 221 w 226"/>
                <a:gd name="T5" fmla="*/ 45 h 384"/>
                <a:gd name="T6" fmla="*/ 50 w 226"/>
                <a:gd name="T7" fmla="*/ 45 h 384"/>
                <a:gd name="T8" fmla="*/ 50 w 226"/>
                <a:gd name="T9" fmla="*/ 162 h 384"/>
                <a:gd name="T10" fmla="*/ 199 w 226"/>
                <a:gd name="T11" fmla="*/ 162 h 384"/>
                <a:gd name="T12" fmla="*/ 199 w 226"/>
                <a:gd name="T13" fmla="*/ 207 h 384"/>
                <a:gd name="T14" fmla="*/ 50 w 226"/>
                <a:gd name="T15" fmla="*/ 207 h 384"/>
                <a:gd name="T16" fmla="*/ 50 w 226"/>
                <a:gd name="T17" fmla="*/ 338 h 384"/>
                <a:gd name="T18" fmla="*/ 226 w 226"/>
                <a:gd name="T19" fmla="*/ 338 h 384"/>
                <a:gd name="T20" fmla="*/ 226 w 226"/>
                <a:gd name="T21" fmla="*/ 384 h 384"/>
                <a:gd name="T22" fmla="*/ 0 w 226"/>
                <a:gd name="T23" fmla="*/ 384 h 384"/>
                <a:gd name="T24" fmla="*/ 0 w 226"/>
                <a:gd name="T25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" h="384">
                  <a:moveTo>
                    <a:pt x="0" y="0"/>
                  </a:moveTo>
                  <a:lnTo>
                    <a:pt x="221" y="0"/>
                  </a:lnTo>
                  <a:lnTo>
                    <a:pt x="221" y="45"/>
                  </a:lnTo>
                  <a:lnTo>
                    <a:pt x="50" y="45"/>
                  </a:lnTo>
                  <a:lnTo>
                    <a:pt x="50" y="162"/>
                  </a:lnTo>
                  <a:lnTo>
                    <a:pt x="199" y="162"/>
                  </a:lnTo>
                  <a:lnTo>
                    <a:pt x="199" y="207"/>
                  </a:lnTo>
                  <a:lnTo>
                    <a:pt x="50" y="207"/>
                  </a:lnTo>
                  <a:lnTo>
                    <a:pt x="50" y="338"/>
                  </a:lnTo>
                  <a:lnTo>
                    <a:pt x="226" y="338"/>
                  </a:lnTo>
                  <a:lnTo>
                    <a:pt x="226" y="384"/>
                  </a:lnTo>
                  <a:lnTo>
                    <a:pt x="0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A6DD66C5-B79D-4239-B301-865EE3CC39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50257" y="6114397"/>
              <a:ext cx="74322" cy="116792"/>
            </a:xfrm>
            <a:custGeom>
              <a:avLst/>
              <a:gdLst>
                <a:gd name="T0" fmla="*/ 4 w 106"/>
                <a:gd name="T1" fmla="*/ 130 h 166"/>
                <a:gd name="T2" fmla="*/ 52 w 106"/>
                <a:gd name="T3" fmla="*/ 146 h 166"/>
                <a:gd name="T4" fmla="*/ 85 w 106"/>
                <a:gd name="T5" fmla="*/ 120 h 166"/>
                <a:gd name="T6" fmla="*/ 45 w 106"/>
                <a:gd name="T7" fmla="*/ 90 h 166"/>
                <a:gd name="T8" fmla="*/ 0 w 106"/>
                <a:gd name="T9" fmla="*/ 45 h 166"/>
                <a:gd name="T10" fmla="*/ 52 w 106"/>
                <a:gd name="T11" fmla="*/ 0 h 166"/>
                <a:gd name="T12" fmla="*/ 99 w 106"/>
                <a:gd name="T13" fmla="*/ 12 h 166"/>
                <a:gd name="T14" fmla="*/ 99 w 106"/>
                <a:gd name="T15" fmla="*/ 34 h 166"/>
                <a:gd name="T16" fmla="*/ 52 w 106"/>
                <a:gd name="T17" fmla="*/ 19 h 166"/>
                <a:gd name="T18" fmla="*/ 21 w 106"/>
                <a:gd name="T19" fmla="*/ 43 h 166"/>
                <a:gd name="T20" fmla="*/ 59 w 106"/>
                <a:gd name="T21" fmla="*/ 72 h 166"/>
                <a:gd name="T22" fmla="*/ 106 w 106"/>
                <a:gd name="T23" fmla="*/ 119 h 166"/>
                <a:gd name="T24" fmla="*/ 52 w 106"/>
                <a:gd name="T25" fmla="*/ 166 h 166"/>
                <a:gd name="T26" fmla="*/ 4 w 106"/>
                <a:gd name="T27" fmla="*/ 153 h 166"/>
                <a:gd name="T28" fmla="*/ 4 w 106"/>
                <a:gd name="T29" fmla="*/ 13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6" h="166">
                  <a:moveTo>
                    <a:pt x="4" y="130"/>
                  </a:moveTo>
                  <a:cubicBezTo>
                    <a:pt x="19" y="141"/>
                    <a:pt x="38" y="146"/>
                    <a:pt x="52" y="146"/>
                  </a:cubicBezTo>
                  <a:cubicBezTo>
                    <a:pt x="71" y="146"/>
                    <a:pt x="85" y="138"/>
                    <a:pt x="85" y="120"/>
                  </a:cubicBezTo>
                  <a:cubicBezTo>
                    <a:pt x="85" y="99"/>
                    <a:pt x="66" y="96"/>
                    <a:pt x="45" y="90"/>
                  </a:cubicBezTo>
                  <a:cubicBezTo>
                    <a:pt x="22" y="83"/>
                    <a:pt x="0" y="74"/>
                    <a:pt x="0" y="45"/>
                  </a:cubicBezTo>
                  <a:cubicBezTo>
                    <a:pt x="0" y="16"/>
                    <a:pt x="21" y="0"/>
                    <a:pt x="52" y="0"/>
                  </a:cubicBezTo>
                  <a:cubicBezTo>
                    <a:pt x="67" y="0"/>
                    <a:pt x="86" y="4"/>
                    <a:pt x="99" y="12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84" y="24"/>
                    <a:pt x="66" y="19"/>
                    <a:pt x="52" y="19"/>
                  </a:cubicBezTo>
                  <a:cubicBezTo>
                    <a:pt x="34" y="19"/>
                    <a:pt x="21" y="27"/>
                    <a:pt x="21" y="43"/>
                  </a:cubicBezTo>
                  <a:cubicBezTo>
                    <a:pt x="21" y="63"/>
                    <a:pt x="40" y="67"/>
                    <a:pt x="59" y="72"/>
                  </a:cubicBezTo>
                  <a:cubicBezTo>
                    <a:pt x="83" y="79"/>
                    <a:pt x="106" y="88"/>
                    <a:pt x="106" y="119"/>
                  </a:cubicBezTo>
                  <a:cubicBezTo>
                    <a:pt x="106" y="148"/>
                    <a:pt x="84" y="166"/>
                    <a:pt x="52" y="166"/>
                  </a:cubicBezTo>
                  <a:cubicBezTo>
                    <a:pt x="37" y="166"/>
                    <a:pt x="18" y="161"/>
                    <a:pt x="4" y="153"/>
                  </a:cubicBezTo>
                  <a:lnTo>
                    <a:pt x="4" y="13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C62E8015-31FC-40BB-BF70-FCA99B5D17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35786" y="6115872"/>
              <a:ext cx="90248" cy="113253"/>
            </a:xfrm>
            <a:custGeom>
              <a:avLst/>
              <a:gdLst>
                <a:gd name="T0" fmla="*/ 128 w 306"/>
                <a:gd name="T1" fmla="*/ 45 h 384"/>
                <a:gd name="T2" fmla="*/ 0 w 306"/>
                <a:gd name="T3" fmla="*/ 45 h 384"/>
                <a:gd name="T4" fmla="*/ 0 w 306"/>
                <a:gd name="T5" fmla="*/ 0 h 384"/>
                <a:gd name="T6" fmla="*/ 306 w 306"/>
                <a:gd name="T7" fmla="*/ 0 h 384"/>
                <a:gd name="T8" fmla="*/ 306 w 306"/>
                <a:gd name="T9" fmla="*/ 45 h 384"/>
                <a:gd name="T10" fmla="*/ 178 w 306"/>
                <a:gd name="T11" fmla="*/ 45 h 384"/>
                <a:gd name="T12" fmla="*/ 178 w 306"/>
                <a:gd name="T13" fmla="*/ 384 h 384"/>
                <a:gd name="T14" fmla="*/ 128 w 306"/>
                <a:gd name="T15" fmla="*/ 384 h 384"/>
                <a:gd name="T16" fmla="*/ 128 w 306"/>
                <a:gd name="T17" fmla="*/ 45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6" h="384">
                  <a:moveTo>
                    <a:pt x="128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306" y="0"/>
                  </a:lnTo>
                  <a:lnTo>
                    <a:pt x="306" y="45"/>
                  </a:lnTo>
                  <a:lnTo>
                    <a:pt x="178" y="45"/>
                  </a:lnTo>
                  <a:lnTo>
                    <a:pt x="178" y="384"/>
                  </a:lnTo>
                  <a:lnTo>
                    <a:pt x="128" y="384"/>
                  </a:lnTo>
                  <a:lnTo>
                    <a:pt x="128" y="4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270D0C29-CCCB-4467-B960-D9AC772097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4066" y="6270414"/>
              <a:ext cx="153953" cy="113253"/>
            </a:xfrm>
            <a:custGeom>
              <a:avLst/>
              <a:gdLst>
                <a:gd name="T0" fmla="*/ 0 w 220"/>
                <a:gd name="T1" fmla="*/ 0 h 161"/>
                <a:gd name="T2" fmla="*/ 22 w 220"/>
                <a:gd name="T3" fmla="*/ 0 h 161"/>
                <a:gd name="T4" fmla="*/ 49 w 220"/>
                <a:gd name="T5" fmla="*/ 87 h 161"/>
                <a:gd name="T6" fmla="*/ 62 w 220"/>
                <a:gd name="T7" fmla="*/ 129 h 161"/>
                <a:gd name="T8" fmla="*/ 62 w 220"/>
                <a:gd name="T9" fmla="*/ 129 h 161"/>
                <a:gd name="T10" fmla="*/ 75 w 220"/>
                <a:gd name="T11" fmla="*/ 87 h 161"/>
                <a:gd name="T12" fmla="*/ 103 w 220"/>
                <a:gd name="T13" fmla="*/ 0 h 161"/>
                <a:gd name="T14" fmla="*/ 118 w 220"/>
                <a:gd name="T15" fmla="*/ 0 h 161"/>
                <a:gd name="T16" fmla="*/ 145 w 220"/>
                <a:gd name="T17" fmla="*/ 87 h 161"/>
                <a:gd name="T18" fmla="*/ 158 w 220"/>
                <a:gd name="T19" fmla="*/ 129 h 161"/>
                <a:gd name="T20" fmla="*/ 159 w 220"/>
                <a:gd name="T21" fmla="*/ 129 h 161"/>
                <a:gd name="T22" fmla="*/ 171 w 220"/>
                <a:gd name="T23" fmla="*/ 87 h 161"/>
                <a:gd name="T24" fmla="*/ 198 w 220"/>
                <a:gd name="T25" fmla="*/ 0 h 161"/>
                <a:gd name="T26" fmla="*/ 220 w 220"/>
                <a:gd name="T27" fmla="*/ 0 h 161"/>
                <a:gd name="T28" fmla="*/ 170 w 220"/>
                <a:gd name="T29" fmla="*/ 161 h 161"/>
                <a:gd name="T30" fmla="*/ 147 w 220"/>
                <a:gd name="T31" fmla="*/ 161 h 161"/>
                <a:gd name="T32" fmla="*/ 121 w 220"/>
                <a:gd name="T33" fmla="*/ 79 h 161"/>
                <a:gd name="T34" fmla="*/ 110 w 220"/>
                <a:gd name="T35" fmla="*/ 42 h 161"/>
                <a:gd name="T36" fmla="*/ 110 w 220"/>
                <a:gd name="T37" fmla="*/ 42 h 161"/>
                <a:gd name="T38" fmla="*/ 98 w 220"/>
                <a:gd name="T39" fmla="*/ 79 h 161"/>
                <a:gd name="T40" fmla="*/ 73 w 220"/>
                <a:gd name="T41" fmla="*/ 161 h 161"/>
                <a:gd name="T42" fmla="*/ 50 w 220"/>
                <a:gd name="T43" fmla="*/ 161 h 161"/>
                <a:gd name="T44" fmla="*/ 0 w 220"/>
                <a:gd name="T45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0" h="161">
                  <a:moveTo>
                    <a:pt x="0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54" y="101"/>
                    <a:pt x="58" y="115"/>
                    <a:pt x="62" y="129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66" y="115"/>
                    <a:pt x="71" y="101"/>
                    <a:pt x="75" y="87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45" y="87"/>
                    <a:pt x="145" y="87"/>
                    <a:pt x="145" y="87"/>
                  </a:cubicBezTo>
                  <a:cubicBezTo>
                    <a:pt x="150" y="101"/>
                    <a:pt x="154" y="115"/>
                    <a:pt x="158" y="129"/>
                  </a:cubicBezTo>
                  <a:cubicBezTo>
                    <a:pt x="159" y="129"/>
                    <a:pt x="159" y="129"/>
                    <a:pt x="159" y="129"/>
                  </a:cubicBezTo>
                  <a:cubicBezTo>
                    <a:pt x="163" y="115"/>
                    <a:pt x="167" y="101"/>
                    <a:pt x="171" y="87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170" y="161"/>
                    <a:pt x="170" y="161"/>
                    <a:pt x="170" y="161"/>
                  </a:cubicBezTo>
                  <a:cubicBezTo>
                    <a:pt x="147" y="161"/>
                    <a:pt x="147" y="161"/>
                    <a:pt x="147" y="161"/>
                  </a:cubicBezTo>
                  <a:cubicBezTo>
                    <a:pt x="121" y="79"/>
                    <a:pt x="121" y="79"/>
                    <a:pt x="121" y="79"/>
                  </a:cubicBezTo>
                  <a:cubicBezTo>
                    <a:pt x="117" y="66"/>
                    <a:pt x="114" y="54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06" y="54"/>
                    <a:pt x="102" y="67"/>
                    <a:pt x="98" y="79"/>
                  </a:cubicBezTo>
                  <a:cubicBezTo>
                    <a:pt x="73" y="161"/>
                    <a:pt x="73" y="161"/>
                    <a:pt x="73" y="161"/>
                  </a:cubicBezTo>
                  <a:cubicBezTo>
                    <a:pt x="50" y="161"/>
                    <a:pt x="50" y="161"/>
                    <a:pt x="50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5C85FB6A-2060-4D3C-ABA7-7A9AAF53A57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490111" y="6268940"/>
              <a:ext cx="114727" cy="115907"/>
            </a:xfrm>
            <a:custGeom>
              <a:avLst/>
              <a:gdLst>
                <a:gd name="T0" fmla="*/ 82 w 164"/>
                <a:gd name="T1" fmla="*/ 0 h 165"/>
                <a:gd name="T2" fmla="*/ 164 w 164"/>
                <a:gd name="T3" fmla="*/ 82 h 165"/>
                <a:gd name="T4" fmla="*/ 82 w 164"/>
                <a:gd name="T5" fmla="*/ 165 h 165"/>
                <a:gd name="T6" fmla="*/ 0 w 164"/>
                <a:gd name="T7" fmla="*/ 82 h 165"/>
                <a:gd name="T8" fmla="*/ 82 w 164"/>
                <a:gd name="T9" fmla="*/ 0 h 165"/>
                <a:gd name="T10" fmla="*/ 82 w 164"/>
                <a:gd name="T11" fmla="*/ 146 h 165"/>
                <a:gd name="T12" fmla="*/ 143 w 164"/>
                <a:gd name="T13" fmla="*/ 82 h 165"/>
                <a:gd name="T14" fmla="*/ 82 w 164"/>
                <a:gd name="T15" fmla="*/ 19 h 165"/>
                <a:gd name="T16" fmla="*/ 22 w 164"/>
                <a:gd name="T17" fmla="*/ 82 h 165"/>
                <a:gd name="T18" fmla="*/ 82 w 164"/>
                <a:gd name="T19" fmla="*/ 146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5">
                  <a:moveTo>
                    <a:pt x="82" y="0"/>
                  </a:moveTo>
                  <a:cubicBezTo>
                    <a:pt x="129" y="0"/>
                    <a:pt x="164" y="36"/>
                    <a:pt x="164" y="82"/>
                  </a:cubicBezTo>
                  <a:cubicBezTo>
                    <a:pt x="164" y="129"/>
                    <a:pt x="129" y="165"/>
                    <a:pt x="82" y="165"/>
                  </a:cubicBezTo>
                  <a:cubicBezTo>
                    <a:pt x="36" y="165"/>
                    <a:pt x="0" y="129"/>
                    <a:pt x="0" y="82"/>
                  </a:cubicBezTo>
                  <a:cubicBezTo>
                    <a:pt x="0" y="36"/>
                    <a:pt x="36" y="0"/>
                    <a:pt x="82" y="0"/>
                  </a:cubicBezTo>
                  <a:close/>
                  <a:moveTo>
                    <a:pt x="82" y="146"/>
                  </a:moveTo>
                  <a:cubicBezTo>
                    <a:pt x="117" y="146"/>
                    <a:pt x="143" y="118"/>
                    <a:pt x="143" y="82"/>
                  </a:cubicBezTo>
                  <a:cubicBezTo>
                    <a:pt x="143" y="47"/>
                    <a:pt x="117" y="19"/>
                    <a:pt x="82" y="19"/>
                  </a:cubicBezTo>
                  <a:cubicBezTo>
                    <a:pt x="47" y="19"/>
                    <a:pt x="22" y="47"/>
                    <a:pt x="22" y="82"/>
                  </a:cubicBezTo>
                  <a:cubicBezTo>
                    <a:pt x="22" y="118"/>
                    <a:pt x="47" y="146"/>
                    <a:pt x="82" y="14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3E341B19-7C32-4D70-9632-114537945E2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631382" y="6270414"/>
              <a:ext cx="86119" cy="113253"/>
            </a:xfrm>
            <a:custGeom>
              <a:avLst/>
              <a:gdLst>
                <a:gd name="T0" fmla="*/ 0 w 123"/>
                <a:gd name="T1" fmla="*/ 0 h 161"/>
                <a:gd name="T2" fmla="*/ 43 w 123"/>
                <a:gd name="T3" fmla="*/ 0 h 161"/>
                <a:gd name="T4" fmla="*/ 88 w 123"/>
                <a:gd name="T5" fmla="*/ 8 h 161"/>
                <a:gd name="T6" fmla="*/ 111 w 123"/>
                <a:gd name="T7" fmla="*/ 46 h 161"/>
                <a:gd name="T8" fmla="*/ 90 w 123"/>
                <a:gd name="T9" fmla="*/ 83 h 161"/>
                <a:gd name="T10" fmla="*/ 71 w 123"/>
                <a:gd name="T11" fmla="*/ 90 h 161"/>
                <a:gd name="T12" fmla="*/ 123 w 123"/>
                <a:gd name="T13" fmla="*/ 161 h 161"/>
                <a:gd name="T14" fmla="*/ 97 w 123"/>
                <a:gd name="T15" fmla="*/ 161 h 161"/>
                <a:gd name="T16" fmla="*/ 48 w 123"/>
                <a:gd name="T17" fmla="*/ 92 h 161"/>
                <a:gd name="T18" fmla="*/ 21 w 123"/>
                <a:gd name="T19" fmla="*/ 92 h 161"/>
                <a:gd name="T20" fmla="*/ 21 w 123"/>
                <a:gd name="T21" fmla="*/ 161 h 161"/>
                <a:gd name="T22" fmla="*/ 0 w 123"/>
                <a:gd name="T23" fmla="*/ 161 h 161"/>
                <a:gd name="T24" fmla="*/ 0 w 123"/>
                <a:gd name="T25" fmla="*/ 0 h 161"/>
                <a:gd name="T26" fmla="*/ 48 w 123"/>
                <a:gd name="T27" fmla="*/ 75 h 161"/>
                <a:gd name="T28" fmla="*/ 80 w 123"/>
                <a:gd name="T29" fmla="*/ 67 h 161"/>
                <a:gd name="T30" fmla="*/ 89 w 123"/>
                <a:gd name="T31" fmla="*/ 47 h 161"/>
                <a:gd name="T32" fmla="*/ 76 w 123"/>
                <a:gd name="T33" fmla="*/ 25 h 161"/>
                <a:gd name="T34" fmla="*/ 42 w 123"/>
                <a:gd name="T35" fmla="*/ 19 h 161"/>
                <a:gd name="T36" fmla="*/ 21 w 123"/>
                <a:gd name="T37" fmla="*/ 19 h 161"/>
                <a:gd name="T38" fmla="*/ 21 w 123"/>
                <a:gd name="T39" fmla="*/ 75 h 161"/>
                <a:gd name="T40" fmla="*/ 48 w 123"/>
                <a:gd name="T41" fmla="*/ 75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3" h="161">
                  <a:moveTo>
                    <a:pt x="0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60" y="0"/>
                    <a:pt x="75" y="1"/>
                    <a:pt x="88" y="8"/>
                  </a:cubicBezTo>
                  <a:cubicBezTo>
                    <a:pt x="102" y="15"/>
                    <a:pt x="111" y="28"/>
                    <a:pt x="111" y="46"/>
                  </a:cubicBezTo>
                  <a:cubicBezTo>
                    <a:pt x="111" y="63"/>
                    <a:pt x="102" y="76"/>
                    <a:pt x="90" y="83"/>
                  </a:cubicBezTo>
                  <a:cubicBezTo>
                    <a:pt x="84" y="87"/>
                    <a:pt x="78" y="89"/>
                    <a:pt x="71" y="90"/>
                  </a:cubicBezTo>
                  <a:cubicBezTo>
                    <a:pt x="123" y="161"/>
                    <a:pt x="123" y="161"/>
                    <a:pt x="123" y="161"/>
                  </a:cubicBezTo>
                  <a:cubicBezTo>
                    <a:pt x="97" y="161"/>
                    <a:pt x="97" y="161"/>
                    <a:pt x="97" y="161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0" y="161"/>
                    <a:pt x="0" y="161"/>
                    <a:pt x="0" y="161"/>
                  </a:cubicBezTo>
                  <a:lnTo>
                    <a:pt x="0" y="0"/>
                  </a:lnTo>
                  <a:close/>
                  <a:moveTo>
                    <a:pt x="48" y="75"/>
                  </a:moveTo>
                  <a:cubicBezTo>
                    <a:pt x="63" y="75"/>
                    <a:pt x="73" y="73"/>
                    <a:pt x="80" y="67"/>
                  </a:cubicBezTo>
                  <a:cubicBezTo>
                    <a:pt x="86" y="63"/>
                    <a:pt x="89" y="56"/>
                    <a:pt x="89" y="47"/>
                  </a:cubicBezTo>
                  <a:cubicBezTo>
                    <a:pt x="89" y="37"/>
                    <a:pt x="85" y="29"/>
                    <a:pt x="76" y="25"/>
                  </a:cubicBezTo>
                  <a:cubicBezTo>
                    <a:pt x="68" y="20"/>
                    <a:pt x="57" y="19"/>
                    <a:pt x="42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75"/>
                    <a:pt x="21" y="75"/>
                    <a:pt x="21" y="75"/>
                  </a:cubicBezTo>
                  <a:lnTo>
                    <a:pt x="48" y="7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15">
              <a:extLst>
                <a:ext uri="{FF2B5EF4-FFF2-40B4-BE49-F238E27FC236}">
                  <a16:creationId xmlns:a16="http://schemas.microsoft.com/office/drawing/2014/main" id="{42A3DF8E-CBD0-4160-8CA0-10BD54FA60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44929" y="6270414"/>
              <a:ext cx="86709" cy="113253"/>
            </a:xfrm>
            <a:custGeom>
              <a:avLst/>
              <a:gdLst>
                <a:gd name="T0" fmla="*/ 0 w 294"/>
                <a:gd name="T1" fmla="*/ 0 h 384"/>
                <a:gd name="T2" fmla="*/ 49 w 294"/>
                <a:gd name="T3" fmla="*/ 0 h 384"/>
                <a:gd name="T4" fmla="*/ 49 w 294"/>
                <a:gd name="T5" fmla="*/ 174 h 384"/>
                <a:gd name="T6" fmla="*/ 49 w 294"/>
                <a:gd name="T7" fmla="*/ 174 h 384"/>
                <a:gd name="T8" fmla="*/ 216 w 294"/>
                <a:gd name="T9" fmla="*/ 0 h 384"/>
                <a:gd name="T10" fmla="*/ 280 w 294"/>
                <a:gd name="T11" fmla="*/ 0 h 384"/>
                <a:gd name="T12" fmla="*/ 106 w 294"/>
                <a:gd name="T13" fmla="*/ 179 h 384"/>
                <a:gd name="T14" fmla="*/ 294 w 294"/>
                <a:gd name="T15" fmla="*/ 384 h 384"/>
                <a:gd name="T16" fmla="*/ 227 w 294"/>
                <a:gd name="T17" fmla="*/ 384 h 384"/>
                <a:gd name="T18" fmla="*/ 49 w 294"/>
                <a:gd name="T19" fmla="*/ 186 h 384"/>
                <a:gd name="T20" fmla="*/ 49 w 294"/>
                <a:gd name="T21" fmla="*/ 186 h 384"/>
                <a:gd name="T22" fmla="*/ 49 w 294"/>
                <a:gd name="T23" fmla="*/ 384 h 384"/>
                <a:gd name="T24" fmla="*/ 0 w 294"/>
                <a:gd name="T25" fmla="*/ 384 h 384"/>
                <a:gd name="T26" fmla="*/ 0 w 294"/>
                <a:gd name="T27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384">
                  <a:moveTo>
                    <a:pt x="0" y="0"/>
                  </a:moveTo>
                  <a:lnTo>
                    <a:pt x="49" y="0"/>
                  </a:lnTo>
                  <a:lnTo>
                    <a:pt x="49" y="174"/>
                  </a:lnTo>
                  <a:lnTo>
                    <a:pt x="49" y="174"/>
                  </a:lnTo>
                  <a:lnTo>
                    <a:pt x="216" y="0"/>
                  </a:lnTo>
                  <a:lnTo>
                    <a:pt x="280" y="0"/>
                  </a:lnTo>
                  <a:lnTo>
                    <a:pt x="106" y="179"/>
                  </a:lnTo>
                  <a:lnTo>
                    <a:pt x="294" y="384"/>
                  </a:lnTo>
                  <a:lnTo>
                    <a:pt x="227" y="384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384"/>
                  </a:lnTo>
                  <a:lnTo>
                    <a:pt x="0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16">
              <a:extLst>
                <a:ext uri="{FF2B5EF4-FFF2-40B4-BE49-F238E27FC236}">
                  <a16:creationId xmlns:a16="http://schemas.microsoft.com/office/drawing/2014/main" id="{A60C034D-DF67-477E-9F05-077DAEC6E2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67106" y="6424367"/>
              <a:ext cx="66359" cy="112958"/>
            </a:xfrm>
            <a:custGeom>
              <a:avLst/>
              <a:gdLst>
                <a:gd name="T0" fmla="*/ 0 w 225"/>
                <a:gd name="T1" fmla="*/ 0 h 383"/>
                <a:gd name="T2" fmla="*/ 225 w 225"/>
                <a:gd name="T3" fmla="*/ 0 h 383"/>
                <a:gd name="T4" fmla="*/ 225 w 225"/>
                <a:gd name="T5" fmla="*/ 45 h 383"/>
                <a:gd name="T6" fmla="*/ 49 w 225"/>
                <a:gd name="T7" fmla="*/ 45 h 383"/>
                <a:gd name="T8" fmla="*/ 49 w 225"/>
                <a:gd name="T9" fmla="*/ 169 h 383"/>
                <a:gd name="T10" fmla="*/ 204 w 225"/>
                <a:gd name="T11" fmla="*/ 169 h 383"/>
                <a:gd name="T12" fmla="*/ 204 w 225"/>
                <a:gd name="T13" fmla="*/ 214 h 383"/>
                <a:gd name="T14" fmla="*/ 49 w 225"/>
                <a:gd name="T15" fmla="*/ 214 h 383"/>
                <a:gd name="T16" fmla="*/ 49 w 225"/>
                <a:gd name="T17" fmla="*/ 383 h 383"/>
                <a:gd name="T18" fmla="*/ 0 w 225"/>
                <a:gd name="T19" fmla="*/ 383 h 383"/>
                <a:gd name="T20" fmla="*/ 0 w 225"/>
                <a:gd name="T21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5" h="383">
                  <a:moveTo>
                    <a:pt x="0" y="0"/>
                  </a:moveTo>
                  <a:lnTo>
                    <a:pt x="225" y="0"/>
                  </a:lnTo>
                  <a:lnTo>
                    <a:pt x="225" y="45"/>
                  </a:lnTo>
                  <a:lnTo>
                    <a:pt x="49" y="45"/>
                  </a:lnTo>
                  <a:lnTo>
                    <a:pt x="49" y="169"/>
                  </a:lnTo>
                  <a:lnTo>
                    <a:pt x="204" y="169"/>
                  </a:lnTo>
                  <a:lnTo>
                    <a:pt x="204" y="214"/>
                  </a:lnTo>
                  <a:lnTo>
                    <a:pt x="49" y="214"/>
                  </a:lnTo>
                  <a:lnTo>
                    <a:pt x="49" y="383"/>
                  </a:lnTo>
                  <a:lnTo>
                    <a:pt x="0" y="3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Rectangle 17">
              <a:extLst>
                <a:ext uri="{FF2B5EF4-FFF2-40B4-BE49-F238E27FC236}">
                  <a16:creationId xmlns:a16="http://schemas.microsoft.com/office/drawing/2014/main" id="{D61A07B3-BEDD-45ED-889D-F939DCA5D70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565023" y="6424367"/>
              <a:ext cx="14746" cy="11295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18">
              <a:extLst>
                <a:ext uri="{FF2B5EF4-FFF2-40B4-BE49-F238E27FC236}">
                  <a16:creationId xmlns:a16="http://schemas.microsoft.com/office/drawing/2014/main" id="{BB0A61BA-4742-4090-A0CE-F9A6537B11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15455" y="6424367"/>
              <a:ext cx="67834" cy="112958"/>
            </a:xfrm>
            <a:custGeom>
              <a:avLst/>
              <a:gdLst>
                <a:gd name="T0" fmla="*/ 0 w 230"/>
                <a:gd name="T1" fmla="*/ 0 h 383"/>
                <a:gd name="T2" fmla="*/ 49 w 230"/>
                <a:gd name="T3" fmla="*/ 0 h 383"/>
                <a:gd name="T4" fmla="*/ 49 w 230"/>
                <a:gd name="T5" fmla="*/ 338 h 383"/>
                <a:gd name="T6" fmla="*/ 230 w 230"/>
                <a:gd name="T7" fmla="*/ 338 h 383"/>
                <a:gd name="T8" fmla="*/ 230 w 230"/>
                <a:gd name="T9" fmla="*/ 383 h 383"/>
                <a:gd name="T10" fmla="*/ 0 w 230"/>
                <a:gd name="T11" fmla="*/ 383 h 383"/>
                <a:gd name="T12" fmla="*/ 0 w 230"/>
                <a:gd name="T13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0" h="383">
                  <a:moveTo>
                    <a:pt x="0" y="0"/>
                  </a:moveTo>
                  <a:lnTo>
                    <a:pt x="49" y="0"/>
                  </a:lnTo>
                  <a:lnTo>
                    <a:pt x="49" y="338"/>
                  </a:lnTo>
                  <a:lnTo>
                    <a:pt x="230" y="338"/>
                  </a:lnTo>
                  <a:lnTo>
                    <a:pt x="230" y="383"/>
                  </a:lnTo>
                  <a:lnTo>
                    <a:pt x="0" y="3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19">
              <a:extLst>
                <a:ext uri="{FF2B5EF4-FFF2-40B4-BE49-F238E27FC236}">
                  <a16:creationId xmlns:a16="http://schemas.microsoft.com/office/drawing/2014/main" id="{DC4A937F-B0EC-41AA-B2F9-149C9CDB35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08358" y="6424367"/>
              <a:ext cx="108534" cy="112958"/>
            </a:xfrm>
            <a:custGeom>
              <a:avLst/>
              <a:gdLst>
                <a:gd name="T0" fmla="*/ 42 w 155"/>
                <a:gd name="T1" fmla="*/ 67 h 161"/>
                <a:gd name="T2" fmla="*/ 20 w 155"/>
                <a:gd name="T3" fmla="*/ 35 h 161"/>
                <a:gd name="T4" fmla="*/ 20 w 155"/>
                <a:gd name="T5" fmla="*/ 36 h 161"/>
                <a:gd name="T6" fmla="*/ 20 w 155"/>
                <a:gd name="T7" fmla="*/ 71 h 161"/>
                <a:gd name="T8" fmla="*/ 20 w 155"/>
                <a:gd name="T9" fmla="*/ 161 h 161"/>
                <a:gd name="T10" fmla="*/ 0 w 155"/>
                <a:gd name="T11" fmla="*/ 161 h 161"/>
                <a:gd name="T12" fmla="*/ 0 w 155"/>
                <a:gd name="T13" fmla="*/ 0 h 161"/>
                <a:gd name="T14" fmla="*/ 20 w 155"/>
                <a:gd name="T15" fmla="*/ 0 h 161"/>
                <a:gd name="T16" fmla="*/ 78 w 155"/>
                <a:gd name="T17" fmla="*/ 82 h 161"/>
                <a:gd name="T18" fmla="*/ 135 w 155"/>
                <a:gd name="T19" fmla="*/ 0 h 161"/>
                <a:gd name="T20" fmla="*/ 155 w 155"/>
                <a:gd name="T21" fmla="*/ 0 h 161"/>
                <a:gd name="T22" fmla="*/ 155 w 155"/>
                <a:gd name="T23" fmla="*/ 161 h 161"/>
                <a:gd name="T24" fmla="*/ 134 w 155"/>
                <a:gd name="T25" fmla="*/ 161 h 161"/>
                <a:gd name="T26" fmla="*/ 134 w 155"/>
                <a:gd name="T27" fmla="*/ 71 h 161"/>
                <a:gd name="T28" fmla="*/ 134 w 155"/>
                <a:gd name="T29" fmla="*/ 36 h 161"/>
                <a:gd name="T30" fmla="*/ 134 w 155"/>
                <a:gd name="T31" fmla="*/ 35 h 161"/>
                <a:gd name="T32" fmla="*/ 112 w 155"/>
                <a:gd name="T33" fmla="*/ 67 h 161"/>
                <a:gd name="T34" fmla="*/ 77 w 155"/>
                <a:gd name="T35" fmla="*/ 117 h 161"/>
                <a:gd name="T36" fmla="*/ 42 w 155"/>
                <a:gd name="T37" fmla="*/ 6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61">
                  <a:moveTo>
                    <a:pt x="42" y="67"/>
                  </a:moveTo>
                  <a:cubicBezTo>
                    <a:pt x="35" y="57"/>
                    <a:pt x="28" y="46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45"/>
                    <a:pt x="20" y="57"/>
                    <a:pt x="20" y="71"/>
                  </a:cubicBezTo>
                  <a:cubicBezTo>
                    <a:pt x="20" y="161"/>
                    <a:pt x="20" y="161"/>
                    <a:pt x="2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5" y="161"/>
                    <a:pt x="155" y="161"/>
                    <a:pt x="155" y="161"/>
                  </a:cubicBezTo>
                  <a:cubicBezTo>
                    <a:pt x="134" y="161"/>
                    <a:pt x="134" y="161"/>
                    <a:pt x="134" y="161"/>
                  </a:cubicBezTo>
                  <a:cubicBezTo>
                    <a:pt x="134" y="71"/>
                    <a:pt x="134" y="71"/>
                    <a:pt x="134" y="71"/>
                  </a:cubicBezTo>
                  <a:cubicBezTo>
                    <a:pt x="134" y="57"/>
                    <a:pt x="134" y="45"/>
                    <a:pt x="134" y="36"/>
                  </a:cubicBezTo>
                  <a:cubicBezTo>
                    <a:pt x="134" y="35"/>
                    <a:pt x="134" y="35"/>
                    <a:pt x="134" y="35"/>
                  </a:cubicBezTo>
                  <a:cubicBezTo>
                    <a:pt x="127" y="46"/>
                    <a:pt x="120" y="57"/>
                    <a:pt x="112" y="67"/>
                  </a:cubicBezTo>
                  <a:cubicBezTo>
                    <a:pt x="77" y="117"/>
                    <a:pt x="77" y="117"/>
                    <a:pt x="77" y="117"/>
                  </a:cubicBezTo>
                  <a:lnTo>
                    <a:pt x="42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20">
              <a:extLst>
                <a:ext uri="{FF2B5EF4-FFF2-40B4-BE49-F238E27FC236}">
                  <a16:creationId xmlns:a16="http://schemas.microsoft.com/office/drawing/2014/main" id="{EACB37AB-5CE8-42A6-AC6B-0D64CC6B82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9018" y="6115872"/>
              <a:ext cx="510226" cy="421453"/>
            </a:xfrm>
            <a:custGeom>
              <a:avLst/>
              <a:gdLst>
                <a:gd name="T0" fmla="*/ 318 w 1730"/>
                <a:gd name="T1" fmla="*/ 1429 h 1429"/>
                <a:gd name="T2" fmla="*/ 0 w 1730"/>
                <a:gd name="T3" fmla="*/ 1429 h 1429"/>
                <a:gd name="T4" fmla="*/ 721 w 1730"/>
                <a:gd name="T5" fmla="*/ 0 h 1429"/>
                <a:gd name="T6" fmla="*/ 1008 w 1730"/>
                <a:gd name="T7" fmla="*/ 0 h 1429"/>
                <a:gd name="T8" fmla="*/ 1730 w 1730"/>
                <a:gd name="T9" fmla="*/ 1429 h 1429"/>
                <a:gd name="T10" fmla="*/ 1404 w 1730"/>
                <a:gd name="T11" fmla="*/ 1429 h 1429"/>
                <a:gd name="T12" fmla="*/ 861 w 1730"/>
                <a:gd name="T13" fmla="*/ 376 h 1429"/>
                <a:gd name="T14" fmla="*/ 318 w 1730"/>
                <a:gd name="T15" fmla="*/ 1429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0" h="1429">
                  <a:moveTo>
                    <a:pt x="318" y="1429"/>
                  </a:moveTo>
                  <a:lnTo>
                    <a:pt x="0" y="1429"/>
                  </a:lnTo>
                  <a:lnTo>
                    <a:pt x="721" y="0"/>
                  </a:lnTo>
                  <a:lnTo>
                    <a:pt x="1008" y="0"/>
                  </a:lnTo>
                  <a:lnTo>
                    <a:pt x="1730" y="1429"/>
                  </a:lnTo>
                  <a:lnTo>
                    <a:pt x="1404" y="1429"/>
                  </a:lnTo>
                  <a:lnTo>
                    <a:pt x="861" y="376"/>
                  </a:lnTo>
                  <a:lnTo>
                    <a:pt x="318" y="14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21">
              <a:extLst>
                <a:ext uri="{FF2B5EF4-FFF2-40B4-BE49-F238E27FC236}">
                  <a16:creationId xmlns:a16="http://schemas.microsoft.com/office/drawing/2014/main" id="{C8583E7B-E3FF-45F1-B456-440DDD8928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82949" y="6118821"/>
              <a:ext cx="353914" cy="418504"/>
            </a:xfrm>
            <a:custGeom>
              <a:avLst/>
              <a:gdLst>
                <a:gd name="T0" fmla="*/ 0 w 506"/>
                <a:gd name="T1" fmla="*/ 596 h 596"/>
                <a:gd name="T2" fmla="*/ 74 w 506"/>
                <a:gd name="T3" fmla="*/ 596 h 596"/>
                <a:gd name="T4" fmla="*/ 127 w 506"/>
                <a:gd name="T5" fmla="*/ 596 h 596"/>
                <a:gd name="T6" fmla="*/ 283 w 506"/>
                <a:gd name="T7" fmla="*/ 596 h 596"/>
                <a:gd name="T8" fmla="*/ 506 w 506"/>
                <a:gd name="T9" fmla="*/ 433 h 596"/>
                <a:gd name="T10" fmla="*/ 395 w 506"/>
                <a:gd name="T11" fmla="*/ 285 h 596"/>
                <a:gd name="T12" fmla="*/ 473 w 506"/>
                <a:gd name="T13" fmla="*/ 156 h 596"/>
                <a:gd name="T14" fmla="*/ 432 w 506"/>
                <a:gd name="T15" fmla="*/ 53 h 596"/>
                <a:gd name="T16" fmla="*/ 276 w 506"/>
                <a:gd name="T17" fmla="*/ 0 h 596"/>
                <a:gd name="T18" fmla="*/ 0 w 506"/>
                <a:gd name="T19" fmla="*/ 0 h 596"/>
                <a:gd name="T20" fmla="*/ 0 w 506"/>
                <a:gd name="T21" fmla="*/ 115 h 596"/>
                <a:gd name="T22" fmla="*/ 257 w 506"/>
                <a:gd name="T23" fmla="*/ 115 h 596"/>
                <a:gd name="T24" fmla="*/ 343 w 506"/>
                <a:gd name="T25" fmla="*/ 177 h 596"/>
                <a:gd name="T26" fmla="*/ 248 w 506"/>
                <a:gd name="T27" fmla="*/ 241 h 596"/>
                <a:gd name="T28" fmla="*/ 0 w 506"/>
                <a:gd name="T29" fmla="*/ 241 h 596"/>
                <a:gd name="T30" fmla="*/ 0 w 506"/>
                <a:gd name="T31" fmla="*/ 596 h 596"/>
                <a:gd name="T32" fmla="*/ 283 w 506"/>
                <a:gd name="T33" fmla="*/ 481 h 596"/>
                <a:gd name="T34" fmla="*/ 127 w 506"/>
                <a:gd name="T35" fmla="*/ 481 h 596"/>
                <a:gd name="T36" fmla="*/ 127 w 506"/>
                <a:gd name="T37" fmla="*/ 350 h 596"/>
                <a:gd name="T38" fmla="*/ 279 w 506"/>
                <a:gd name="T39" fmla="*/ 350 h 596"/>
                <a:gd name="T40" fmla="*/ 376 w 506"/>
                <a:gd name="T41" fmla="*/ 415 h 596"/>
                <a:gd name="T42" fmla="*/ 283 w 506"/>
                <a:gd name="T43" fmla="*/ 481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06" h="596">
                  <a:moveTo>
                    <a:pt x="0" y="596"/>
                  </a:moveTo>
                  <a:cubicBezTo>
                    <a:pt x="74" y="596"/>
                    <a:pt x="74" y="596"/>
                    <a:pt x="74" y="596"/>
                  </a:cubicBezTo>
                  <a:cubicBezTo>
                    <a:pt x="127" y="596"/>
                    <a:pt x="127" y="596"/>
                    <a:pt x="127" y="596"/>
                  </a:cubicBezTo>
                  <a:cubicBezTo>
                    <a:pt x="283" y="596"/>
                    <a:pt x="283" y="596"/>
                    <a:pt x="283" y="596"/>
                  </a:cubicBezTo>
                  <a:cubicBezTo>
                    <a:pt x="418" y="596"/>
                    <a:pt x="506" y="542"/>
                    <a:pt x="506" y="433"/>
                  </a:cubicBezTo>
                  <a:cubicBezTo>
                    <a:pt x="506" y="351"/>
                    <a:pt x="464" y="311"/>
                    <a:pt x="395" y="285"/>
                  </a:cubicBezTo>
                  <a:cubicBezTo>
                    <a:pt x="437" y="261"/>
                    <a:pt x="473" y="223"/>
                    <a:pt x="473" y="156"/>
                  </a:cubicBezTo>
                  <a:cubicBezTo>
                    <a:pt x="473" y="114"/>
                    <a:pt x="459" y="80"/>
                    <a:pt x="432" y="53"/>
                  </a:cubicBezTo>
                  <a:cubicBezTo>
                    <a:pt x="398" y="19"/>
                    <a:pt x="344" y="0"/>
                    <a:pt x="27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257" y="115"/>
                    <a:pt x="257" y="115"/>
                    <a:pt x="257" y="115"/>
                  </a:cubicBezTo>
                  <a:cubicBezTo>
                    <a:pt x="312" y="115"/>
                    <a:pt x="343" y="137"/>
                    <a:pt x="343" y="177"/>
                  </a:cubicBezTo>
                  <a:cubicBezTo>
                    <a:pt x="343" y="222"/>
                    <a:pt x="306" y="241"/>
                    <a:pt x="248" y="241"/>
                  </a:cubicBezTo>
                  <a:cubicBezTo>
                    <a:pt x="0" y="241"/>
                    <a:pt x="0" y="241"/>
                    <a:pt x="0" y="241"/>
                  </a:cubicBezTo>
                  <a:lnTo>
                    <a:pt x="0" y="596"/>
                  </a:lnTo>
                  <a:close/>
                  <a:moveTo>
                    <a:pt x="283" y="481"/>
                  </a:moveTo>
                  <a:cubicBezTo>
                    <a:pt x="127" y="481"/>
                    <a:pt x="127" y="481"/>
                    <a:pt x="127" y="481"/>
                  </a:cubicBezTo>
                  <a:cubicBezTo>
                    <a:pt x="127" y="350"/>
                    <a:pt x="127" y="350"/>
                    <a:pt x="127" y="350"/>
                  </a:cubicBezTo>
                  <a:cubicBezTo>
                    <a:pt x="279" y="350"/>
                    <a:pt x="279" y="350"/>
                    <a:pt x="279" y="350"/>
                  </a:cubicBezTo>
                  <a:cubicBezTo>
                    <a:pt x="346" y="350"/>
                    <a:pt x="376" y="375"/>
                    <a:pt x="376" y="415"/>
                  </a:cubicBezTo>
                  <a:cubicBezTo>
                    <a:pt x="376" y="461"/>
                    <a:pt x="341" y="481"/>
                    <a:pt x="283" y="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506370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bleed Foto mi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11817AE-51ED-41E3-A690-ED26CAEA9D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79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11817AE-51ED-41E3-A690-ED26CAEA9D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EC5787D-011E-416D-94DD-7B499E6E75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A194230-98A5-4312-912D-7CAE3A9610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3031" y="210212"/>
            <a:ext cx="8619432" cy="43088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2307CE5-3111-4F33-9B73-B1BB9378A1E2}"/>
              </a:ext>
            </a:extLst>
          </p:cNvPr>
          <p:cNvGrpSpPr/>
          <p:nvPr userDrawn="1"/>
        </p:nvGrpSpPr>
        <p:grpSpPr>
          <a:xfrm>
            <a:off x="9809018" y="6114397"/>
            <a:ext cx="2022620" cy="422928"/>
            <a:chOff x="9809018" y="6114397"/>
            <a:chExt cx="2022620" cy="422928"/>
          </a:xfrm>
        </p:grpSpPr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A19C93D7-A3B2-4A58-ADC6-361B14180E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66356" y="6115872"/>
              <a:ext cx="510226" cy="421453"/>
            </a:xfrm>
            <a:custGeom>
              <a:avLst/>
              <a:gdLst>
                <a:gd name="T0" fmla="*/ 318 w 1730"/>
                <a:gd name="T1" fmla="*/ 1429 h 1429"/>
                <a:gd name="T2" fmla="*/ 0 w 1730"/>
                <a:gd name="T3" fmla="*/ 1429 h 1429"/>
                <a:gd name="T4" fmla="*/ 721 w 1730"/>
                <a:gd name="T5" fmla="*/ 0 h 1429"/>
                <a:gd name="T6" fmla="*/ 1009 w 1730"/>
                <a:gd name="T7" fmla="*/ 0 h 1429"/>
                <a:gd name="T8" fmla="*/ 1730 w 1730"/>
                <a:gd name="T9" fmla="*/ 1429 h 1429"/>
                <a:gd name="T10" fmla="*/ 1405 w 1730"/>
                <a:gd name="T11" fmla="*/ 1429 h 1429"/>
                <a:gd name="T12" fmla="*/ 861 w 1730"/>
                <a:gd name="T13" fmla="*/ 376 h 1429"/>
                <a:gd name="T14" fmla="*/ 318 w 1730"/>
                <a:gd name="T15" fmla="*/ 1429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0" h="1429">
                  <a:moveTo>
                    <a:pt x="318" y="1429"/>
                  </a:moveTo>
                  <a:lnTo>
                    <a:pt x="0" y="1429"/>
                  </a:lnTo>
                  <a:lnTo>
                    <a:pt x="721" y="0"/>
                  </a:lnTo>
                  <a:lnTo>
                    <a:pt x="1009" y="0"/>
                  </a:lnTo>
                  <a:lnTo>
                    <a:pt x="1730" y="1429"/>
                  </a:lnTo>
                  <a:lnTo>
                    <a:pt x="1405" y="1429"/>
                  </a:lnTo>
                  <a:lnTo>
                    <a:pt x="861" y="376"/>
                  </a:lnTo>
                  <a:lnTo>
                    <a:pt x="318" y="14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Rectangle 6">
              <a:extLst>
                <a:ext uri="{FF2B5EF4-FFF2-40B4-BE49-F238E27FC236}">
                  <a16:creationId xmlns:a16="http://schemas.microsoft.com/office/drawing/2014/main" id="{0311B544-3A45-47CF-AE14-8332D96A08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273043" y="6115872"/>
              <a:ext cx="14746" cy="11325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F0DA2BA0-C45F-483F-8296-E08A5563FB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0822" y="6115872"/>
              <a:ext cx="94967" cy="113253"/>
            </a:xfrm>
            <a:custGeom>
              <a:avLst/>
              <a:gdLst>
                <a:gd name="T0" fmla="*/ 0 w 136"/>
                <a:gd name="T1" fmla="*/ 161 h 161"/>
                <a:gd name="T2" fmla="*/ 0 w 136"/>
                <a:gd name="T3" fmla="*/ 0 h 161"/>
                <a:gd name="T4" fmla="*/ 20 w 136"/>
                <a:gd name="T5" fmla="*/ 0 h 161"/>
                <a:gd name="T6" fmla="*/ 88 w 136"/>
                <a:gd name="T7" fmla="*/ 90 h 161"/>
                <a:gd name="T8" fmla="*/ 116 w 136"/>
                <a:gd name="T9" fmla="*/ 127 h 161"/>
                <a:gd name="T10" fmla="*/ 116 w 136"/>
                <a:gd name="T11" fmla="*/ 127 h 161"/>
                <a:gd name="T12" fmla="*/ 116 w 136"/>
                <a:gd name="T13" fmla="*/ 81 h 161"/>
                <a:gd name="T14" fmla="*/ 116 w 136"/>
                <a:gd name="T15" fmla="*/ 0 h 161"/>
                <a:gd name="T16" fmla="*/ 136 w 136"/>
                <a:gd name="T17" fmla="*/ 0 h 161"/>
                <a:gd name="T18" fmla="*/ 136 w 136"/>
                <a:gd name="T19" fmla="*/ 161 h 161"/>
                <a:gd name="T20" fmla="*/ 116 w 136"/>
                <a:gd name="T21" fmla="*/ 161 h 161"/>
                <a:gd name="T22" fmla="*/ 49 w 136"/>
                <a:gd name="T23" fmla="*/ 72 h 161"/>
                <a:gd name="T24" fmla="*/ 21 w 136"/>
                <a:gd name="T25" fmla="*/ 34 h 161"/>
                <a:gd name="T26" fmla="*/ 20 w 136"/>
                <a:gd name="T27" fmla="*/ 34 h 161"/>
                <a:gd name="T28" fmla="*/ 21 w 136"/>
                <a:gd name="T29" fmla="*/ 80 h 161"/>
                <a:gd name="T30" fmla="*/ 21 w 136"/>
                <a:gd name="T31" fmla="*/ 161 h 161"/>
                <a:gd name="T32" fmla="*/ 0 w 136"/>
                <a:gd name="T33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61">
                  <a:moveTo>
                    <a:pt x="0" y="16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88" y="90"/>
                    <a:pt x="88" y="90"/>
                    <a:pt x="88" y="90"/>
                  </a:cubicBezTo>
                  <a:cubicBezTo>
                    <a:pt x="97" y="102"/>
                    <a:pt x="106" y="114"/>
                    <a:pt x="116" y="127"/>
                  </a:cubicBezTo>
                  <a:cubicBezTo>
                    <a:pt x="116" y="127"/>
                    <a:pt x="116" y="127"/>
                    <a:pt x="116" y="127"/>
                  </a:cubicBezTo>
                  <a:cubicBezTo>
                    <a:pt x="116" y="113"/>
                    <a:pt x="116" y="97"/>
                    <a:pt x="116" y="81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161"/>
                    <a:pt x="136" y="161"/>
                    <a:pt x="136" y="161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39" y="60"/>
                    <a:pt x="30" y="47"/>
                    <a:pt x="21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1" y="48"/>
                    <a:pt x="21" y="65"/>
                    <a:pt x="21" y="80"/>
                  </a:cubicBezTo>
                  <a:cubicBezTo>
                    <a:pt x="21" y="161"/>
                    <a:pt x="21" y="161"/>
                    <a:pt x="21" y="161"/>
                  </a:cubicBezTo>
                  <a:lnTo>
                    <a:pt x="0" y="16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8">
              <a:extLst>
                <a:ext uri="{FF2B5EF4-FFF2-40B4-BE49-F238E27FC236}">
                  <a16:creationId xmlns:a16="http://schemas.microsoft.com/office/drawing/2014/main" id="{B29DA787-CDC4-4596-AF5F-8BBA263EFD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6729" y="6115872"/>
              <a:ext cx="101750" cy="113253"/>
            </a:xfrm>
            <a:custGeom>
              <a:avLst/>
              <a:gdLst>
                <a:gd name="T0" fmla="*/ 0 w 145"/>
                <a:gd name="T1" fmla="*/ 0 h 161"/>
                <a:gd name="T2" fmla="*/ 23 w 145"/>
                <a:gd name="T3" fmla="*/ 0 h 161"/>
                <a:gd name="T4" fmla="*/ 57 w 145"/>
                <a:gd name="T5" fmla="*/ 90 h 161"/>
                <a:gd name="T6" fmla="*/ 73 w 145"/>
                <a:gd name="T7" fmla="*/ 133 h 161"/>
                <a:gd name="T8" fmla="*/ 73 w 145"/>
                <a:gd name="T9" fmla="*/ 133 h 161"/>
                <a:gd name="T10" fmla="*/ 89 w 145"/>
                <a:gd name="T11" fmla="*/ 90 h 161"/>
                <a:gd name="T12" fmla="*/ 124 w 145"/>
                <a:gd name="T13" fmla="*/ 0 h 161"/>
                <a:gd name="T14" fmla="*/ 145 w 145"/>
                <a:gd name="T15" fmla="*/ 0 h 161"/>
                <a:gd name="T16" fmla="*/ 84 w 145"/>
                <a:gd name="T17" fmla="*/ 161 h 161"/>
                <a:gd name="T18" fmla="*/ 62 w 145"/>
                <a:gd name="T19" fmla="*/ 161 h 161"/>
                <a:gd name="T20" fmla="*/ 0 w 145"/>
                <a:gd name="T21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5" h="161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62" y="104"/>
                    <a:pt x="67" y="118"/>
                    <a:pt x="73" y="133"/>
                  </a:cubicBezTo>
                  <a:cubicBezTo>
                    <a:pt x="73" y="133"/>
                    <a:pt x="73" y="133"/>
                    <a:pt x="73" y="133"/>
                  </a:cubicBezTo>
                  <a:cubicBezTo>
                    <a:pt x="79" y="118"/>
                    <a:pt x="84" y="104"/>
                    <a:pt x="89" y="9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84" y="161"/>
                    <a:pt x="84" y="161"/>
                    <a:pt x="84" y="161"/>
                  </a:cubicBezTo>
                  <a:cubicBezTo>
                    <a:pt x="62" y="161"/>
                    <a:pt x="62" y="161"/>
                    <a:pt x="62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9">
              <a:extLst>
                <a:ext uri="{FF2B5EF4-FFF2-40B4-BE49-F238E27FC236}">
                  <a16:creationId xmlns:a16="http://schemas.microsoft.com/office/drawing/2014/main" id="{07CBA41F-92FA-460F-9E54-5291BB0ADB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60009" y="6115872"/>
              <a:ext cx="66654" cy="113253"/>
            </a:xfrm>
            <a:custGeom>
              <a:avLst/>
              <a:gdLst>
                <a:gd name="T0" fmla="*/ 0 w 226"/>
                <a:gd name="T1" fmla="*/ 0 h 384"/>
                <a:gd name="T2" fmla="*/ 221 w 226"/>
                <a:gd name="T3" fmla="*/ 0 h 384"/>
                <a:gd name="T4" fmla="*/ 221 w 226"/>
                <a:gd name="T5" fmla="*/ 45 h 384"/>
                <a:gd name="T6" fmla="*/ 50 w 226"/>
                <a:gd name="T7" fmla="*/ 45 h 384"/>
                <a:gd name="T8" fmla="*/ 50 w 226"/>
                <a:gd name="T9" fmla="*/ 162 h 384"/>
                <a:gd name="T10" fmla="*/ 199 w 226"/>
                <a:gd name="T11" fmla="*/ 162 h 384"/>
                <a:gd name="T12" fmla="*/ 199 w 226"/>
                <a:gd name="T13" fmla="*/ 207 h 384"/>
                <a:gd name="T14" fmla="*/ 50 w 226"/>
                <a:gd name="T15" fmla="*/ 207 h 384"/>
                <a:gd name="T16" fmla="*/ 50 w 226"/>
                <a:gd name="T17" fmla="*/ 338 h 384"/>
                <a:gd name="T18" fmla="*/ 226 w 226"/>
                <a:gd name="T19" fmla="*/ 338 h 384"/>
                <a:gd name="T20" fmla="*/ 226 w 226"/>
                <a:gd name="T21" fmla="*/ 384 h 384"/>
                <a:gd name="T22" fmla="*/ 0 w 226"/>
                <a:gd name="T23" fmla="*/ 384 h 384"/>
                <a:gd name="T24" fmla="*/ 0 w 226"/>
                <a:gd name="T25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" h="384">
                  <a:moveTo>
                    <a:pt x="0" y="0"/>
                  </a:moveTo>
                  <a:lnTo>
                    <a:pt x="221" y="0"/>
                  </a:lnTo>
                  <a:lnTo>
                    <a:pt x="221" y="45"/>
                  </a:lnTo>
                  <a:lnTo>
                    <a:pt x="50" y="45"/>
                  </a:lnTo>
                  <a:lnTo>
                    <a:pt x="50" y="162"/>
                  </a:lnTo>
                  <a:lnTo>
                    <a:pt x="199" y="162"/>
                  </a:lnTo>
                  <a:lnTo>
                    <a:pt x="199" y="207"/>
                  </a:lnTo>
                  <a:lnTo>
                    <a:pt x="50" y="207"/>
                  </a:lnTo>
                  <a:lnTo>
                    <a:pt x="50" y="338"/>
                  </a:lnTo>
                  <a:lnTo>
                    <a:pt x="226" y="338"/>
                  </a:lnTo>
                  <a:lnTo>
                    <a:pt x="226" y="384"/>
                  </a:lnTo>
                  <a:lnTo>
                    <a:pt x="0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9C358B1D-0025-4177-85A1-8ACA858466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50257" y="6114397"/>
              <a:ext cx="74322" cy="116792"/>
            </a:xfrm>
            <a:custGeom>
              <a:avLst/>
              <a:gdLst>
                <a:gd name="T0" fmla="*/ 4 w 106"/>
                <a:gd name="T1" fmla="*/ 130 h 166"/>
                <a:gd name="T2" fmla="*/ 52 w 106"/>
                <a:gd name="T3" fmla="*/ 146 h 166"/>
                <a:gd name="T4" fmla="*/ 85 w 106"/>
                <a:gd name="T5" fmla="*/ 120 h 166"/>
                <a:gd name="T6" fmla="*/ 45 w 106"/>
                <a:gd name="T7" fmla="*/ 90 h 166"/>
                <a:gd name="T8" fmla="*/ 0 w 106"/>
                <a:gd name="T9" fmla="*/ 45 h 166"/>
                <a:gd name="T10" fmla="*/ 52 w 106"/>
                <a:gd name="T11" fmla="*/ 0 h 166"/>
                <a:gd name="T12" fmla="*/ 99 w 106"/>
                <a:gd name="T13" fmla="*/ 12 h 166"/>
                <a:gd name="T14" fmla="*/ 99 w 106"/>
                <a:gd name="T15" fmla="*/ 34 h 166"/>
                <a:gd name="T16" fmla="*/ 52 w 106"/>
                <a:gd name="T17" fmla="*/ 19 h 166"/>
                <a:gd name="T18" fmla="*/ 21 w 106"/>
                <a:gd name="T19" fmla="*/ 43 h 166"/>
                <a:gd name="T20" fmla="*/ 59 w 106"/>
                <a:gd name="T21" fmla="*/ 72 h 166"/>
                <a:gd name="T22" fmla="*/ 106 w 106"/>
                <a:gd name="T23" fmla="*/ 119 h 166"/>
                <a:gd name="T24" fmla="*/ 52 w 106"/>
                <a:gd name="T25" fmla="*/ 166 h 166"/>
                <a:gd name="T26" fmla="*/ 4 w 106"/>
                <a:gd name="T27" fmla="*/ 153 h 166"/>
                <a:gd name="T28" fmla="*/ 4 w 106"/>
                <a:gd name="T29" fmla="*/ 13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6" h="166">
                  <a:moveTo>
                    <a:pt x="4" y="130"/>
                  </a:moveTo>
                  <a:cubicBezTo>
                    <a:pt x="19" y="141"/>
                    <a:pt x="38" y="146"/>
                    <a:pt x="52" y="146"/>
                  </a:cubicBezTo>
                  <a:cubicBezTo>
                    <a:pt x="71" y="146"/>
                    <a:pt x="85" y="138"/>
                    <a:pt x="85" y="120"/>
                  </a:cubicBezTo>
                  <a:cubicBezTo>
                    <a:pt x="85" y="99"/>
                    <a:pt x="66" y="96"/>
                    <a:pt x="45" y="90"/>
                  </a:cubicBezTo>
                  <a:cubicBezTo>
                    <a:pt x="22" y="83"/>
                    <a:pt x="0" y="74"/>
                    <a:pt x="0" y="45"/>
                  </a:cubicBezTo>
                  <a:cubicBezTo>
                    <a:pt x="0" y="16"/>
                    <a:pt x="21" y="0"/>
                    <a:pt x="52" y="0"/>
                  </a:cubicBezTo>
                  <a:cubicBezTo>
                    <a:pt x="67" y="0"/>
                    <a:pt x="86" y="4"/>
                    <a:pt x="99" y="12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84" y="24"/>
                    <a:pt x="66" y="19"/>
                    <a:pt x="52" y="19"/>
                  </a:cubicBezTo>
                  <a:cubicBezTo>
                    <a:pt x="34" y="19"/>
                    <a:pt x="21" y="27"/>
                    <a:pt x="21" y="43"/>
                  </a:cubicBezTo>
                  <a:cubicBezTo>
                    <a:pt x="21" y="63"/>
                    <a:pt x="40" y="67"/>
                    <a:pt x="59" y="72"/>
                  </a:cubicBezTo>
                  <a:cubicBezTo>
                    <a:pt x="83" y="79"/>
                    <a:pt x="106" y="88"/>
                    <a:pt x="106" y="119"/>
                  </a:cubicBezTo>
                  <a:cubicBezTo>
                    <a:pt x="106" y="148"/>
                    <a:pt x="84" y="166"/>
                    <a:pt x="52" y="166"/>
                  </a:cubicBezTo>
                  <a:cubicBezTo>
                    <a:pt x="37" y="166"/>
                    <a:pt x="18" y="161"/>
                    <a:pt x="4" y="153"/>
                  </a:cubicBezTo>
                  <a:lnTo>
                    <a:pt x="4" y="13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11">
              <a:extLst>
                <a:ext uri="{FF2B5EF4-FFF2-40B4-BE49-F238E27FC236}">
                  <a16:creationId xmlns:a16="http://schemas.microsoft.com/office/drawing/2014/main" id="{859707A6-3DAA-4211-8EB1-323766F955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35786" y="6115872"/>
              <a:ext cx="90248" cy="113253"/>
            </a:xfrm>
            <a:custGeom>
              <a:avLst/>
              <a:gdLst>
                <a:gd name="T0" fmla="*/ 128 w 306"/>
                <a:gd name="T1" fmla="*/ 45 h 384"/>
                <a:gd name="T2" fmla="*/ 0 w 306"/>
                <a:gd name="T3" fmla="*/ 45 h 384"/>
                <a:gd name="T4" fmla="*/ 0 w 306"/>
                <a:gd name="T5" fmla="*/ 0 h 384"/>
                <a:gd name="T6" fmla="*/ 306 w 306"/>
                <a:gd name="T7" fmla="*/ 0 h 384"/>
                <a:gd name="T8" fmla="*/ 306 w 306"/>
                <a:gd name="T9" fmla="*/ 45 h 384"/>
                <a:gd name="T10" fmla="*/ 178 w 306"/>
                <a:gd name="T11" fmla="*/ 45 h 384"/>
                <a:gd name="T12" fmla="*/ 178 w 306"/>
                <a:gd name="T13" fmla="*/ 384 h 384"/>
                <a:gd name="T14" fmla="*/ 128 w 306"/>
                <a:gd name="T15" fmla="*/ 384 h 384"/>
                <a:gd name="T16" fmla="*/ 128 w 306"/>
                <a:gd name="T17" fmla="*/ 45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6" h="384">
                  <a:moveTo>
                    <a:pt x="128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306" y="0"/>
                  </a:lnTo>
                  <a:lnTo>
                    <a:pt x="306" y="45"/>
                  </a:lnTo>
                  <a:lnTo>
                    <a:pt x="178" y="45"/>
                  </a:lnTo>
                  <a:lnTo>
                    <a:pt x="178" y="384"/>
                  </a:lnTo>
                  <a:lnTo>
                    <a:pt x="128" y="384"/>
                  </a:lnTo>
                  <a:lnTo>
                    <a:pt x="128" y="4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12">
              <a:extLst>
                <a:ext uri="{FF2B5EF4-FFF2-40B4-BE49-F238E27FC236}">
                  <a16:creationId xmlns:a16="http://schemas.microsoft.com/office/drawing/2014/main" id="{0FEBAF92-9D70-4CAF-816F-BD0B92702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4066" y="6270414"/>
              <a:ext cx="153953" cy="113253"/>
            </a:xfrm>
            <a:custGeom>
              <a:avLst/>
              <a:gdLst>
                <a:gd name="T0" fmla="*/ 0 w 220"/>
                <a:gd name="T1" fmla="*/ 0 h 161"/>
                <a:gd name="T2" fmla="*/ 22 w 220"/>
                <a:gd name="T3" fmla="*/ 0 h 161"/>
                <a:gd name="T4" fmla="*/ 49 w 220"/>
                <a:gd name="T5" fmla="*/ 87 h 161"/>
                <a:gd name="T6" fmla="*/ 62 w 220"/>
                <a:gd name="T7" fmla="*/ 129 h 161"/>
                <a:gd name="T8" fmla="*/ 62 w 220"/>
                <a:gd name="T9" fmla="*/ 129 h 161"/>
                <a:gd name="T10" fmla="*/ 75 w 220"/>
                <a:gd name="T11" fmla="*/ 87 h 161"/>
                <a:gd name="T12" fmla="*/ 103 w 220"/>
                <a:gd name="T13" fmla="*/ 0 h 161"/>
                <a:gd name="T14" fmla="*/ 118 w 220"/>
                <a:gd name="T15" fmla="*/ 0 h 161"/>
                <a:gd name="T16" fmla="*/ 145 w 220"/>
                <a:gd name="T17" fmla="*/ 87 h 161"/>
                <a:gd name="T18" fmla="*/ 158 w 220"/>
                <a:gd name="T19" fmla="*/ 129 h 161"/>
                <a:gd name="T20" fmla="*/ 159 w 220"/>
                <a:gd name="T21" fmla="*/ 129 h 161"/>
                <a:gd name="T22" fmla="*/ 171 w 220"/>
                <a:gd name="T23" fmla="*/ 87 h 161"/>
                <a:gd name="T24" fmla="*/ 198 w 220"/>
                <a:gd name="T25" fmla="*/ 0 h 161"/>
                <a:gd name="T26" fmla="*/ 220 w 220"/>
                <a:gd name="T27" fmla="*/ 0 h 161"/>
                <a:gd name="T28" fmla="*/ 170 w 220"/>
                <a:gd name="T29" fmla="*/ 161 h 161"/>
                <a:gd name="T30" fmla="*/ 147 w 220"/>
                <a:gd name="T31" fmla="*/ 161 h 161"/>
                <a:gd name="T32" fmla="*/ 121 w 220"/>
                <a:gd name="T33" fmla="*/ 79 h 161"/>
                <a:gd name="T34" fmla="*/ 110 w 220"/>
                <a:gd name="T35" fmla="*/ 42 h 161"/>
                <a:gd name="T36" fmla="*/ 110 w 220"/>
                <a:gd name="T37" fmla="*/ 42 h 161"/>
                <a:gd name="T38" fmla="*/ 98 w 220"/>
                <a:gd name="T39" fmla="*/ 79 h 161"/>
                <a:gd name="T40" fmla="*/ 73 w 220"/>
                <a:gd name="T41" fmla="*/ 161 h 161"/>
                <a:gd name="T42" fmla="*/ 50 w 220"/>
                <a:gd name="T43" fmla="*/ 161 h 161"/>
                <a:gd name="T44" fmla="*/ 0 w 220"/>
                <a:gd name="T45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0" h="161">
                  <a:moveTo>
                    <a:pt x="0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54" y="101"/>
                    <a:pt x="58" y="115"/>
                    <a:pt x="62" y="129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66" y="115"/>
                    <a:pt x="71" y="101"/>
                    <a:pt x="75" y="87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45" y="87"/>
                    <a:pt x="145" y="87"/>
                    <a:pt x="145" y="87"/>
                  </a:cubicBezTo>
                  <a:cubicBezTo>
                    <a:pt x="150" y="101"/>
                    <a:pt x="154" y="115"/>
                    <a:pt x="158" y="129"/>
                  </a:cubicBezTo>
                  <a:cubicBezTo>
                    <a:pt x="159" y="129"/>
                    <a:pt x="159" y="129"/>
                    <a:pt x="159" y="129"/>
                  </a:cubicBezTo>
                  <a:cubicBezTo>
                    <a:pt x="163" y="115"/>
                    <a:pt x="167" y="101"/>
                    <a:pt x="171" y="87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170" y="161"/>
                    <a:pt x="170" y="161"/>
                    <a:pt x="170" y="161"/>
                  </a:cubicBezTo>
                  <a:cubicBezTo>
                    <a:pt x="147" y="161"/>
                    <a:pt x="147" y="161"/>
                    <a:pt x="147" y="161"/>
                  </a:cubicBezTo>
                  <a:cubicBezTo>
                    <a:pt x="121" y="79"/>
                    <a:pt x="121" y="79"/>
                    <a:pt x="121" y="79"/>
                  </a:cubicBezTo>
                  <a:cubicBezTo>
                    <a:pt x="117" y="66"/>
                    <a:pt x="114" y="54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06" y="54"/>
                    <a:pt x="102" y="67"/>
                    <a:pt x="98" y="79"/>
                  </a:cubicBezTo>
                  <a:cubicBezTo>
                    <a:pt x="73" y="161"/>
                    <a:pt x="73" y="161"/>
                    <a:pt x="73" y="161"/>
                  </a:cubicBezTo>
                  <a:cubicBezTo>
                    <a:pt x="50" y="161"/>
                    <a:pt x="50" y="161"/>
                    <a:pt x="50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13">
              <a:extLst>
                <a:ext uri="{FF2B5EF4-FFF2-40B4-BE49-F238E27FC236}">
                  <a16:creationId xmlns:a16="http://schemas.microsoft.com/office/drawing/2014/main" id="{33D4A3FE-1B1E-47A9-992E-07D98ED87F5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490111" y="6268940"/>
              <a:ext cx="114727" cy="115907"/>
            </a:xfrm>
            <a:custGeom>
              <a:avLst/>
              <a:gdLst>
                <a:gd name="T0" fmla="*/ 82 w 164"/>
                <a:gd name="T1" fmla="*/ 0 h 165"/>
                <a:gd name="T2" fmla="*/ 164 w 164"/>
                <a:gd name="T3" fmla="*/ 82 h 165"/>
                <a:gd name="T4" fmla="*/ 82 w 164"/>
                <a:gd name="T5" fmla="*/ 165 h 165"/>
                <a:gd name="T6" fmla="*/ 0 w 164"/>
                <a:gd name="T7" fmla="*/ 82 h 165"/>
                <a:gd name="T8" fmla="*/ 82 w 164"/>
                <a:gd name="T9" fmla="*/ 0 h 165"/>
                <a:gd name="T10" fmla="*/ 82 w 164"/>
                <a:gd name="T11" fmla="*/ 146 h 165"/>
                <a:gd name="T12" fmla="*/ 143 w 164"/>
                <a:gd name="T13" fmla="*/ 82 h 165"/>
                <a:gd name="T14" fmla="*/ 82 w 164"/>
                <a:gd name="T15" fmla="*/ 19 h 165"/>
                <a:gd name="T16" fmla="*/ 22 w 164"/>
                <a:gd name="T17" fmla="*/ 82 h 165"/>
                <a:gd name="T18" fmla="*/ 82 w 164"/>
                <a:gd name="T19" fmla="*/ 146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5">
                  <a:moveTo>
                    <a:pt x="82" y="0"/>
                  </a:moveTo>
                  <a:cubicBezTo>
                    <a:pt x="129" y="0"/>
                    <a:pt x="164" y="36"/>
                    <a:pt x="164" y="82"/>
                  </a:cubicBezTo>
                  <a:cubicBezTo>
                    <a:pt x="164" y="129"/>
                    <a:pt x="129" y="165"/>
                    <a:pt x="82" y="165"/>
                  </a:cubicBezTo>
                  <a:cubicBezTo>
                    <a:pt x="36" y="165"/>
                    <a:pt x="0" y="129"/>
                    <a:pt x="0" y="82"/>
                  </a:cubicBezTo>
                  <a:cubicBezTo>
                    <a:pt x="0" y="36"/>
                    <a:pt x="36" y="0"/>
                    <a:pt x="82" y="0"/>
                  </a:cubicBezTo>
                  <a:close/>
                  <a:moveTo>
                    <a:pt x="82" y="146"/>
                  </a:moveTo>
                  <a:cubicBezTo>
                    <a:pt x="117" y="146"/>
                    <a:pt x="143" y="118"/>
                    <a:pt x="143" y="82"/>
                  </a:cubicBezTo>
                  <a:cubicBezTo>
                    <a:pt x="143" y="47"/>
                    <a:pt x="117" y="19"/>
                    <a:pt x="82" y="19"/>
                  </a:cubicBezTo>
                  <a:cubicBezTo>
                    <a:pt x="47" y="19"/>
                    <a:pt x="22" y="47"/>
                    <a:pt x="22" y="82"/>
                  </a:cubicBezTo>
                  <a:cubicBezTo>
                    <a:pt x="22" y="118"/>
                    <a:pt x="47" y="146"/>
                    <a:pt x="82" y="14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14">
              <a:extLst>
                <a:ext uri="{FF2B5EF4-FFF2-40B4-BE49-F238E27FC236}">
                  <a16:creationId xmlns:a16="http://schemas.microsoft.com/office/drawing/2014/main" id="{9B08F6CB-9C29-4A26-8F0F-EF3539E2E7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631382" y="6270414"/>
              <a:ext cx="86119" cy="113253"/>
            </a:xfrm>
            <a:custGeom>
              <a:avLst/>
              <a:gdLst>
                <a:gd name="T0" fmla="*/ 0 w 123"/>
                <a:gd name="T1" fmla="*/ 0 h 161"/>
                <a:gd name="T2" fmla="*/ 43 w 123"/>
                <a:gd name="T3" fmla="*/ 0 h 161"/>
                <a:gd name="T4" fmla="*/ 88 w 123"/>
                <a:gd name="T5" fmla="*/ 8 h 161"/>
                <a:gd name="T6" fmla="*/ 111 w 123"/>
                <a:gd name="T7" fmla="*/ 46 h 161"/>
                <a:gd name="T8" fmla="*/ 90 w 123"/>
                <a:gd name="T9" fmla="*/ 83 h 161"/>
                <a:gd name="T10" fmla="*/ 71 w 123"/>
                <a:gd name="T11" fmla="*/ 90 h 161"/>
                <a:gd name="T12" fmla="*/ 123 w 123"/>
                <a:gd name="T13" fmla="*/ 161 h 161"/>
                <a:gd name="T14" fmla="*/ 97 w 123"/>
                <a:gd name="T15" fmla="*/ 161 h 161"/>
                <a:gd name="T16" fmla="*/ 48 w 123"/>
                <a:gd name="T17" fmla="*/ 92 h 161"/>
                <a:gd name="T18" fmla="*/ 21 w 123"/>
                <a:gd name="T19" fmla="*/ 92 h 161"/>
                <a:gd name="T20" fmla="*/ 21 w 123"/>
                <a:gd name="T21" fmla="*/ 161 h 161"/>
                <a:gd name="T22" fmla="*/ 0 w 123"/>
                <a:gd name="T23" fmla="*/ 161 h 161"/>
                <a:gd name="T24" fmla="*/ 0 w 123"/>
                <a:gd name="T25" fmla="*/ 0 h 161"/>
                <a:gd name="T26" fmla="*/ 48 w 123"/>
                <a:gd name="T27" fmla="*/ 75 h 161"/>
                <a:gd name="T28" fmla="*/ 80 w 123"/>
                <a:gd name="T29" fmla="*/ 67 h 161"/>
                <a:gd name="T30" fmla="*/ 89 w 123"/>
                <a:gd name="T31" fmla="*/ 47 h 161"/>
                <a:gd name="T32" fmla="*/ 76 w 123"/>
                <a:gd name="T33" fmla="*/ 25 h 161"/>
                <a:gd name="T34" fmla="*/ 42 w 123"/>
                <a:gd name="T35" fmla="*/ 19 h 161"/>
                <a:gd name="T36" fmla="*/ 21 w 123"/>
                <a:gd name="T37" fmla="*/ 19 h 161"/>
                <a:gd name="T38" fmla="*/ 21 w 123"/>
                <a:gd name="T39" fmla="*/ 75 h 161"/>
                <a:gd name="T40" fmla="*/ 48 w 123"/>
                <a:gd name="T41" fmla="*/ 75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3" h="161">
                  <a:moveTo>
                    <a:pt x="0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60" y="0"/>
                    <a:pt x="75" y="1"/>
                    <a:pt x="88" y="8"/>
                  </a:cubicBezTo>
                  <a:cubicBezTo>
                    <a:pt x="102" y="15"/>
                    <a:pt x="111" y="28"/>
                    <a:pt x="111" y="46"/>
                  </a:cubicBezTo>
                  <a:cubicBezTo>
                    <a:pt x="111" y="63"/>
                    <a:pt x="102" y="76"/>
                    <a:pt x="90" y="83"/>
                  </a:cubicBezTo>
                  <a:cubicBezTo>
                    <a:pt x="84" y="87"/>
                    <a:pt x="78" y="89"/>
                    <a:pt x="71" y="90"/>
                  </a:cubicBezTo>
                  <a:cubicBezTo>
                    <a:pt x="123" y="161"/>
                    <a:pt x="123" y="161"/>
                    <a:pt x="123" y="161"/>
                  </a:cubicBezTo>
                  <a:cubicBezTo>
                    <a:pt x="97" y="161"/>
                    <a:pt x="97" y="161"/>
                    <a:pt x="97" y="161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0" y="161"/>
                    <a:pt x="0" y="161"/>
                    <a:pt x="0" y="161"/>
                  </a:cubicBezTo>
                  <a:lnTo>
                    <a:pt x="0" y="0"/>
                  </a:lnTo>
                  <a:close/>
                  <a:moveTo>
                    <a:pt x="48" y="75"/>
                  </a:moveTo>
                  <a:cubicBezTo>
                    <a:pt x="63" y="75"/>
                    <a:pt x="73" y="73"/>
                    <a:pt x="80" y="67"/>
                  </a:cubicBezTo>
                  <a:cubicBezTo>
                    <a:pt x="86" y="63"/>
                    <a:pt x="89" y="56"/>
                    <a:pt x="89" y="47"/>
                  </a:cubicBezTo>
                  <a:cubicBezTo>
                    <a:pt x="89" y="37"/>
                    <a:pt x="85" y="29"/>
                    <a:pt x="76" y="25"/>
                  </a:cubicBezTo>
                  <a:cubicBezTo>
                    <a:pt x="68" y="20"/>
                    <a:pt x="57" y="19"/>
                    <a:pt x="42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75"/>
                    <a:pt x="21" y="75"/>
                    <a:pt x="21" y="75"/>
                  </a:cubicBezTo>
                  <a:lnTo>
                    <a:pt x="48" y="7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15">
              <a:extLst>
                <a:ext uri="{FF2B5EF4-FFF2-40B4-BE49-F238E27FC236}">
                  <a16:creationId xmlns:a16="http://schemas.microsoft.com/office/drawing/2014/main" id="{F626DAF7-0DC4-4761-B822-0EF1F4E2A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44929" y="6270414"/>
              <a:ext cx="86709" cy="113253"/>
            </a:xfrm>
            <a:custGeom>
              <a:avLst/>
              <a:gdLst>
                <a:gd name="T0" fmla="*/ 0 w 294"/>
                <a:gd name="T1" fmla="*/ 0 h 384"/>
                <a:gd name="T2" fmla="*/ 49 w 294"/>
                <a:gd name="T3" fmla="*/ 0 h 384"/>
                <a:gd name="T4" fmla="*/ 49 w 294"/>
                <a:gd name="T5" fmla="*/ 174 h 384"/>
                <a:gd name="T6" fmla="*/ 49 w 294"/>
                <a:gd name="T7" fmla="*/ 174 h 384"/>
                <a:gd name="T8" fmla="*/ 216 w 294"/>
                <a:gd name="T9" fmla="*/ 0 h 384"/>
                <a:gd name="T10" fmla="*/ 280 w 294"/>
                <a:gd name="T11" fmla="*/ 0 h 384"/>
                <a:gd name="T12" fmla="*/ 106 w 294"/>
                <a:gd name="T13" fmla="*/ 179 h 384"/>
                <a:gd name="T14" fmla="*/ 294 w 294"/>
                <a:gd name="T15" fmla="*/ 384 h 384"/>
                <a:gd name="T16" fmla="*/ 227 w 294"/>
                <a:gd name="T17" fmla="*/ 384 h 384"/>
                <a:gd name="T18" fmla="*/ 49 w 294"/>
                <a:gd name="T19" fmla="*/ 186 h 384"/>
                <a:gd name="T20" fmla="*/ 49 w 294"/>
                <a:gd name="T21" fmla="*/ 186 h 384"/>
                <a:gd name="T22" fmla="*/ 49 w 294"/>
                <a:gd name="T23" fmla="*/ 384 h 384"/>
                <a:gd name="T24" fmla="*/ 0 w 294"/>
                <a:gd name="T25" fmla="*/ 384 h 384"/>
                <a:gd name="T26" fmla="*/ 0 w 294"/>
                <a:gd name="T27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384">
                  <a:moveTo>
                    <a:pt x="0" y="0"/>
                  </a:moveTo>
                  <a:lnTo>
                    <a:pt x="49" y="0"/>
                  </a:lnTo>
                  <a:lnTo>
                    <a:pt x="49" y="174"/>
                  </a:lnTo>
                  <a:lnTo>
                    <a:pt x="49" y="174"/>
                  </a:lnTo>
                  <a:lnTo>
                    <a:pt x="216" y="0"/>
                  </a:lnTo>
                  <a:lnTo>
                    <a:pt x="280" y="0"/>
                  </a:lnTo>
                  <a:lnTo>
                    <a:pt x="106" y="179"/>
                  </a:lnTo>
                  <a:lnTo>
                    <a:pt x="294" y="384"/>
                  </a:lnTo>
                  <a:lnTo>
                    <a:pt x="227" y="384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384"/>
                  </a:lnTo>
                  <a:lnTo>
                    <a:pt x="0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16">
              <a:extLst>
                <a:ext uri="{FF2B5EF4-FFF2-40B4-BE49-F238E27FC236}">
                  <a16:creationId xmlns:a16="http://schemas.microsoft.com/office/drawing/2014/main" id="{6E1B8E6D-FE7A-4E16-9FE0-27110C65BA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67106" y="6424367"/>
              <a:ext cx="66359" cy="112958"/>
            </a:xfrm>
            <a:custGeom>
              <a:avLst/>
              <a:gdLst>
                <a:gd name="T0" fmla="*/ 0 w 225"/>
                <a:gd name="T1" fmla="*/ 0 h 383"/>
                <a:gd name="T2" fmla="*/ 225 w 225"/>
                <a:gd name="T3" fmla="*/ 0 h 383"/>
                <a:gd name="T4" fmla="*/ 225 w 225"/>
                <a:gd name="T5" fmla="*/ 45 h 383"/>
                <a:gd name="T6" fmla="*/ 49 w 225"/>
                <a:gd name="T7" fmla="*/ 45 h 383"/>
                <a:gd name="T8" fmla="*/ 49 w 225"/>
                <a:gd name="T9" fmla="*/ 169 h 383"/>
                <a:gd name="T10" fmla="*/ 204 w 225"/>
                <a:gd name="T11" fmla="*/ 169 h 383"/>
                <a:gd name="T12" fmla="*/ 204 w 225"/>
                <a:gd name="T13" fmla="*/ 214 h 383"/>
                <a:gd name="T14" fmla="*/ 49 w 225"/>
                <a:gd name="T15" fmla="*/ 214 h 383"/>
                <a:gd name="T16" fmla="*/ 49 w 225"/>
                <a:gd name="T17" fmla="*/ 383 h 383"/>
                <a:gd name="T18" fmla="*/ 0 w 225"/>
                <a:gd name="T19" fmla="*/ 383 h 383"/>
                <a:gd name="T20" fmla="*/ 0 w 225"/>
                <a:gd name="T21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5" h="383">
                  <a:moveTo>
                    <a:pt x="0" y="0"/>
                  </a:moveTo>
                  <a:lnTo>
                    <a:pt x="225" y="0"/>
                  </a:lnTo>
                  <a:lnTo>
                    <a:pt x="225" y="45"/>
                  </a:lnTo>
                  <a:lnTo>
                    <a:pt x="49" y="45"/>
                  </a:lnTo>
                  <a:lnTo>
                    <a:pt x="49" y="169"/>
                  </a:lnTo>
                  <a:lnTo>
                    <a:pt x="204" y="169"/>
                  </a:lnTo>
                  <a:lnTo>
                    <a:pt x="204" y="214"/>
                  </a:lnTo>
                  <a:lnTo>
                    <a:pt x="49" y="214"/>
                  </a:lnTo>
                  <a:lnTo>
                    <a:pt x="49" y="383"/>
                  </a:lnTo>
                  <a:lnTo>
                    <a:pt x="0" y="3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Rectangle 17">
              <a:extLst>
                <a:ext uri="{FF2B5EF4-FFF2-40B4-BE49-F238E27FC236}">
                  <a16:creationId xmlns:a16="http://schemas.microsoft.com/office/drawing/2014/main" id="{40E31F21-2B6F-4D92-907D-1F1F3475A92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565023" y="6424367"/>
              <a:ext cx="14746" cy="11295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18">
              <a:extLst>
                <a:ext uri="{FF2B5EF4-FFF2-40B4-BE49-F238E27FC236}">
                  <a16:creationId xmlns:a16="http://schemas.microsoft.com/office/drawing/2014/main" id="{32FBCDEA-7BEF-42EF-81AC-24968161A2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15455" y="6424367"/>
              <a:ext cx="67834" cy="112958"/>
            </a:xfrm>
            <a:custGeom>
              <a:avLst/>
              <a:gdLst>
                <a:gd name="T0" fmla="*/ 0 w 230"/>
                <a:gd name="T1" fmla="*/ 0 h 383"/>
                <a:gd name="T2" fmla="*/ 49 w 230"/>
                <a:gd name="T3" fmla="*/ 0 h 383"/>
                <a:gd name="T4" fmla="*/ 49 w 230"/>
                <a:gd name="T5" fmla="*/ 338 h 383"/>
                <a:gd name="T6" fmla="*/ 230 w 230"/>
                <a:gd name="T7" fmla="*/ 338 h 383"/>
                <a:gd name="T8" fmla="*/ 230 w 230"/>
                <a:gd name="T9" fmla="*/ 383 h 383"/>
                <a:gd name="T10" fmla="*/ 0 w 230"/>
                <a:gd name="T11" fmla="*/ 383 h 383"/>
                <a:gd name="T12" fmla="*/ 0 w 230"/>
                <a:gd name="T13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0" h="383">
                  <a:moveTo>
                    <a:pt x="0" y="0"/>
                  </a:moveTo>
                  <a:lnTo>
                    <a:pt x="49" y="0"/>
                  </a:lnTo>
                  <a:lnTo>
                    <a:pt x="49" y="338"/>
                  </a:lnTo>
                  <a:lnTo>
                    <a:pt x="230" y="338"/>
                  </a:lnTo>
                  <a:lnTo>
                    <a:pt x="230" y="383"/>
                  </a:lnTo>
                  <a:lnTo>
                    <a:pt x="0" y="3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19">
              <a:extLst>
                <a:ext uri="{FF2B5EF4-FFF2-40B4-BE49-F238E27FC236}">
                  <a16:creationId xmlns:a16="http://schemas.microsoft.com/office/drawing/2014/main" id="{7B4A8E0B-4E22-4265-A287-290F427A44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08358" y="6424367"/>
              <a:ext cx="108534" cy="112958"/>
            </a:xfrm>
            <a:custGeom>
              <a:avLst/>
              <a:gdLst>
                <a:gd name="T0" fmla="*/ 42 w 155"/>
                <a:gd name="T1" fmla="*/ 67 h 161"/>
                <a:gd name="T2" fmla="*/ 20 w 155"/>
                <a:gd name="T3" fmla="*/ 35 h 161"/>
                <a:gd name="T4" fmla="*/ 20 w 155"/>
                <a:gd name="T5" fmla="*/ 36 h 161"/>
                <a:gd name="T6" fmla="*/ 20 w 155"/>
                <a:gd name="T7" fmla="*/ 71 h 161"/>
                <a:gd name="T8" fmla="*/ 20 w 155"/>
                <a:gd name="T9" fmla="*/ 161 h 161"/>
                <a:gd name="T10" fmla="*/ 0 w 155"/>
                <a:gd name="T11" fmla="*/ 161 h 161"/>
                <a:gd name="T12" fmla="*/ 0 w 155"/>
                <a:gd name="T13" fmla="*/ 0 h 161"/>
                <a:gd name="T14" fmla="*/ 20 w 155"/>
                <a:gd name="T15" fmla="*/ 0 h 161"/>
                <a:gd name="T16" fmla="*/ 78 w 155"/>
                <a:gd name="T17" fmla="*/ 82 h 161"/>
                <a:gd name="T18" fmla="*/ 135 w 155"/>
                <a:gd name="T19" fmla="*/ 0 h 161"/>
                <a:gd name="T20" fmla="*/ 155 w 155"/>
                <a:gd name="T21" fmla="*/ 0 h 161"/>
                <a:gd name="T22" fmla="*/ 155 w 155"/>
                <a:gd name="T23" fmla="*/ 161 h 161"/>
                <a:gd name="T24" fmla="*/ 134 w 155"/>
                <a:gd name="T25" fmla="*/ 161 h 161"/>
                <a:gd name="T26" fmla="*/ 134 w 155"/>
                <a:gd name="T27" fmla="*/ 71 h 161"/>
                <a:gd name="T28" fmla="*/ 134 w 155"/>
                <a:gd name="T29" fmla="*/ 36 h 161"/>
                <a:gd name="T30" fmla="*/ 134 w 155"/>
                <a:gd name="T31" fmla="*/ 35 h 161"/>
                <a:gd name="T32" fmla="*/ 112 w 155"/>
                <a:gd name="T33" fmla="*/ 67 h 161"/>
                <a:gd name="T34" fmla="*/ 77 w 155"/>
                <a:gd name="T35" fmla="*/ 117 h 161"/>
                <a:gd name="T36" fmla="*/ 42 w 155"/>
                <a:gd name="T37" fmla="*/ 6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61">
                  <a:moveTo>
                    <a:pt x="42" y="67"/>
                  </a:moveTo>
                  <a:cubicBezTo>
                    <a:pt x="35" y="57"/>
                    <a:pt x="28" y="46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45"/>
                    <a:pt x="20" y="57"/>
                    <a:pt x="20" y="71"/>
                  </a:cubicBezTo>
                  <a:cubicBezTo>
                    <a:pt x="20" y="161"/>
                    <a:pt x="20" y="161"/>
                    <a:pt x="2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5" y="161"/>
                    <a:pt x="155" y="161"/>
                    <a:pt x="155" y="161"/>
                  </a:cubicBezTo>
                  <a:cubicBezTo>
                    <a:pt x="134" y="161"/>
                    <a:pt x="134" y="161"/>
                    <a:pt x="134" y="161"/>
                  </a:cubicBezTo>
                  <a:cubicBezTo>
                    <a:pt x="134" y="71"/>
                    <a:pt x="134" y="71"/>
                    <a:pt x="134" y="71"/>
                  </a:cubicBezTo>
                  <a:cubicBezTo>
                    <a:pt x="134" y="57"/>
                    <a:pt x="134" y="45"/>
                    <a:pt x="134" y="36"/>
                  </a:cubicBezTo>
                  <a:cubicBezTo>
                    <a:pt x="134" y="35"/>
                    <a:pt x="134" y="35"/>
                    <a:pt x="134" y="35"/>
                  </a:cubicBezTo>
                  <a:cubicBezTo>
                    <a:pt x="127" y="46"/>
                    <a:pt x="120" y="57"/>
                    <a:pt x="112" y="67"/>
                  </a:cubicBezTo>
                  <a:cubicBezTo>
                    <a:pt x="77" y="117"/>
                    <a:pt x="77" y="117"/>
                    <a:pt x="77" y="117"/>
                  </a:cubicBezTo>
                  <a:lnTo>
                    <a:pt x="42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20">
              <a:extLst>
                <a:ext uri="{FF2B5EF4-FFF2-40B4-BE49-F238E27FC236}">
                  <a16:creationId xmlns:a16="http://schemas.microsoft.com/office/drawing/2014/main" id="{99A25193-0AFC-4FC5-A97B-9086ECF9EB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9018" y="6115872"/>
              <a:ext cx="510226" cy="421453"/>
            </a:xfrm>
            <a:custGeom>
              <a:avLst/>
              <a:gdLst>
                <a:gd name="T0" fmla="*/ 318 w 1730"/>
                <a:gd name="T1" fmla="*/ 1429 h 1429"/>
                <a:gd name="T2" fmla="*/ 0 w 1730"/>
                <a:gd name="T3" fmla="*/ 1429 h 1429"/>
                <a:gd name="T4" fmla="*/ 721 w 1730"/>
                <a:gd name="T5" fmla="*/ 0 h 1429"/>
                <a:gd name="T6" fmla="*/ 1008 w 1730"/>
                <a:gd name="T7" fmla="*/ 0 h 1429"/>
                <a:gd name="T8" fmla="*/ 1730 w 1730"/>
                <a:gd name="T9" fmla="*/ 1429 h 1429"/>
                <a:gd name="T10" fmla="*/ 1404 w 1730"/>
                <a:gd name="T11" fmla="*/ 1429 h 1429"/>
                <a:gd name="T12" fmla="*/ 861 w 1730"/>
                <a:gd name="T13" fmla="*/ 376 h 1429"/>
                <a:gd name="T14" fmla="*/ 318 w 1730"/>
                <a:gd name="T15" fmla="*/ 1429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0" h="1429">
                  <a:moveTo>
                    <a:pt x="318" y="1429"/>
                  </a:moveTo>
                  <a:lnTo>
                    <a:pt x="0" y="1429"/>
                  </a:lnTo>
                  <a:lnTo>
                    <a:pt x="721" y="0"/>
                  </a:lnTo>
                  <a:lnTo>
                    <a:pt x="1008" y="0"/>
                  </a:lnTo>
                  <a:lnTo>
                    <a:pt x="1730" y="1429"/>
                  </a:lnTo>
                  <a:lnTo>
                    <a:pt x="1404" y="1429"/>
                  </a:lnTo>
                  <a:lnTo>
                    <a:pt x="861" y="376"/>
                  </a:lnTo>
                  <a:lnTo>
                    <a:pt x="318" y="14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21">
              <a:extLst>
                <a:ext uri="{FF2B5EF4-FFF2-40B4-BE49-F238E27FC236}">
                  <a16:creationId xmlns:a16="http://schemas.microsoft.com/office/drawing/2014/main" id="{247E6B6B-34CD-4044-9D7C-221A4DFB4EC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82949" y="6118821"/>
              <a:ext cx="353914" cy="418504"/>
            </a:xfrm>
            <a:custGeom>
              <a:avLst/>
              <a:gdLst>
                <a:gd name="T0" fmla="*/ 0 w 506"/>
                <a:gd name="T1" fmla="*/ 596 h 596"/>
                <a:gd name="T2" fmla="*/ 74 w 506"/>
                <a:gd name="T3" fmla="*/ 596 h 596"/>
                <a:gd name="T4" fmla="*/ 127 w 506"/>
                <a:gd name="T5" fmla="*/ 596 h 596"/>
                <a:gd name="T6" fmla="*/ 283 w 506"/>
                <a:gd name="T7" fmla="*/ 596 h 596"/>
                <a:gd name="T8" fmla="*/ 506 w 506"/>
                <a:gd name="T9" fmla="*/ 433 h 596"/>
                <a:gd name="T10" fmla="*/ 395 w 506"/>
                <a:gd name="T11" fmla="*/ 285 h 596"/>
                <a:gd name="T12" fmla="*/ 473 w 506"/>
                <a:gd name="T13" fmla="*/ 156 h 596"/>
                <a:gd name="T14" fmla="*/ 432 w 506"/>
                <a:gd name="T15" fmla="*/ 53 h 596"/>
                <a:gd name="T16" fmla="*/ 276 w 506"/>
                <a:gd name="T17" fmla="*/ 0 h 596"/>
                <a:gd name="T18" fmla="*/ 0 w 506"/>
                <a:gd name="T19" fmla="*/ 0 h 596"/>
                <a:gd name="T20" fmla="*/ 0 w 506"/>
                <a:gd name="T21" fmla="*/ 115 h 596"/>
                <a:gd name="T22" fmla="*/ 257 w 506"/>
                <a:gd name="T23" fmla="*/ 115 h 596"/>
                <a:gd name="T24" fmla="*/ 343 w 506"/>
                <a:gd name="T25" fmla="*/ 177 h 596"/>
                <a:gd name="T26" fmla="*/ 248 w 506"/>
                <a:gd name="T27" fmla="*/ 241 h 596"/>
                <a:gd name="T28" fmla="*/ 0 w 506"/>
                <a:gd name="T29" fmla="*/ 241 h 596"/>
                <a:gd name="T30" fmla="*/ 0 w 506"/>
                <a:gd name="T31" fmla="*/ 596 h 596"/>
                <a:gd name="T32" fmla="*/ 283 w 506"/>
                <a:gd name="T33" fmla="*/ 481 h 596"/>
                <a:gd name="T34" fmla="*/ 127 w 506"/>
                <a:gd name="T35" fmla="*/ 481 h 596"/>
                <a:gd name="T36" fmla="*/ 127 w 506"/>
                <a:gd name="T37" fmla="*/ 350 h 596"/>
                <a:gd name="T38" fmla="*/ 279 w 506"/>
                <a:gd name="T39" fmla="*/ 350 h 596"/>
                <a:gd name="T40" fmla="*/ 376 w 506"/>
                <a:gd name="T41" fmla="*/ 415 h 596"/>
                <a:gd name="T42" fmla="*/ 283 w 506"/>
                <a:gd name="T43" fmla="*/ 481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06" h="596">
                  <a:moveTo>
                    <a:pt x="0" y="596"/>
                  </a:moveTo>
                  <a:cubicBezTo>
                    <a:pt x="74" y="596"/>
                    <a:pt x="74" y="596"/>
                    <a:pt x="74" y="596"/>
                  </a:cubicBezTo>
                  <a:cubicBezTo>
                    <a:pt x="127" y="596"/>
                    <a:pt x="127" y="596"/>
                    <a:pt x="127" y="596"/>
                  </a:cubicBezTo>
                  <a:cubicBezTo>
                    <a:pt x="283" y="596"/>
                    <a:pt x="283" y="596"/>
                    <a:pt x="283" y="596"/>
                  </a:cubicBezTo>
                  <a:cubicBezTo>
                    <a:pt x="418" y="596"/>
                    <a:pt x="506" y="542"/>
                    <a:pt x="506" y="433"/>
                  </a:cubicBezTo>
                  <a:cubicBezTo>
                    <a:pt x="506" y="351"/>
                    <a:pt x="464" y="311"/>
                    <a:pt x="395" y="285"/>
                  </a:cubicBezTo>
                  <a:cubicBezTo>
                    <a:pt x="437" y="261"/>
                    <a:pt x="473" y="223"/>
                    <a:pt x="473" y="156"/>
                  </a:cubicBezTo>
                  <a:cubicBezTo>
                    <a:pt x="473" y="114"/>
                    <a:pt x="459" y="80"/>
                    <a:pt x="432" y="53"/>
                  </a:cubicBezTo>
                  <a:cubicBezTo>
                    <a:pt x="398" y="19"/>
                    <a:pt x="344" y="0"/>
                    <a:pt x="27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257" y="115"/>
                    <a:pt x="257" y="115"/>
                    <a:pt x="257" y="115"/>
                  </a:cubicBezTo>
                  <a:cubicBezTo>
                    <a:pt x="312" y="115"/>
                    <a:pt x="343" y="137"/>
                    <a:pt x="343" y="177"/>
                  </a:cubicBezTo>
                  <a:cubicBezTo>
                    <a:pt x="343" y="222"/>
                    <a:pt x="306" y="241"/>
                    <a:pt x="248" y="241"/>
                  </a:cubicBezTo>
                  <a:cubicBezTo>
                    <a:pt x="0" y="241"/>
                    <a:pt x="0" y="241"/>
                    <a:pt x="0" y="241"/>
                  </a:cubicBezTo>
                  <a:lnTo>
                    <a:pt x="0" y="596"/>
                  </a:lnTo>
                  <a:close/>
                  <a:moveTo>
                    <a:pt x="283" y="481"/>
                  </a:moveTo>
                  <a:cubicBezTo>
                    <a:pt x="127" y="481"/>
                    <a:pt x="127" y="481"/>
                    <a:pt x="127" y="481"/>
                  </a:cubicBezTo>
                  <a:cubicBezTo>
                    <a:pt x="127" y="350"/>
                    <a:pt x="127" y="350"/>
                    <a:pt x="127" y="350"/>
                  </a:cubicBezTo>
                  <a:cubicBezTo>
                    <a:pt x="279" y="350"/>
                    <a:pt x="279" y="350"/>
                    <a:pt x="279" y="350"/>
                  </a:cubicBezTo>
                  <a:cubicBezTo>
                    <a:pt x="346" y="350"/>
                    <a:pt x="376" y="375"/>
                    <a:pt x="376" y="415"/>
                  </a:cubicBezTo>
                  <a:cubicBezTo>
                    <a:pt x="376" y="461"/>
                    <a:pt x="341" y="481"/>
                    <a:pt x="283" y="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9" name="object 3">
            <a:extLst>
              <a:ext uri="{FF2B5EF4-FFF2-40B4-BE49-F238E27FC236}">
                <a16:creationId xmlns:a16="http://schemas.microsoft.com/office/drawing/2014/main" id="{8D333F5B-204A-4E2E-8A90-555E8523977A}"/>
              </a:ext>
            </a:extLst>
          </p:cNvPr>
          <p:cNvSpPr/>
          <p:nvPr userDrawn="1"/>
        </p:nvSpPr>
        <p:spPr>
          <a:xfrm>
            <a:off x="9204" y="4559"/>
            <a:ext cx="655813" cy="840582"/>
          </a:xfrm>
          <a:custGeom>
            <a:avLst/>
            <a:gdLst/>
            <a:ahLst/>
            <a:cxnLst/>
            <a:rect l="l" t="t" r="r" b="b"/>
            <a:pathLst>
              <a:path w="1005205" h="1288415">
                <a:moveTo>
                  <a:pt x="0" y="0"/>
                </a:moveTo>
                <a:lnTo>
                  <a:pt x="0" y="335068"/>
                </a:lnTo>
                <a:lnTo>
                  <a:pt x="609552" y="640462"/>
                </a:lnTo>
                <a:lnTo>
                  <a:pt x="0" y="952850"/>
                </a:lnTo>
                <a:lnTo>
                  <a:pt x="0" y="1287918"/>
                </a:lnTo>
                <a:lnTo>
                  <a:pt x="1005204" y="793253"/>
                </a:lnTo>
                <a:lnTo>
                  <a:pt x="1005204" y="49601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 anchor="ctr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33965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-bleed F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52AF02E-2129-4013-BA2B-4355D657A4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0030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52AF02E-2129-4013-BA2B-4355D657A4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object 3">
            <a:extLst>
              <a:ext uri="{FF2B5EF4-FFF2-40B4-BE49-F238E27FC236}">
                <a16:creationId xmlns:a16="http://schemas.microsoft.com/office/drawing/2014/main" id="{DF0DF7E7-67EA-4956-8C31-6F90A10C92FE}"/>
              </a:ext>
            </a:extLst>
          </p:cNvPr>
          <p:cNvSpPr/>
          <p:nvPr userDrawn="1"/>
        </p:nvSpPr>
        <p:spPr>
          <a:xfrm>
            <a:off x="1" y="4559"/>
            <a:ext cx="540326" cy="692558"/>
          </a:xfrm>
          <a:custGeom>
            <a:avLst/>
            <a:gdLst/>
            <a:ahLst/>
            <a:cxnLst/>
            <a:rect l="l" t="t" r="r" b="b"/>
            <a:pathLst>
              <a:path w="1005205" h="1288415">
                <a:moveTo>
                  <a:pt x="0" y="0"/>
                </a:moveTo>
                <a:lnTo>
                  <a:pt x="0" y="335068"/>
                </a:lnTo>
                <a:lnTo>
                  <a:pt x="609552" y="640462"/>
                </a:lnTo>
                <a:lnTo>
                  <a:pt x="0" y="952850"/>
                </a:lnTo>
                <a:lnTo>
                  <a:pt x="0" y="1287918"/>
                </a:lnTo>
                <a:lnTo>
                  <a:pt x="1005204" y="793253"/>
                </a:lnTo>
                <a:lnTo>
                  <a:pt x="1005204" y="49601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 anchor="ctr"/>
          <a:lstStyle/>
          <a:p>
            <a:endParaRPr/>
          </a:p>
        </p:txBody>
      </p:sp>
      <p:sp>
        <p:nvSpPr>
          <p:cNvPr id="132" name="Picture Placeholder 8">
            <a:extLst>
              <a:ext uri="{FF2B5EF4-FFF2-40B4-BE49-F238E27FC236}">
                <a16:creationId xmlns:a16="http://schemas.microsoft.com/office/drawing/2014/main" id="{EDCBD13A-C811-4A36-B374-1BD6EDEFAC8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C168B6FE-8C02-4842-88D8-2BF6C87C7203}"/>
              </a:ext>
            </a:extLst>
          </p:cNvPr>
          <p:cNvGrpSpPr/>
          <p:nvPr userDrawn="1"/>
        </p:nvGrpSpPr>
        <p:grpSpPr>
          <a:xfrm>
            <a:off x="9809018" y="6114397"/>
            <a:ext cx="2022620" cy="422928"/>
            <a:chOff x="9809018" y="6114397"/>
            <a:chExt cx="2022620" cy="422928"/>
          </a:xfrm>
        </p:grpSpPr>
        <p:sp>
          <p:nvSpPr>
            <p:cNvPr id="134" name="Freeform 5">
              <a:extLst>
                <a:ext uri="{FF2B5EF4-FFF2-40B4-BE49-F238E27FC236}">
                  <a16:creationId xmlns:a16="http://schemas.microsoft.com/office/drawing/2014/main" id="{7FC05F61-C049-43FE-8259-8A45BBC5B4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66356" y="6115872"/>
              <a:ext cx="510226" cy="421453"/>
            </a:xfrm>
            <a:custGeom>
              <a:avLst/>
              <a:gdLst>
                <a:gd name="T0" fmla="*/ 318 w 1730"/>
                <a:gd name="T1" fmla="*/ 1429 h 1429"/>
                <a:gd name="T2" fmla="*/ 0 w 1730"/>
                <a:gd name="T3" fmla="*/ 1429 h 1429"/>
                <a:gd name="T4" fmla="*/ 721 w 1730"/>
                <a:gd name="T5" fmla="*/ 0 h 1429"/>
                <a:gd name="T6" fmla="*/ 1009 w 1730"/>
                <a:gd name="T7" fmla="*/ 0 h 1429"/>
                <a:gd name="T8" fmla="*/ 1730 w 1730"/>
                <a:gd name="T9" fmla="*/ 1429 h 1429"/>
                <a:gd name="T10" fmla="*/ 1405 w 1730"/>
                <a:gd name="T11" fmla="*/ 1429 h 1429"/>
                <a:gd name="T12" fmla="*/ 861 w 1730"/>
                <a:gd name="T13" fmla="*/ 376 h 1429"/>
                <a:gd name="T14" fmla="*/ 318 w 1730"/>
                <a:gd name="T15" fmla="*/ 1429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0" h="1429">
                  <a:moveTo>
                    <a:pt x="318" y="1429"/>
                  </a:moveTo>
                  <a:lnTo>
                    <a:pt x="0" y="1429"/>
                  </a:lnTo>
                  <a:lnTo>
                    <a:pt x="721" y="0"/>
                  </a:lnTo>
                  <a:lnTo>
                    <a:pt x="1009" y="0"/>
                  </a:lnTo>
                  <a:lnTo>
                    <a:pt x="1730" y="1429"/>
                  </a:lnTo>
                  <a:lnTo>
                    <a:pt x="1405" y="1429"/>
                  </a:lnTo>
                  <a:lnTo>
                    <a:pt x="861" y="376"/>
                  </a:lnTo>
                  <a:lnTo>
                    <a:pt x="318" y="14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" name="Rectangle 6">
              <a:extLst>
                <a:ext uri="{FF2B5EF4-FFF2-40B4-BE49-F238E27FC236}">
                  <a16:creationId xmlns:a16="http://schemas.microsoft.com/office/drawing/2014/main" id="{1DF7864D-B6D0-4572-BEA5-E403C010DEC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273043" y="6115872"/>
              <a:ext cx="14746" cy="11325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" name="Freeform 7">
              <a:extLst>
                <a:ext uri="{FF2B5EF4-FFF2-40B4-BE49-F238E27FC236}">
                  <a16:creationId xmlns:a16="http://schemas.microsoft.com/office/drawing/2014/main" id="{A972C330-034B-4C10-A85F-F1AE11C233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0822" y="6115872"/>
              <a:ext cx="94967" cy="113253"/>
            </a:xfrm>
            <a:custGeom>
              <a:avLst/>
              <a:gdLst>
                <a:gd name="T0" fmla="*/ 0 w 136"/>
                <a:gd name="T1" fmla="*/ 161 h 161"/>
                <a:gd name="T2" fmla="*/ 0 w 136"/>
                <a:gd name="T3" fmla="*/ 0 h 161"/>
                <a:gd name="T4" fmla="*/ 20 w 136"/>
                <a:gd name="T5" fmla="*/ 0 h 161"/>
                <a:gd name="T6" fmla="*/ 88 w 136"/>
                <a:gd name="T7" fmla="*/ 90 h 161"/>
                <a:gd name="T8" fmla="*/ 116 w 136"/>
                <a:gd name="T9" fmla="*/ 127 h 161"/>
                <a:gd name="T10" fmla="*/ 116 w 136"/>
                <a:gd name="T11" fmla="*/ 127 h 161"/>
                <a:gd name="T12" fmla="*/ 116 w 136"/>
                <a:gd name="T13" fmla="*/ 81 h 161"/>
                <a:gd name="T14" fmla="*/ 116 w 136"/>
                <a:gd name="T15" fmla="*/ 0 h 161"/>
                <a:gd name="T16" fmla="*/ 136 w 136"/>
                <a:gd name="T17" fmla="*/ 0 h 161"/>
                <a:gd name="T18" fmla="*/ 136 w 136"/>
                <a:gd name="T19" fmla="*/ 161 h 161"/>
                <a:gd name="T20" fmla="*/ 116 w 136"/>
                <a:gd name="T21" fmla="*/ 161 h 161"/>
                <a:gd name="T22" fmla="*/ 49 w 136"/>
                <a:gd name="T23" fmla="*/ 72 h 161"/>
                <a:gd name="T24" fmla="*/ 21 w 136"/>
                <a:gd name="T25" fmla="*/ 34 h 161"/>
                <a:gd name="T26" fmla="*/ 20 w 136"/>
                <a:gd name="T27" fmla="*/ 34 h 161"/>
                <a:gd name="T28" fmla="*/ 21 w 136"/>
                <a:gd name="T29" fmla="*/ 80 h 161"/>
                <a:gd name="T30" fmla="*/ 21 w 136"/>
                <a:gd name="T31" fmla="*/ 161 h 161"/>
                <a:gd name="T32" fmla="*/ 0 w 136"/>
                <a:gd name="T33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61">
                  <a:moveTo>
                    <a:pt x="0" y="16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88" y="90"/>
                    <a:pt x="88" y="90"/>
                    <a:pt x="88" y="90"/>
                  </a:cubicBezTo>
                  <a:cubicBezTo>
                    <a:pt x="97" y="102"/>
                    <a:pt x="106" y="114"/>
                    <a:pt x="116" y="127"/>
                  </a:cubicBezTo>
                  <a:cubicBezTo>
                    <a:pt x="116" y="127"/>
                    <a:pt x="116" y="127"/>
                    <a:pt x="116" y="127"/>
                  </a:cubicBezTo>
                  <a:cubicBezTo>
                    <a:pt x="116" y="113"/>
                    <a:pt x="116" y="97"/>
                    <a:pt x="116" y="81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161"/>
                    <a:pt x="136" y="161"/>
                    <a:pt x="136" y="161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39" y="60"/>
                    <a:pt x="30" y="47"/>
                    <a:pt x="21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1" y="48"/>
                    <a:pt x="21" y="65"/>
                    <a:pt x="21" y="80"/>
                  </a:cubicBezTo>
                  <a:cubicBezTo>
                    <a:pt x="21" y="161"/>
                    <a:pt x="21" y="161"/>
                    <a:pt x="21" y="161"/>
                  </a:cubicBezTo>
                  <a:lnTo>
                    <a:pt x="0" y="16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" name="Freeform 8">
              <a:extLst>
                <a:ext uri="{FF2B5EF4-FFF2-40B4-BE49-F238E27FC236}">
                  <a16:creationId xmlns:a16="http://schemas.microsoft.com/office/drawing/2014/main" id="{9C56225E-DEE0-4BC7-9BAF-A836577675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6729" y="6115872"/>
              <a:ext cx="101750" cy="113253"/>
            </a:xfrm>
            <a:custGeom>
              <a:avLst/>
              <a:gdLst>
                <a:gd name="T0" fmla="*/ 0 w 145"/>
                <a:gd name="T1" fmla="*/ 0 h 161"/>
                <a:gd name="T2" fmla="*/ 23 w 145"/>
                <a:gd name="T3" fmla="*/ 0 h 161"/>
                <a:gd name="T4" fmla="*/ 57 w 145"/>
                <a:gd name="T5" fmla="*/ 90 h 161"/>
                <a:gd name="T6" fmla="*/ 73 w 145"/>
                <a:gd name="T7" fmla="*/ 133 h 161"/>
                <a:gd name="T8" fmla="*/ 73 w 145"/>
                <a:gd name="T9" fmla="*/ 133 h 161"/>
                <a:gd name="T10" fmla="*/ 89 w 145"/>
                <a:gd name="T11" fmla="*/ 90 h 161"/>
                <a:gd name="T12" fmla="*/ 124 w 145"/>
                <a:gd name="T13" fmla="*/ 0 h 161"/>
                <a:gd name="T14" fmla="*/ 145 w 145"/>
                <a:gd name="T15" fmla="*/ 0 h 161"/>
                <a:gd name="T16" fmla="*/ 84 w 145"/>
                <a:gd name="T17" fmla="*/ 161 h 161"/>
                <a:gd name="T18" fmla="*/ 62 w 145"/>
                <a:gd name="T19" fmla="*/ 161 h 161"/>
                <a:gd name="T20" fmla="*/ 0 w 145"/>
                <a:gd name="T21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5" h="161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62" y="104"/>
                    <a:pt x="67" y="118"/>
                    <a:pt x="73" y="133"/>
                  </a:cubicBezTo>
                  <a:cubicBezTo>
                    <a:pt x="73" y="133"/>
                    <a:pt x="73" y="133"/>
                    <a:pt x="73" y="133"/>
                  </a:cubicBezTo>
                  <a:cubicBezTo>
                    <a:pt x="79" y="118"/>
                    <a:pt x="84" y="104"/>
                    <a:pt x="89" y="9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84" y="161"/>
                    <a:pt x="84" y="161"/>
                    <a:pt x="84" y="161"/>
                  </a:cubicBezTo>
                  <a:cubicBezTo>
                    <a:pt x="62" y="161"/>
                    <a:pt x="62" y="161"/>
                    <a:pt x="62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" name="Freeform 9">
              <a:extLst>
                <a:ext uri="{FF2B5EF4-FFF2-40B4-BE49-F238E27FC236}">
                  <a16:creationId xmlns:a16="http://schemas.microsoft.com/office/drawing/2014/main" id="{A4B0150F-461F-4C57-953C-2A11598913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60009" y="6115872"/>
              <a:ext cx="66654" cy="113253"/>
            </a:xfrm>
            <a:custGeom>
              <a:avLst/>
              <a:gdLst>
                <a:gd name="T0" fmla="*/ 0 w 226"/>
                <a:gd name="T1" fmla="*/ 0 h 384"/>
                <a:gd name="T2" fmla="*/ 221 w 226"/>
                <a:gd name="T3" fmla="*/ 0 h 384"/>
                <a:gd name="T4" fmla="*/ 221 w 226"/>
                <a:gd name="T5" fmla="*/ 45 h 384"/>
                <a:gd name="T6" fmla="*/ 50 w 226"/>
                <a:gd name="T7" fmla="*/ 45 h 384"/>
                <a:gd name="T8" fmla="*/ 50 w 226"/>
                <a:gd name="T9" fmla="*/ 162 h 384"/>
                <a:gd name="T10" fmla="*/ 199 w 226"/>
                <a:gd name="T11" fmla="*/ 162 h 384"/>
                <a:gd name="T12" fmla="*/ 199 w 226"/>
                <a:gd name="T13" fmla="*/ 207 h 384"/>
                <a:gd name="T14" fmla="*/ 50 w 226"/>
                <a:gd name="T15" fmla="*/ 207 h 384"/>
                <a:gd name="T16" fmla="*/ 50 w 226"/>
                <a:gd name="T17" fmla="*/ 338 h 384"/>
                <a:gd name="T18" fmla="*/ 226 w 226"/>
                <a:gd name="T19" fmla="*/ 338 h 384"/>
                <a:gd name="T20" fmla="*/ 226 w 226"/>
                <a:gd name="T21" fmla="*/ 384 h 384"/>
                <a:gd name="T22" fmla="*/ 0 w 226"/>
                <a:gd name="T23" fmla="*/ 384 h 384"/>
                <a:gd name="T24" fmla="*/ 0 w 226"/>
                <a:gd name="T25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" h="384">
                  <a:moveTo>
                    <a:pt x="0" y="0"/>
                  </a:moveTo>
                  <a:lnTo>
                    <a:pt x="221" y="0"/>
                  </a:lnTo>
                  <a:lnTo>
                    <a:pt x="221" y="45"/>
                  </a:lnTo>
                  <a:lnTo>
                    <a:pt x="50" y="45"/>
                  </a:lnTo>
                  <a:lnTo>
                    <a:pt x="50" y="162"/>
                  </a:lnTo>
                  <a:lnTo>
                    <a:pt x="199" y="162"/>
                  </a:lnTo>
                  <a:lnTo>
                    <a:pt x="199" y="207"/>
                  </a:lnTo>
                  <a:lnTo>
                    <a:pt x="50" y="207"/>
                  </a:lnTo>
                  <a:lnTo>
                    <a:pt x="50" y="338"/>
                  </a:lnTo>
                  <a:lnTo>
                    <a:pt x="226" y="338"/>
                  </a:lnTo>
                  <a:lnTo>
                    <a:pt x="226" y="384"/>
                  </a:lnTo>
                  <a:lnTo>
                    <a:pt x="0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" name="Freeform 10">
              <a:extLst>
                <a:ext uri="{FF2B5EF4-FFF2-40B4-BE49-F238E27FC236}">
                  <a16:creationId xmlns:a16="http://schemas.microsoft.com/office/drawing/2014/main" id="{ABC4F550-0B0F-46F4-9CDB-53266CEC69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50257" y="6114397"/>
              <a:ext cx="74322" cy="116792"/>
            </a:xfrm>
            <a:custGeom>
              <a:avLst/>
              <a:gdLst>
                <a:gd name="T0" fmla="*/ 4 w 106"/>
                <a:gd name="T1" fmla="*/ 130 h 166"/>
                <a:gd name="T2" fmla="*/ 52 w 106"/>
                <a:gd name="T3" fmla="*/ 146 h 166"/>
                <a:gd name="T4" fmla="*/ 85 w 106"/>
                <a:gd name="T5" fmla="*/ 120 h 166"/>
                <a:gd name="T6" fmla="*/ 45 w 106"/>
                <a:gd name="T7" fmla="*/ 90 h 166"/>
                <a:gd name="T8" fmla="*/ 0 w 106"/>
                <a:gd name="T9" fmla="*/ 45 h 166"/>
                <a:gd name="T10" fmla="*/ 52 w 106"/>
                <a:gd name="T11" fmla="*/ 0 h 166"/>
                <a:gd name="T12" fmla="*/ 99 w 106"/>
                <a:gd name="T13" fmla="*/ 12 h 166"/>
                <a:gd name="T14" fmla="*/ 99 w 106"/>
                <a:gd name="T15" fmla="*/ 34 h 166"/>
                <a:gd name="T16" fmla="*/ 52 w 106"/>
                <a:gd name="T17" fmla="*/ 19 h 166"/>
                <a:gd name="T18" fmla="*/ 21 w 106"/>
                <a:gd name="T19" fmla="*/ 43 h 166"/>
                <a:gd name="T20" fmla="*/ 59 w 106"/>
                <a:gd name="T21" fmla="*/ 72 h 166"/>
                <a:gd name="T22" fmla="*/ 106 w 106"/>
                <a:gd name="T23" fmla="*/ 119 h 166"/>
                <a:gd name="T24" fmla="*/ 52 w 106"/>
                <a:gd name="T25" fmla="*/ 166 h 166"/>
                <a:gd name="T26" fmla="*/ 4 w 106"/>
                <a:gd name="T27" fmla="*/ 153 h 166"/>
                <a:gd name="T28" fmla="*/ 4 w 106"/>
                <a:gd name="T29" fmla="*/ 13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6" h="166">
                  <a:moveTo>
                    <a:pt x="4" y="130"/>
                  </a:moveTo>
                  <a:cubicBezTo>
                    <a:pt x="19" y="141"/>
                    <a:pt x="38" y="146"/>
                    <a:pt x="52" y="146"/>
                  </a:cubicBezTo>
                  <a:cubicBezTo>
                    <a:pt x="71" y="146"/>
                    <a:pt x="85" y="138"/>
                    <a:pt x="85" y="120"/>
                  </a:cubicBezTo>
                  <a:cubicBezTo>
                    <a:pt x="85" y="99"/>
                    <a:pt x="66" y="96"/>
                    <a:pt x="45" y="90"/>
                  </a:cubicBezTo>
                  <a:cubicBezTo>
                    <a:pt x="22" y="83"/>
                    <a:pt x="0" y="74"/>
                    <a:pt x="0" y="45"/>
                  </a:cubicBezTo>
                  <a:cubicBezTo>
                    <a:pt x="0" y="16"/>
                    <a:pt x="21" y="0"/>
                    <a:pt x="52" y="0"/>
                  </a:cubicBezTo>
                  <a:cubicBezTo>
                    <a:pt x="67" y="0"/>
                    <a:pt x="86" y="4"/>
                    <a:pt x="99" y="12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84" y="24"/>
                    <a:pt x="66" y="19"/>
                    <a:pt x="52" y="19"/>
                  </a:cubicBezTo>
                  <a:cubicBezTo>
                    <a:pt x="34" y="19"/>
                    <a:pt x="21" y="27"/>
                    <a:pt x="21" y="43"/>
                  </a:cubicBezTo>
                  <a:cubicBezTo>
                    <a:pt x="21" y="63"/>
                    <a:pt x="40" y="67"/>
                    <a:pt x="59" y="72"/>
                  </a:cubicBezTo>
                  <a:cubicBezTo>
                    <a:pt x="83" y="79"/>
                    <a:pt x="106" y="88"/>
                    <a:pt x="106" y="119"/>
                  </a:cubicBezTo>
                  <a:cubicBezTo>
                    <a:pt x="106" y="148"/>
                    <a:pt x="84" y="166"/>
                    <a:pt x="52" y="166"/>
                  </a:cubicBezTo>
                  <a:cubicBezTo>
                    <a:pt x="37" y="166"/>
                    <a:pt x="18" y="161"/>
                    <a:pt x="4" y="153"/>
                  </a:cubicBezTo>
                  <a:lnTo>
                    <a:pt x="4" y="13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" name="Freeform 11">
              <a:extLst>
                <a:ext uri="{FF2B5EF4-FFF2-40B4-BE49-F238E27FC236}">
                  <a16:creationId xmlns:a16="http://schemas.microsoft.com/office/drawing/2014/main" id="{D4D51628-17C0-4828-A2D1-271E4328AB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35786" y="6115872"/>
              <a:ext cx="90248" cy="113253"/>
            </a:xfrm>
            <a:custGeom>
              <a:avLst/>
              <a:gdLst>
                <a:gd name="T0" fmla="*/ 128 w 306"/>
                <a:gd name="T1" fmla="*/ 45 h 384"/>
                <a:gd name="T2" fmla="*/ 0 w 306"/>
                <a:gd name="T3" fmla="*/ 45 h 384"/>
                <a:gd name="T4" fmla="*/ 0 w 306"/>
                <a:gd name="T5" fmla="*/ 0 h 384"/>
                <a:gd name="T6" fmla="*/ 306 w 306"/>
                <a:gd name="T7" fmla="*/ 0 h 384"/>
                <a:gd name="T8" fmla="*/ 306 w 306"/>
                <a:gd name="T9" fmla="*/ 45 h 384"/>
                <a:gd name="T10" fmla="*/ 178 w 306"/>
                <a:gd name="T11" fmla="*/ 45 h 384"/>
                <a:gd name="T12" fmla="*/ 178 w 306"/>
                <a:gd name="T13" fmla="*/ 384 h 384"/>
                <a:gd name="T14" fmla="*/ 128 w 306"/>
                <a:gd name="T15" fmla="*/ 384 h 384"/>
                <a:gd name="T16" fmla="*/ 128 w 306"/>
                <a:gd name="T17" fmla="*/ 45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6" h="384">
                  <a:moveTo>
                    <a:pt x="128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306" y="0"/>
                  </a:lnTo>
                  <a:lnTo>
                    <a:pt x="306" y="45"/>
                  </a:lnTo>
                  <a:lnTo>
                    <a:pt x="178" y="45"/>
                  </a:lnTo>
                  <a:lnTo>
                    <a:pt x="178" y="384"/>
                  </a:lnTo>
                  <a:lnTo>
                    <a:pt x="128" y="384"/>
                  </a:lnTo>
                  <a:lnTo>
                    <a:pt x="128" y="4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" name="Freeform 12">
              <a:extLst>
                <a:ext uri="{FF2B5EF4-FFF2-40B4-BE49-F238E27FC236}">
                  <a16:creationId xmlns:a16="http://schemas.microsoft.com/office/drawing/2014/main" id="{F69032A7-22BC-4758-91C4-F952E59B21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4066" y="6270414"/>
              <a:ext cx="153953" cy="113253"/>
            </a:xfrm>
            <a:custGeom>
              <a:avLst/>
              <a:gdLst>
                <a:gd name="T0" fmla="*/ 0 w 220"/>
                <a:gd name="T1" fmla="*/ 0 h 161"/>
                <a:gd name="T2" fmla="*/ 22 w 220"/>
                <a:gd name="T3" fmla="*/ 0 h 161"/>
                <a:gd name="T4" fmla="*/ 49 w 220"/>
                <a:gd name="T5" fmla="*/ 87 h 161"/>
                <a:gd name="T6" fmla="*/ 62 w 220"/>
                <a:gd name="T7" fmla="*/ 129 h 161"/>
                <a:gd name="T8" fmla="*/ 62 w 220"/>
                <a:gd name="T9" fmla="*/ 129 h 161"/>
                <a:gd name="T10" fmla="*/ 75 w 220"/>
                <a:gd name="T11" fmla="*/ 87 h 161"/>
                <a:gd name="T12" fmla="*/ 103 w 220"/>
                <a:gd name="T13" fmla="*/ 0 h 161"/>
                <a:gd name="T14" fmla="*/ 118 w 220"/>
                <a:gd name="T15" fmla="*/ 0 h 161"/>
                <a:gd name="T16" fmla="*/ 145 w 220"/>
                <a:gd name="T17" fmla="*/ 87 h 161"/>
                <a:gd name="T18" fmla="*/ 158 w 220"/>
                <a:gd name="T19" fmla="*/ 129 h 161"/>
                <a:gd name="T20" fmla="*/ 159 w 220"/>
                <a:gd name="T21" fmla="*/ 129 h 161"/>
                <a:gd name="T22" fmla="*/ 171 w 220"/>
                <a:gd name="T23" fmla="*/ 87 h 161"/>
                <a:gd name="T24" fmla="*/ 198 w 220"/>
                <a:gd name="T25" fmla="*/ 0 h 161"/>
                <a:gd name="T26" fmla="*/ 220 w 220"/>
                <a:gd name="T27" fmla="*/ 0 h 161"/>
                <a:gd name="T28" fmla="*/ 170 w 220"/>
                <a:gd name="T29" fmla="*/ 161 h 161"/>
                <a:gd name="T30" fmla="*/ 147 w 220"/>
                <a:gd name="T31" fmla="*/ 161 h 161"/>
                <a:gd name="T32" fmla="*/ 121 w 220"/>
                <a:gd name="T33" fmla="*/ 79 h 161"/>
                <a:gd name="T34" fmla="*/ 110 w 220"/>
                <a:gd name="T35" fmla="*/ 42 h 161"/>
                <a:gd name="T36" fmla="*/ 110 w 220"/>
                <a:gd name="T37" fmla="*/ 42 h 161"/>
                <a:gd name="T38" fmla="*/ 98 w 220"/>
                <a:gd name="T39" fmla="*/ 79 h 161"/>
                <a:gd name="T40" fmla="*/ 73 w 220"/>
                <a:gd name="T41" fmla="*/ 161 h 161"/>
                <a:gd name="T42" fmla="*/ 50 w 220"/>
                <a:gd name="T43" fmla="*/ 161 h 161"/>
                <a:gd name="T44" fmla="*/ 0 w 220"/>
                <a:gd name="T45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0" h="161">
                  <a:moveTo>
                    <a:pt x="0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54" y="101"/>
                    <a:pt x="58" y="115"/>
                    <a:pt x="62" y="129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66" y="115"/>
                    <a:pt x="71" y="101"/>
                    <a:pt x="75" y="87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45" y="87"/>
                    <a:pt x="145" y="87"/>
                    <a:pt x="145" y="87"/>
                  </a:cubicBezTo>
                  <a:cubicBezTo>
                    <a:pt x="150" y="101"/>
                    <a:pt x="154" y="115"/>
                    <a:pt x="158" y="129"/>
                  </a:cubicBezTo>
                  <a:cubicBezTo>
                    <a:pt x="159" y="129"/>
                    <a:pt x="159" y="129"/>
                    <a:pt x="159" y="129"/>
                  </a:cubicBezTo>
                  <a:cubicBezTo>
                    <a:pt x="163" y="115"/>
                    <a:pt x="167" y="101"/>
                    <a:pt x="171" y="87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170" y="161"/>
                    <a:pt x="170" y="161"/>
                    <a:pt x="170" y="161"/>
                  </a:cubicBezTo>
                  <a:cubicBezTo>
                    <a:pt x="147" y="161"/>
                    <a:pt x="147" y="161"/>
                    <a:pt x="147" y="161"/>
                  </a:cubicBezTo>
                  <a:cubicBezTo>
                    <a:pt x="121" y="79"/>
                    <a:pt x="121" y="79"/>
                    <a:pt x="121" y="79"/>
                  </a:cubicBezTo>
                  <a:cubicBezTo>
                    <a:pt x="117" y="66"/>
                    <a:pt x="114" y="54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06" y="54"/>
                    <a:pt x="102" y="67"/>
                    <a:pt x="98" y="79"/>
                  </a:cubicBezTo>
                  <a:cubicBezTo>
                    <a:pt x="73" y="161"/>
                    <a:pt x="73" y="161"/>
                    <a:pt x="73" y="161"/>
                  </a:cubicBezTo>
                  <a:cubicBezTo>
                    <a:pt x="50" y="161"/>
                    <a:pt x="50" y="161"/>
                    <a:pt x="50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" name="Freeform 13">
              <a:extLst>
                <a:ext uri="{FF2B5EF4-FFF2-40B4-BE49-F238E27FC236}">
                  <a16:creationId xmlns:a16="http://schemas.microsoft.com/office/drawing/2014/main" id="{9703A661-DF9D-46EB-9410-1F7A083F338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490111" y="6268940"/>
              <a:ext cx="114727" cy="115907"/>
            </a:xfrm>
            <a:custGeom>
              <a:avLst/>
              <a:gdLst>
                <a:gd name="T0" fmla="*/ 82 w 164"/>
                <a:gd name="T1" fmla="*/ 0 h 165"/>
                <a:gd name="T2" fmla="*/ 164 w 164"/>
                <a:gd name="T3" fmla="*/ 82 h 165"/>
                <a:gd name="T4" fmla="*/ 82 w 164"/>
                <a:gd name="T5" fmla="*/ 165 h 165"/>
                <a:gd name="T6" fmla="*/ 0 w 164"/>
                <a:gd name="T7" fmla="*/ 82 h 165"/>
                <a:gd name="T8" fmla="*/ 82 w 164"/>
                <a:gd name="T9" fmla="*/ 0 h 165"/>
                <a:gd name="T10" fmla="*/ 82 w 164"/>
                <a:gd name="T11" fmla="*/ 146 h 165"/>
                <a:gd name="T12" fmla="*/ 143 w 164"/>
                <a:gd name="T13" fmla="*/ 82 h 165"/>
                <a:gd name="T14" fmla="*/ 82 w 164"/>
                <a:gd name="T15" fmla="*/ 19 h 165"/>
                <a:gd name="T16" fmla="*/ 22 w 164"/>
                <a:gd name="T17" fmla="*/ 82 h 165"/>
                <a:gd name="T18" fmla="*/ 82 w 164"/>
                <a:gd name="T19" fmla="*/ 146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5">
                  <a:moveTo>
                    <a:pt x="82" y="0"/>
                  </a:moveTo>
                  <a:cubicBezTo>
                    <a:pt x="129" y="0"/>
                    <a:pt x="164" y="36"/>
                    <a:pt x="164" y="82"/>
                  </a:cubicBezTo>
                  <a:cubicBezTo>
                    <a:pt x="164" y="129"/>
                    <a:pt x="129" y="165"/>
                    <a:pt x="82" y="165"/>
                  </a:cubicBezTo>
                  <a:cubicBezTo>
                    <a:pt x="36" y="165"/>
                    <a:pt x="0" y="129"/>
                    <a:pt x="0" y="82"/>
                  </a:cubicBezTo>
                  <a:cubicBezTo>
                    <a:pt x="0" y="36"/>
                    <a:pt x="36" y="0"/>
                    <a:pt x="82" y="0"/>
                  </a:cubicBezTo>
                  <a:close/>
                  <a:moveTo>
                    <a:pt x="82" y="146"/>
                  </a:moveTo>
                  <a:cubicBezTo>
                    <a:pt x="117" y="146"/>
                    <a:pt x="143" y="118"/>
                    <a:pt x="143" y="82"/>
                  </a:cubicBezTo>
                  <a:cubicBezTo>
                    <a:pt x="143" y="47"/>
                    <a:pt x="117" y="19"/>
                    <a:pt x="82" y="19"/>
                  </a:cubicBezTo>
                  <a:cubicBezTo>
                    <a:pt x="47" y="19"/>
                    <a:pt x="22" y="47"/>
                    <a:pt x="22" y="82"/>
                  </a:cubicBezTo>
                  <a:cubicBezTo>
                    <a:pt x="22" y="118"/>
                    <a:pt x="47" y="146"/>
                    <a:pt x="82" y="14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" name="Freeform 14">
              <a:extLst>
                <a:ext uri="{FF2B5EF4-FFF2-40B4-BE49-F238E27FC236}">
                  <a16:creationId xmlns:a16="http://schemas.microsoft.com/office/drawing/2014/main" id="{7E5E2063-914E-4654-B51A-C27F6846F0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631382" y="6270414"/>
              <a:ext cx="86119" cy="113253"/>
            </a:xfrm>
            <a:custGeom>
              <a:avLst/>
              <a:gdLst>
                <a:gd name="T0" fmla="*/ 0 w 123"/>
                <a:gd name="T1" fmla="*/ 0 h 161"/>
                <a:gd name="T2" fmla="*/ 43 w 123"/>
                <a:gd name="T3" fmla="*/ 0 h 161"/>
                <a:gd name="T4" fmla="*/ 88 w 123"/>
                <a:gd name="T5" fmla="*/ 8 h 161"/>
                <a:gd name="T6" fmla="*/ 111 w 123"/>
                <a:gd name="T7" fmla="*/ 46 h 161"/>
                <a:gd name="T8" fmla="*/ 90 w 123"/>
                <a:gd name="T9" fmla="*/ 83 h 161"/>
                <a:gd name="T10" fmla="*/ 71 w 123"/>
                <a:gd name="T11" fmla="*/ 90 h 161"/>
                <a:gd name="T12" fmla="*/ 123 w 123"/>
                <a:gd name="T13" fmla="*/ 161 h 161"/>
                <a:gd name="T14" fmla="*/ 97 w 123"/>
                <a:gd name="T15" fmla="*/ 161 h 161"/>
                <a:gd name="T16" fmla="*/ 48 w 123"/>
                <a:gd name="T17" fmla="*/ 92 h 161"/>
                <a:gd name="T18" fmla="*/ 21 w 123"/>
                <a:gd name="T19" fmla="*/ 92 h 161"/>
                <a:gd name="T20" fmla="*/ 21 w 123"/>
                <a:gd name="T21" fmla="*/ 161 h 161"/>
                <a:gd name="T22" fmla="*/ 0 w 123"/>
                <a:gd name="T23" fmla="*/ 161 h 161"/>
                <a:gd name="T24" fmla="*/ 0 w 123"/>
                <a:gd name="T25" fmla="*/ 0 h 161"/>
                <a:gd name="T26" fmla="*/ 48 w 123"/>
                <a:gd name="T27" fmla="*/ 75 h 161"/>
                <a:gd name="T28" fmla="*/ 80 w 123"/>
                <a:gd name="T29" fmla="*/ 67 h 161"/>
                <a:gd name="T30" fmla="*/ 89 w 123"/>
                <a:gd name="T31" fmla="*/ 47 h 161"/>
                <a:gd name="T32" fmla="*/ 76 w 123"/>
                <a:gd name="T33" fmla="*/ 25 h 161"/>
                <a:gd name="T34" fmla="*/ 42 w 123"/>
                <a:gd name="T35" fmla="*/ 19 h 161"/>
                <a:gd name="T36" fmla="*/ 21 w 123"/>
                <a:gd name="T37" fmla="*/ 19 h 161"/>
                <a:gd name="T38" fmla="*/ 21 w 123"/>
                <a:gd name="T39" fmla="*/ 75 h 161"/>
                <a:gd name="T40" fmla="*/ 48 w 123"/>
                <a:gd name="T41" fmla="*/ 75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3" h="161">
                  <a:moveTo>
                    <a:pt x="0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60" y="0"/>
                    <a:pt x="75" y="1"/>
                    <a:pt x="88" y="8"/>
                  </a:cubicBezTo>
                  <a:cubicBezTo>
                    <a:pt x="102" y="15"/>
                    <a:pt x="111" y="28"/>
                    <a:pt x="111" y="46"/>
                  </a:cubicBezTo>
                  <a:cubicBezTo>
                    <a:pt x="111" y="63"/>
                    <a:pt x="102" y="76"/>
                    <a:pt x="90" y="83"/>
                  </a:cubicBezTo>
                  <a:cubicBezTo>
                    <a:pt x="84" y="87"/>
                    <a:pt x="78" y="89"/>
                    <a:pt x="71" y="90"/>
                  </a:cubicBezTo>
                  <a:cubicBezTo>
                    <a:pt x="123" y="161"/>
                    <a:pt x="123" y="161"/>
                    <a:pt x="123" y="161"/>
                  </a:cubicBezTo>
                  <a:cubicBezTo>
                    <a:pt x="97" y="161"/>
                    <a:pt x="97" y="161"/>
                    <a:pt x="97" y="161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0" y="161"/>
                    <a:pt x="0" y="161"/>
                    <a:pt x="0" y="161"/>
                  </a:cubicBezTo>
                  <a:lnTo>
                    <a:pt x="0" y="0"/>
                  </a:lnTo>
                  <a:close/>
                  <a:moveTo>
                    <a:pt x="48" y="75"/>
                  </a:moveTo>
                  <a:cubicBezTo>
                    <a:pt x="63" y="75"/>
                    <a:pt x="73" y="73"/>
                    <a:pt x="80" y="67"/>
                  </a:cubicBezTo>
                  <a:cubicBezTo>
                    <a:pt x="86" y="63"/>
                    <a:pt x="89" y="56"/>
                    <a:pt x="89" y="47"/>
                  </a:cubicBezTo>
                  <a:cubicBezTo>
                    <a:pt x="89" y="37"/>
                    <a:pt x="85" y="29"/>
                    <a:pt x="76" y="25"/>
                  </a:cubicBezTo>
                  <a:cubicBezTo>
                    <a:pt x="68" y="20"/>
                    <a:pt x="57" y="19"/>
                    <a:pt x="42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75"/>
                    <a:pt x="21" y="75"/>
                    <a:pt x="21" y="75"/>
                  </a:cubicBezTo>
                  <a:lnTo>
                    <a:pt x="48" y="7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" name="Freeform 15">
              <a:extLst>
                <a:ext uri="{FF2B5EF4-FFF2-40B4-BE49-F238E27FC236}">
                  <a16:creationId xmlns:a16="http://schemas.microsoft.com/office/drawing/2014/main" id="{096ABFB1-000D-4EF9-AF51-C838608FED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44929" y="6270414"/>
              <a:ext cx="86709" cy="113253"/>
            </a:xfrm>
            <a:custGeom>
              <a:avLst/>
              <a:gdLst>
                <a:gd name="T0" fmla="*/ 0 w 294"/>
                <a:gd name="T1" fmla="*/ 0 h 384"/>
                <a:gd name="T2" fmla="*/ 49 w 294"/>
                <a:gd name="T3" fmla="*/ 0 h 384"/>
                <a:gd name="T4" fmla="*/ 49 w 294"/>
                <a:gd name="T5" fmla="*/ 174 h 384"/>
                <a:gd name="T6" fmla="*/ 49 w 294"/>
                <a:gd name="T7" fmla="*/ 174 h 384"/>
                <a:gd name="T8" fmla="*/ 216 w 294"/>
                <a:gd name="T9" fmla="*/ 0 h 384"/>
                <a:gd name="T10" fmla="*/ 280 w 294"/>
                <a:gd name="T11" fmla="*/ 0 h 384"/>
                <a:gd name="T12" fmla="*/ 106 w 294"/>
                <a:gd name="T13" fmla="*/ 179 h 384"/>
                <a:gd name="T14" fmla="*/ 294 w 294"/>
                <a:gd name="T15" fmla="*/ 384 h 384"/>
                <a:gd name="T16" fmla="*/ 227 w 294"/>
                <a:gd name="T17" fmla="*/ 384 h 384"/>
                <a:gd name="T18" fmla="*/ 49 w 294"/>
                <a:gd name="T19" fmla="*/ 186 h 384"/>
                <a:gd name="T20" fmla="*/ 49 w 294"/>
                <a:gd name="T21" fmla="*/ 186 h 384"/>
                <a:gd name="T22" fmla="*/ 49 w 294"/>
                <a:gd name="T23" fmla="*/ 384 h 384"/>
                <a:gd name="T24" fmla="*/ 0 w 294"/>
                <a:gd name="T25" fmla="*/ 384 h 384"/>
                <a:gd name="T26" fmla="*/ 0 w 294"/>
                <a:gd name="T27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384">
                  <a:moveTo>
                    <a:pt x="0" y="0"/>
                  </a:moveTo>
                  <a:lnTo>
                    <a:pt x="49" y="0"/>
                  </a:lnTo>
                  <a:lnTo>
                    <a:pt x="49" y="174"/>
                  </a:lnTo>
                  <a:lnTo>
                    <a:pt x="49" y="174"/>
                  </a:lnTo>
                  <a:lnTo>
                    <a:pt x="216" y="0"/>
                  </a:lnTo>
                  <a:lnTo>
                    <a:pt x="280" y="0"/>
                  </a:lnTo>
                  <a:lnTo>
                    <a:pt x="106" y="179"/>
                  </a:lnTo>
                  <a:lnTo>
                    <a:pt x="294" y="384"/>
                  </a:lnTo>
                  <a:lnTo>
                    <a:pt x="227" y="384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384"/>
                  </a:lnTo>
                  <a:lnTo>
                    <a:pt x="0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" name="Freeform 16">
              <a:extLst>
                <a:ext uri="{FF2B5EF4-FFF2-40B4-BE49-F238E27FC236}">
                  <a16:creationId xmlns:a16="http://schemas.microsoft.com/office/drawing/2014/main" id="{EAEBC4A3-2171-4610-B11B-E1763D8C65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67106" y="6424367"/>
              <a:ext cx="66359" cy="112958"/>
            </a:xfrm>
            <a:custGeom>
              <a:avLst/>
              <a:gdLst>
                <a:gd name="T0" fmla="*/ 0 w 225"/>
                <a:gd name="T1" fmla="*/ 0 h 383"/>
                <a:gd name="T2" fmla="*/ 225 w 225"/>
                <a:gd name="T3" fmla="*/ 0 h 383"/>
                <a:gd name="T4" fmla="*/ 225 w 225"/>
                <a:gd name="T5" fmla="*/ 45 h 383"/>
                <a:gd name="T6" fmla="*/ 49 w 225"/>
                <a:gd name="T7" fmla="*/ 45 h 383"/>
                <a:gd name="T8" fmla="*/ 49 w 225"/>
                <a:gd name="T9" fmla="*/ 169 h 383"/>
                <a:gd name="T10" fmla="*/ 204 w 225"/>
                <a:gd name="T11" fmla="*/ 169 h 383"/>
                <a:gd name="T12" fmla="*/ 204 w 225"/>
                <a:gd name="T13" fmla="*/ 214 h 383"/>
                <a:gd name="T14" fmla="*/ 49 w 225"/>
                <a:gd name="T15" fmla="*/ 214 h 383"/>
                <a:gd name="T16" fmla="*/ 49 w 225"/>
                <a:gd name="T17" fmla="*/ 383 h 383"/>
                <a:gd name="T18" fmla="*/ 0 w 225"/>
                <a:gd name="T19" fmla="*/ 383 h 383"/>
                <a:gd name="T20" fmla="*/ 0 w 225"/>
                <a:gd name="T21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5" h="383">
                  <a:moveTo>
                    <a:pt x="0" y="0"/>
                  </a:moveTo>
                  <a:lnTo>
                    <a:pt x="225" y="0"/>
                  </a:lnTo>
                  <a:lnTo>
                    <a:pt x="225" y="45"/>
                  </a:lnTo>
                  <a:lnTo>
                    <a:pt x="49" y="45"/>
                  </a:lnTo>
                  <a:lnTo>
                    <a:pt x="49" y="169"/>
                  </a:lnTo>
                  <a:lnTo>
                    <a:pt x="204" y="169"/>
                  </a:lnTo>
                  <a:lnTo>
                    <a:pt x="204" y="214"/>
                  </a:lnTo>
                  <a:lnTo>
                    <a:pt x="49" y="214"/>
                  </a:lnTo>
                  <a:lnTo>
                    <a:pt x="49" y="383"/>
                  </a:lnTo>
                  <a:lnTo>
                    <a:pt x="0" y="3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" name="Rectangle 17">
              <a:extLst>
                <a:ext uri="{FF2B5EF4-FFF2-40B4-BE49-F238E27FC236}">
                  <a16:creationId xmlns:a16="http://schemas.microsoft.com/office/drawing/2014/main" id="{AF0A0B90-7573-463E-9D9D-4BC4FC21780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565023" y="6424367"/>
              <a:ext cx="14746" cy="11295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" name="Freeform 18">
              <a:extLst>
                <a:ext uri="{FF2B5EF4-FFF2-40B4-BE49-F238E27FC236}">
                  <a16:creationId xmlns:a16="http://schemas.microsoft.com/office/drawing/2014/main" id="{39187812-ABFF-41D4-B84E-ED321FD2CD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15455" y="6424367"/>
              <a:ext cx="67834" cy="112958"/>
            </a:xfrm>
            <a:custGeom>
              <a:avLst/>
              <a:gdLst>
                <a:gd name="T0" fmla="*/ 0 w 230"/>
                <a:gd name="T1" fmla="*/ 0 h 383"/>
                <a:gd name="T2" fmla="*/ 49 w 230"/>
                <a:gd name="T3" fmla="*/ 0 h 383"/>
                <a:gd name="T4" fmla="*/ 49 w 230"/>
                <a:gd name="T5" fmla="*/ 338 h 383"/>
                <a:gd name="T6" fmla="*/ 230 w 230"/>
                <a:gd name="T7" fmla="*/ 338 h 383"/>
                <a:gd name="T8" fmla="*/ 230 w 230"/>
                <a:gd name="T9" fmla="*/ 383 h 383"/>
                <a:gd name="T10" fmla="*/ 0 w 230"/>
                <a:gd name="T11" fmla="*/ 383 h 383"/>
                <a:gd name="T12" fmla="*/ 0 w 230"/>
                <a:gd name="T13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0" h="383">
                  <a:moveTo>
                    <a:pt x="0" y="0"/>
                  </a:moveTo>
                  <a:lnTo>
                    <a:pt x="49" y="0"/>
                  </a:lnTo>
                  <a:lnTo>
                    <a:pt x="49" y="338"/>
                  </a:lnTo>
                  <a:lnTo>
                    <a:pt x="230" y="338"/>
                  </a:lnTo>
                  <a:lnTo>
                    <a:pt x="230" y="383"/>
                  </a:lnTo>
                  <a:lnTo>
                    <a:pt x="0" y="3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" name="Freeform 19">
              <a:extLst>
                <a:ext uri="{FF2B5EF4-FFF2-40B4-BE49-F238E27FC236}">
                  <a16:creationId xmlns:a16="http://schemas.microsoft.com/office/drawing/2014/main" id="{D065D3F7-EF7C-4441-AB78-2337EB2357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08358" y="6424367"/>
              <a:ext cx="108534" cy="112958"/>
            </a:xfrm>
            <a:custGeom>
              <a:avLst/>
              <a:gdLst>
                <a:gd name="T0" fmla="*/ 42 w 155"/>
                <a:gd name="T1" fmla="*/ 67 h 161"/>
                <a:gd name="T2" fmla="*/ 20 w 155"/>
                <a:gd name="T3" fmla="*/ 35 h 161"/>
                <a:gd name="T4" fmla="*/ 20 w 155"/>
                <a:gd name="T5" fmla="*/ 36 h 161"/>
                <a:gd name="T6" fmla="*/ 20 w 155"/>
                <a:gd name="T7" fmla="*/ 71 h 161"/>
                <a:gd name="T8" fmla="*/ 20 w 155"/>
                <a:gd name="T9" fmla="*/ 161 h 161"/>
                <a:gd name="T10" fmla="*/ 0 w 155"/>
                <a:gd name="T11" fmla="*/ 161 h 161"/>
                <a:gd name="T12" fmla="*/ 0 w 155"/>
                <a:gd name="T13" fmla="*/ 0 h 161"/>
                <a:gd name="T14" fmla="*/ 20 w 155"/>
                <a:gd name="T15" fmla="*/ 0 h 161"/>
                <a:gd name="T16" fmla="*/ 78 w 155"/>
                <a:gd name="T17" fmla="*/ 82 h 161"/>
                <a:gd name="T18" fmla="*/ 135 w 155"/>
                <a:gd name="T19" fmla="*/ 0 h 161"/>
                <a:gd name="T20" fmla="*/ 155 w 155"/>
                <a:gd name="T21" fmla="*/ 0 h 161"/>
                <a:gd name="T22" fmla="*/ 155 w 155"/>
                <a:gd name="T23" fmla="*/ 161 h 161"/>
                <a:gd name="T24" fmla="*/ 134 w 155"/>
                <a:gd name="T25" fmla="*/ 161 h 161"/>
                <a:gd name="T26" fmla="*/ 134 w 155"/>
                <a:gd name="T27" fmla="*/ 71 h 161"/>
                <a:gd name="T28" fmla="*/ 134 w 155"/>
                <a:gd name="T29" fmla="*/ 36 h 161"/>
                <a:gd name="T30" fmla="*/ 134 w 155"/>
                <a:gd name="T31" fmla="*/ 35 h 161"/>
                <a:gd name="T32" fmla="*/ 112 w 155"/>
                <a:gd name="T33" fmla="*/ 67 h 161"/>
                <a:gd name="T34" fmla="*/ 77 w 155"/>
                <a:gd name="T35" fmla="*/ 117 h 161"/>
                <a:gd name="T36" fmla="*/ 42 w 155"/>
                <a:gd name="T37" fmla="*/ 6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61">
                  <a:moveTo>
                    <a:pt x="42" y="67"/>
                  </a:moveTo>
                  <a:cubicBezTo>
                    <a:pt x="35" y="57"/>
                    <a:pt x="28" y="46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45"/>
                    <a:pt x="20" y="57"/>
                    <a:pt x="20" y="71"/>
                  </a:cubicBezTo>
                  <a:cubicBezTo>
                    <a:pt x="20" y="161"/>
                    <a:pt x="20" y="161"/>
                    <a:pt x="2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5" y="161"/>
                    <a:pt x="155" y="161"/>
                    <a:pt x="155" y="161"/>
                  </a:cubicBezTo>
                  <a:cubicBezTo>
                    <a:pt x="134" y="161"/>
                    <a:pt x="134" y="161"/>
                    <a:pt x="134" y="161"/>
                  </a:cubicBezTo>
                  <a:cubicBezTo>
                    <a:pt x="134" y="71"/>
                    <a:pt x="134" y="71"/>
                    <a:pt x="134" y="71"/>
                  </a:cubicBezTo>
                  <a:cubicBezTo>
                    <a:pt x="134" y="57"/>
                    <a:pt x="134" y="45"/>
                    <a:pt x="134" y="36"/>
                  </a:cubicBezTo>
                  <a:cubicBezTo>
                    <a:pt x="134" y="35"/>
                    <a:pt x="134" y="35"/>
                    <a:pt x="134" y="35"/>
                  </a:cubicBezTo>
                  <a:cubicBezTo>
                    <a:pt x="127" y="46"/>
                    <a:pt x="120" y="57"/>
                    <a:pt x="112" y="67"/>
                  </a:cubicBezTo>
                  <a:cubicBezTo>
                    <a:pt x="77" y="117"/>
                    <a:pt x="77" y="117"/>
                    <a:pt x="77" y="117"/>
                  </a:cubicBezTo>
                  <a:lnTo>
                    <a:pt x="42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" name="Freeform 20">
              <a:extLst>
                <a:ext uri="{FF2B5EF4-FFF2-40B4-BE49-F238E27FC236}">
                  <a16:creationId xmlns:a16="http://schemas.microsoft.com/office/drawing/2014/main" id="{C9F21C67-1735-49F4-985E-E331E05332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9018" y="6115872"/>
              <a:ext cx="510226" cy="421453"/>
            </a:xfrm>
            <a:custGeom>
              <a:avLst/>
              <a:gdLst>
                <a:gd name="T0" fmla="*/ 318 w 1730"/>
                <a:gd name="T1" fmla="*/ 1429 h 1429"/>
                <a:gd name="T2" fmla="*/ 0 w 1730"/>
                <a:gd name="T3" fmla="*/ 1429 h 1429"/>
                <a:gd name="T4" fmla="*/ 721 w 1730"/>
                <a:gd name="T5" fmla="*/ 0 h 1429"/>
                <a:gd name="T6" fmla="*/ 1008 w 1730"/>
                <a:gd name="T7" fmla="*/ 0 h 1429"/>
                <a:gd name="T8" fmla="*/ 1730 w 1730"/>
                <a:gd name="T9" fmla="*/ 1429 h 1429"/>
                <a:gd name="T10" fmla="*/ 1404 w 1730"/>
                <a:gd name="T11" fmla="*/ 1429 h 1429"/>
                <a:gd name="T12" fmla="*/ 861 w 1730"/>
                <a:gd name="T13" fmla="*/ 376 h 1429"/>
                <a:gd name="T14" fmla="*/ 318 w 1730"/>
                <a:gd name="T15" fmla="*/ 1429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0" h="1429">
                  <a:moveTo>
                    <a:pt x="318" y="1429"/>
                  </a:moveTo>
                  <a:lnTo>
                    <a:pt x="0" y="1429"/>
                  </a:lnTo>
                  <a:lnTo>
                    <a:pt x="721" y="0"/>
                  </a:lnTo>
                  <a:lnTo>
                    <a:pt x="1008" y="0"/>
                  </a:lnTo>
                  <a:lnTo>
                    <a:pt x="1730" y="1429"/>
                  </a:lnTo>
                  <a:lnTo>
                    <a:pt x="1404" y="1429"/>
                  </a:lnTo>
                  <a:lnTo>
                    <a:pt x="861" y="376"/>
                  </a:lnTo>
                  <a:lnTo>
                    <a:pt x="318" y="14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" name="Freeform 21">
              <a:extLst>
                <a:ext uri="{FF2B5EF4-FFF2-40B4-BE49-F238E27FC236}">
                  <a16:creationId xmlns:a16="http://schemas.microsoft.com/office/drawing/2014/main" id="{36D05745-9F6D-49B0-9678-5E6B0855142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82949" y="6118821"/>
              <a:ext cx="353914" cy="418504"/>
            </a:xfrm>
            <a:custGeom>
              <a:avLst/>
              <a:gdLst>
                <a:gd name="T0" fmla="*/ 0 w 506"/>
                <a:gd name="T1" fmla="*/ 596 h 596"/>
                <a:gd name="T2" fmla="*/ 74 w 506"/>
                <a:gd name="T3" fmla="*/ 596 h 596"/>
                <a:gd name="T4" fmla="*/ 127 w 506"/>
                <a:gd name="T5" fmla="*/ 596 h 596"/>
                <a:gd name="T6" fmla="*/ 283 w 506"/>
                <a:gd name="T7" fmla="*/ 596 h 596"/>
                <a:gd name="T8" fmla="*/ 506 w 506"/>
                <a:gd name="T9" fmla="*/ 433 h 596"/>
                <a:gd name="T10" fmla="*/ 395 w 506"/>
                <a:gd name="T11" fmla="*/ 285 h 596"/>
                <a:gd name="T12" fmla="*/ 473 w 506"/>
                <a:gd name="T13" fmla="*/ 156 h 596"/>
                <a:gd name="T14" fmla="*/ 432 w 506"/>
                <a:gd name="T15" fmla="*/ 53 h 596"/>
                <a:gd name="T16" fmla="*/ 276 w 506"/>
                <a:gd name="T17" fmla="*/ 0 h 596"/>
                <a:gd name="T18" fmla="*/ 0 w 506"/>
                <a:gd name="T19" fmla="*/ 0 h 596"/>
                <a:gd name="T20" fmla="*/ 0 w 506"/>
                <a:gd name="T21" fmla="*/ 115 h 596"/>
                <a:gd name="T22" fmla="*/ 257 w 506"/>
                <a:gd name="T23" fmla="*/ 115 h 596"/>
                <a:gd name="T24" fmla="*/ 343 w 506"/>
                <a:gd name="T25" fmla="*/ 177 h 596"/>
                <a:gd name="T26" fmla="*/ 248 w 506"/>
                <a:gd name="T27" fmla="*/ 241 h 596"/>
                <a:gd name="T28" fmla="*/ 0 w 506"/>
                <a:gd name="T29" fmla="*/ 241 h 596"/>
                <a:gd name="T30" fmla="*/ 0 w 506"/>
                <a:gd name="T31" fmla="*/ 596 h 596"/>
                <a:gd name="T32" fmla="*/ 283 w 506"/>
                <a:gd name="T33" fmla="*/ 481 h 596"/>
                <a:gd name="T34" fmla="*/ 127 w 506"/>
                <a:gd name="T35" fmla="*/ 481 h 596"/>
                <a:gd name="T36" fmla="*/ 127 w 506"/>
                <a:gd name="T37" fmla="*/ 350 h 596"/>
                <a:gd name="T38" fmla="*/ 279 w 506"/>
                <a:gd name="T39" fmla="*/ 350 h 596"/>
                <a:gd name="T40" fmla="*/ 376 w 506"/>
                <a:gd name="T41" fmla="*/ 415 h 596"/>
                <a:gd name="T42" fmla="*/ 283 w 506"/>
                <a:gd name="T43" fmla="*/ 481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06" h="596">
                  <a:moveTo>
                    <a:pt x="0" y="596"/>
                  </a:moveTo>
                  <a:cubicBezTo>
                    <a:pt x="74" y="596"/>
                    <a:pt x="74" y="596"/>
                    <a:pt x="74" y="596"/>
                  </a:cubicBezTo>
                  <a:cubicBezTo>
                    <a:pt x="127" y="596"/>
                    <a:pt x="127" y="596"/>
                    <a:pt x="127" y="596"/>
                  </a:cubicBezTo>
                  <a:cubicBezTo>
                    <a:pt x="283" y="596"/>
                    <a:pt x="283" y="596"/>
                    <a:pt x="283" y="596"/>
                  </a:cubicBezTo>
                  <a:cubicBezTo>
                    <a:pt x="418" y="596"/>
                    <a:pt x="506" y="542"/>
                    <a:pt x="506" y="433"/>
                  </a:cubicBezTo>
                  <a:cubicBezTo>
                    <a:pt x="506" y="351"/>
                    <a:pt x="464" y="311"/>
                    <a:pt x="395" y="285"/>
                  </a:cubicBezTo>
                  <a:cubicBezTo>
                    <a:pt x="437" y="261"/>
                    <a:pt x="473" y="223"/>
                    <a:pt x="473" y="156"/>
                  </a:cubicBezTo>
                  <a:cubicBezTo>
                    <a:pt x="473" y="114"/>
                    <a:pt x="459" y="80"/>
                    <a:pt x="432" y="53"/>
                  </a:cubicBezTo>
                  <a:cubicBezTo>
                    <a:pt x="398" y="19"/>
                    <a:pt x="344" y="0"/>
                    <a:pt x="27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257" y="115"/>
                    <a:pt x="257" y="115"/>
                    <a:pt x="257" y="115"/>
                  </a:cubicBezTo>
                  <a:cubicBezTo>
                    <a:pt x="312" y="115"/>
                    <a:pt x="343" y="137"/>
                    <a:pt x="343" y="177"/>
                  </a:cubicBezTo>
                  <a:cubicBezTo>
                    <a:pt x="343" y="222"/>
                    <a:pt x="306" y="241"/>
                    <a:pt x="248" y="241"/>
                  </a:cubicBezTo>
                  <a:cubicBezTo>
                    <a:pt x="0" y="241"/>
                    <a:pt x="0" y="241"/>
                    <a:pt x="0" y="241"/>
                  </a:cubicBezTo>
                  <a:lnTo>
                    <a:pt x="0" y="596"/>
                  </a:lnTo>
                  <a:close/>
                  <a:moveTo>
                    <a:pt x="283" y="481"/>
                  </a:moveTo>
                  <a:cubicBezTo>
                    <a:pt x="127" y="481"/>
                    <a:pt x="127" y="481"/>
                    <a:pt x="127" y="481"/>
                  </a:cubicBezTo>
                  <a:cubicBezTo>
                    <a:pt x="127" y="350"/>
                    <a:pt x="127" y="350"/>
                    <a:pt x="127" y="350"/>
                  </a:cubicBezTo>
                  <a:cubicBezTo>
                    <a:pt x="279" y="350"/>
                    <a:pt x="279" y="350"/>
                    <a:pt x="279" y="350"/>
                  </a:cubicBezTo>
                  <a:cubicBezTo>
                    <a:pt x="346" y="350"/>
                    <a:pt x="376" y="375"/>
                    <a:pt x="376" y="415"/>
                  </a:cubicBezTo>
                  <a:cubicBezTo>
                    <a:pt x="376" y="461"/>
                    <a:pt x="341" y="481"/>
                    <a:pt x="283" y="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4" name="object 3">
            <a:extLst>
              <a:ext uri="{FF2B5EF4-FFF2-40B4-BE49-F238E27FC236}">
                <a16:creationId xmlns:a16="http://schemas.microsoft.com/office/drawing/2014/main" id="{C8A8F324-BF72-42C2-A868-5F1BD7061EBF}"/>
              </a:ext>
            </a:extLst>
          </p:cNvPr>
          <p:cNvSpPr/>
          <p:nvPr userDrawn="1"/>
        </p:nvSpPr>
        <p:spPr>
          <a:xfrm>
            <a:off x="9204" y="4559"/>
            <a:ext cx="655813" cy="840582"/>
          </a:xfrm>
          <a:custGeom>
            <a:avLst/>
            <a:gdLst/>
            <a:ahLst/>
            <a:cxnLst/>
            <a:rect l="l" t="t" r="r" b="b"/>
            <a:pathLst>
              <a:path w="1005205" h="1288415">
                <a:moveTo>
                  <a:pt x="0" y="0"/>
                </a:moveTo>
                <a:lnTo>
                  <a:pt x="0" y="335068"/>
                </a:lnTo>
                <a:lnTo>
                  <a:pt x="609552" y="640462"/>
                </a:lnTo>
                <a:lnTo>
                  <a:pt x="0" y="952850"/>
                </a:lnTo>
                <a:lnTo>
                  <a:pt x="0" y="1287918"/>
                </a:lnTo>
                <a:lnTo>
                  <a:pt x="1005204" y="793253"/>
                </a:lnTo>
                <a:lnTo>
                  <a:pt x="1005204" y="49601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 anchor="ctr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71775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63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A Titelse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7332E98-2E79-4AB8-834A-078413608C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973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7332E98-2E79-4AB8-834A-078413608C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2">
            <a:extLst>
              <a:ext uri="{FF2B5EF4-FFF2-40B4-BE49-F238E27FC236}">
                <a16:creationId xmlns:a16="http://schemas.microsoft.com/office/drawing/2014/main" id="{3CA01687-6449-4359-B6A7-6B0C6F8EE156}"/>
              </a:ext>
            </a:extLst>
          </p:cNvPr>
          <p:cNvSpPr/>
          <p:nvPr/>
        </p:nvSpPr>
        <p:spPr>
          <a:xfrm>
            <a:off x="0" y="1067635"/>
            <a:ext cx="12192000" cy="5790366"/>
          </a:xfrm>
          <a:custGeom>
            <a:avLst/>
            <a:gdLst/>
            <a:ahLst/>
            <a:cxnLst/>
            <a:rect l="l" t="t" r="r" b="b"/>
            <a:pathLst>
              <a:path w="20104100" h="9486900">
                <a:moveTo>
                  <a:pt x="20104099" y="0"/>
                </a:moveTo>
                <a:lnTo>
                  <a:pt x="0" y="0"/>
                </a:lnTo>
                <a:lnTo>
                  <a:pt x="0" y="9486622"/>
                </a:lnTo>
                <a:lnTo>
                  <a:pt x="20104099" y="9486622"/>
                </a:lnTo>
                <a:lnTo>
                  <a:pt x="20104099" y="0"/>
                </a:lnTo>
                <a:close/>
              </a:path>
            </a:pathLst>
          </a:custGeom>
          <a:solidFill>
            <a:srgbClr val="E6320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42">
            <a:extLst>
              <a:ext uri="{FF2B5EF4-FFF2-40B4-BE49-F238E27FC236}">
                <a16:creationId xmlns:a16="http://schemas.microsoft.com/office/drawing/2014/main" id="{FBC595D4-4F23-48D5-879E-BC30C15170B3}"/>
              </a:ext>
            </a:extLst>
          </p:cNvPr>
          <p:cNvSpPr/>
          <p:nvPr/>
        </p:nvSpPr>
        <p:spPr>
          <a:xfrm>
            <a:off x="2839937" y="4454862"/>
            <a:ext cx="3010261" cy="2402972"/>
          </a:xfrm>
          <a:custGeom>
            <a:avLst/>
            <a:gdLst/>
            <a:ahLst/>
            <a:cxnLst/>
            <a:rect l="l" t="t" r="r" b="b"/>
            <a:pathLst>
              <a:path w="4963795" h="3962400">
                <a:moveTo>
                  <a:pt x="2893252" y="0"/>
                </a:moveTo>
                <a:lnTo>
                  <a:pt x="2069936" y="0"/>
                </a:lnTo>
                <a:lnTo>
                  <a:pt x="0" y="3962392"/>
                </a:lnTo>
                <a:lnTo>
                  <a:pt x="910307" y="3962392"/>
                </a:lnTo>
                <a:lnTo>
                  <a:pt x="2470019" y="1039737"/>
                </a:lnTo>
                <a:lnTo>
                  <a:pt x="4029699" y="3962392"/>
                </a:lnTo>
                <a:lnTo>
                  <a:pt x="4963199" y="3962392"/>
                </a:lnTo>
                <a:lnTo>
                  <a:pt x="2893252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89862" y="1315327"/>
            <a:ext cx="5452601" cy="1099925"/>
          </a:xfrm>
          <a:prstGeom prst="rect">
            <a:avLst/>
          </a:prstGeom>
          <a:noFill/>
        </p:spPr>
        <p:txBody>
          <a:bodyPr vert="horz" anchor="b">
            <a:no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89862" y="2565345"/>
            <a:ext cx="5452601" cy="872257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929DC8-987C-4BF4-9A49-8F549F1F3D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90154" y="3587745"/>
            <a:ext cx="5453026" cy="619426"/>
          </a:xfrm>
        </p:spPr>
        <p:txBody>
          <a:bodyPr anchor="b"/>
          <a:lstStyle>
            <a:lvl1pPr>
              <a:spcBef>
                <a:spcPts val="600"/>
              </a:spcBef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15A6ABB2-F500-47E2-9DC7-0BB640B9A493}"/>
              </a:ext>
            </a:extLst>
          </p:cNvPr>
          <p:cNvGrpSpPr/>
          <p:nvPr userDrawn="1"/>
        </p:nvGrpSpPr>
        <p:grpSpPr>
          <a:xfrm>
            <a:off x="278910" y="159754"/>
            <a:ext cx="2178646" cy="747961"/>
            <a:chOff x="3138488" y="168275"/>
            <a:chExt cx="3074988" cy="1055688"/>
          </a:xfrm>
        </p:grpSpPr>
        <p:sp>
          <p:nvSpPr>
            <p:cNvPr id="59" name="AutoShape 3">
              <a:extLst>
                <a:ext uri="{FF2B5EF4-FFF2-40B4-BE49-F238E27FC236}">
                  <a16:creationId xmlns:a16="http://schemas.microsoft.com/office/drawing/2014/main" id="{4F5F4692-9A00-49E4-9621-A5FDE29EDBE7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3138488" y="168275"/>
              <a:ext cx="3073400" cy="10556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5">
              <a:extLst>
                <a:ext uri="{FF2B5EF4-FFF2-40B4-BE49-F238E27FC236}">
                  <a16:creationId xmlns:a16="http://schemas.microsoft.com/office/drawing/2014/main" id="{AFC503C3-7BE6-4000-89FC-259AD3DEEB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94226" y="171450"/>
              <a:ext cx="774700" cy="639763"/>
            </a:xfrm>
            <a:custGeom>
              <a:avLst/>
              <a:gdLst>
                <a:gd name="T0" fmla="*/ 90 w 488"/>
                <a:gd name="T1" fmla="*/ 403 h 403"/>
                <a:gd name="T2" fmla="*/ 0 w 488"/>
                <a:gd name="T3" fmla="*/ 403 h 403"/>
                <a:gd name="T4" fmla="*/ 203 w 488"/>
                <a:gd name="T5" fmla="*/ 0 h 403"/>
                <a:gd name="T6" fmla="*/ 285 w 488"/>
                <a:gd name="T7" fmla="*/ 0 h 403"/>
                <a:gd name="T8" fmla="*/ 488 w 488"/>
                <a:gd name="T9" fmla="*/ 403 h 403"/>
                <a:gd name="T10" fmla="*/ 396 w 488"/>
                <a:gd name="T11" fmla="*/ 403 h 403"/>
                <a:gd name="T12" fmla="*/ 243 w 488"/>
                <a:gd name="T13" fmla="*/ 106 h 403"/>
                <a:gd name="T14" fmla="*/ 90 w 488"/>
                <a:gd name="T15" fmla="*/ 403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8" h="403">
                  <a:moveTo>
                    <a:pt x="90" y="403"/>
                  </a:moveTo>
                  <a:lnTo>
                    <a:pt x="0" y="403"/>
                  </a:lnTo>
                  <a:lnTo>
                    <a:pt x="203" y="0"/>
                  </a:lnTo>
                  <a:lnTo>
                    <a:pt x="285" y="0"/>
                  </a:lnTo>
                  <a:lnTo>
                    <a:pt x="488" y="403"/>
                  </a:lnTo>
                  <a:lnTo>
                    <a:pt x="396" y="403"/>
                  </a:lnTo>
                  <a:lnTo>
                    <a:pt x="243" y="106"/>
                  </a:lnTo>
                  <a:lnTo>
                    <a:pt x="90" y="403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Rectangle 6">
              <a:extLst>
                <a:ext uri="{FF2B5EF4-FFF2-40B4-BE49-F238E27FC236}">
                  <a16:creationId xmlns:a16="http://schemas.microsoft.com/office/drawing/2014/main" id="{21250879-5A2A-447C-B8B9-BF80DCC0A3B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64163" y="171450"/>
              <a:ext cx="22225" cy="171450"/>
            </a:xfrm>
            <a:prstGeom prst="rect">
              <a:avLst/>
            </a:pr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Freeform 7">
              <a:extLst>
                <a:ext uri="{FF2B5EF4-FFF2-40B4-BE49-F238E27FC236}">
                  <a16:creationId xmlns:a16="http://schemas.microsoft.com/office/drawing/2014/main" id="{285860EA-F0E2-4152-87BE-730AD1E9C8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37188" y="171450"/>
              <a:ext cx="144463" cy="171450"/>
            </a:xfrm>
            <a:custGeom>
              <a:avLst/>
              <a:gdLst>
                <a:gd name="T0" fmla="*/ 0 w 135"/>
                <a:gd name="T1" fmla="*/ 161 h 161"/>
                <a:gd name="T2" fmla="*/ 0 w 135"/>
                <a:gd name="T3" fmla="*/ 0 h 161"/>
                <a:gd name="T4" fmla="*/ 20 w 135"/>
                <a:gd name="T5" fmla="*/ 0 h 161"/>
                <a:gd name="T6" fmla="*/ 87 w 135"/>
                <a:gd name="T7" fmla="*/ 90 h 161"/>
                <a:gd name="T8" fmla="*/ 115 w 135"/>
                <a:gd name="T9" fmla="*/ 127 h 161"/>
                <a:gd name="T10" fmla="*/ 115 w 135"/>
                <a:gd name="T11" fmla="*/ 127 h 161"/>
                <a:gd name="T12" fmla="*/ 115 w 135"/>
                <a:gd name="T13" fmla="*/ 81 h 161"/>
                <a:gd name="T14" fmla="*/ 115 w 135"/>
                <a:gd name="T15" fmla="*/ 0 h 161"/>
                <a:gd name="T16" fmla="*/ 135 w 135"/>
                <a:gd name="T17" fmla="*/ 0 h 161"/>
                <a:gd name="T18" fmla="*/ 135 w 135"/>
                <a:gd name="T19" fmla="*/ 161 h 161"/>
                <a:gd name="T20" fmla="*/ 115 w 135"/>
                <a:gd name="T21" fmla="*/ 161 h 161"/>
                <a:gd name="T22" fmla="*/ 48 w 135"/>
                <a:gd name="T23" fmla="*/ 72 h 161"/>
                <a:gd name="T24" fmla="*/ 20 w 135"/>
                <a:gd name="T25" fmla="*/ 34 h 161"/>
                <a:gd name="T26" fmla="*/ 20 w 135"/>
                <a:gd name="T27" fmla="*/ 35 h 161"/>
                <a:gd name="T28" fmla="*/ 20 w 135"/>
                <a:gd name="T29" fmla="*/ 80 h 161"/>
                <a:gd name="T30" fmla="*/ 20 w 135"/>
                <a:gd name="T31" fmla="*/ 161 h 161"/>
                <a:gd name="T32" fmla="*/ 0 w 135"/>
                <a:gd name="T33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61">
                  <a:moveTo>
                    <a:pt x="0" y="16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87" y="90"/>
                    <a:pt x="87" y="90"/>
                    <a:pt x="87" y="90"/>
                  </a:cubicBezTo>
                  <a:cubicBezTo>
                    <a:pt x="96" y="102"/>
                    <a:pt x="106" y="115"/>
                    <a:pt x="115" y="127"/>
                  </a:cubicBezTo>
                  <a:cubicBezTo>
                    <a:pt x="115" y="127"/>
                    <a:pt x="115" y="127"/>
                    <a:pt x="115" y="127"/>
                  </a:cubicBezTo>
                  <a:cubicBezTo>
                    <a:pt x="115" y="113"/>
                    <a:pt x="115" y="97"/>
                    <a:pt x="115" y="81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35" y="161"/>
                    <a:pt x="135" y="161"/>
                    <a:pt x="135" y="161"/>
                  </a:cubicBezTo>
                  <a:cubicBezTo>
                    <a:pt x="115" y="161"/>
                    <a:pt x="115" y="161"/>
                    <a:pt x="115" y="161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38" y="60"/>
                    <a:pt x="29" y="47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49"/>
                    <a:pt x="20" y="65"/>
                    <a:pt x="20" y="80"/>
                  </a:cubicBezTo>
                  <a:cubicBezTo>
                    <a:pt x="20" y="161"/>
                    <a:pt x="20" y="161"/>
                    <a:pt x="20" y="161"/>
                  </a:cubicBezTo>
                  <a:lnTo>
                    <a:pt x="0" y="161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8">
              <a:extLst>
                <a:ext uri="{FF2B5EF4-FFF2-40B4-BE49-F238E27FC236}">
                  <a16:creationId xmlns:a16="http://schemas.microsoft.com/office/drawing/2014/main" id="{CE531ECA-3D51-47B9-B622-71D7745209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13401" y="171450"/>
              <a:ext cx="155575" cy="171450"/>
            </a:xfrm>
            <a:custGeom>
              <a:avLst/>
              <a:gdLst>
                <a:gd name="T0" fmla="*/ 0 w 146"/>
                <a:gd name="T1" fmla="*/ 0 h 161"/>
                <a:gd name="T2" fmla="*/ 23 w 146"/>
                <a:gd name="T3" fmla="*/ 0 h 161"/>
                <a:gd name="T4" fmla="*/ 57 w 146"/>
                <a:gd name="T5" fmla="*/ 91 h 161"/>
                <a:gd name="T6" fmla="*/ 73 w 146"/>
                <a:gd name="T7" fmla="*/ 133 h 161"/>
                <a:gd name="T8" fmla="*/ 73 w 146"/>
                <a:gd name="T9" fmla="*/ 133 h 161"/>
                <a:gd name="T10" fmla="*/ 90 w 146"/>
                <a:gd name="T11" fmla="*/ 90 h 161"/>
                <a:gd name="T12" fmla="*/ 124 w 146"/>
                <a:gd name="T13" fmla="*/ 0 h 161"/>
                <a:gd name="T14" fmla="*/ 146 w 146"/>
                <a:gd name="T15" fmla="*/ 0 h 161"/>
                <a:gd name="T16" fmla="*/ 84 w 146"/>
                <a:gd name="T17" fmla="*/ 161 h 161"/>
                <a:gd name="T18" fmla="*/ 62 w 146"/>
                <a:gd name="T19" fmla="*/ 161 h 161"/>
                <a:gd name="T20" fmla="*/ 0 w 146"/>
                <a:gd name="T21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6" h="161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62" y="105"/>
                    <a:pt x="68" y="118"/>
                    <a:pt x="73" y="133"/>
                  </a:cubicBezTo>
                  <a:cubicBezTo>
                    <a:pt x="73" y="133"/>
                    <a:pt x="73" y="133"/>
                    <a:pt x="73" y="133"/>
                  </a:cubicBezTo>
                  <a:cubicBezTo>
                    <a:pt x="79" y="119"/>
                    <a:pt x="84" y="104"/>
                    <a:pt x="90" y="9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84" y="161"/>
                    <a:pt x="84" y="161"/>
                    <a:pt x="84" y="161"/>
                  </a:cubicBezTo>
                  <a:cubicBezTo>
                    <a:pt x="62" y="161"/>
                    <a:pt x="62" y="161"/>
                    <a:pt x="62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9">
              <a:extLst>
                <a:ext uri="{FF2B5EF4-FFF2-40B4-BE49-F238E27FC236}">
                  <a16:creationId xmlns:a16="http://schemas.microsoft.com/office/drawing/2014/main" id="{FBF65AFC-FBDA-47C5-B439-478D7B2EE3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00726" y="171450"/>
              <a:ext cx="100013" cy="171450"/>
            </a:xfrm>
            <a:custGeom>
              <a:avLst/>
              <a:gdLst>
                <a:gd name="T0" fmla="*/ 0 w 63"/>
                <a:gd name="T1" fmla="*/ 0 h 108"/>
                <a:gd name="T2" fmla="*/ 62 w 63"/>
                <a:gd name="T3" fmla="*/ 0 h 108"/>
                <a:gd name="T4" fmla="*/ 62 w 63"/>
                <a:gd name="T5" fmla="*/ 13 h 108"/>
                <a:gd name="T6" fmla="*/ 14 w 63"/>
                <a:gd name="T7" fmla="*/ 13 h 108"/>
                <a:gd name="T8" fmla="*/ 14 w 63"/>
                <a:gd name="T9" fmla="*/ 46 h 108"/>
                <a:gd name="T10" fmla="*/ 56 w 63"/>
                <a:gd name="T11" fmla="*/ 46 h 108"/>
                <a:gd name="T12" fmla="*/ 56 w 63"/>
                <a:gd name="T13" fmla="*/ 58 h 108"/>
                <a:gd name="T14" fmla="*/ 14 w 63"/>
                <a:gd name="T15" fmla="*/ 58 h 108"/>
                <a:gd name="T16" fmla="*/ 14 w 63"/>
                <a:gd name="T17" fmla="*/ 95 h 108"/>
                <a:gd name="T18" fmla="*/ 63 w 63"/>
                <a:gd name="T19" fmla="*/ 95 h 108"/>
                <a:gd name="T20" fmla="*/ 63 w 63"/>
                <a:gd name="T21" fmla="*/ 108 h 108"/>
                <a:gd name="T22" fmla="*/ 0 w 63"/>
                <a:gd name="T23" fmla="*/ 108 h 108"/>
                <a:gd name="T24" fmla="*/ 0 w 63"/>
                <a:gd name="T25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108">
                  <a:moveTo>
                    <a:pt x="0" y="0"/>
                  </a:moveTo>
                  <a:lnTo>
                    <a:pt x="62" y="0"/>
                  </a:lnTo>
                  <a:lnTo>
                    <a:pt x="62" y="13"/>
                  </a:lnTo>
                  <a:lnTo>
                    <a:pt x="14" y="13"/>
                  </a:lnTo>
                  <a:lnTo>
                    <a:pt x="14" y="46"/>
                  </a:lnTo>
                  <a:lnTo>
                    <a:pt x="56" y="46"/>
                  </a:lnTo>
                  <a:lnTo>
                    <a:pt x="56" y="58"/>
                  </a:lnTo>
                  <a:lnTo>
                    <a:pt x="14" y="58"/>
                  </a:lnTo>
                  <a:lnTo>
                    <a:pt x="14" y="95"/>
                  </a:lnTo>
                  <a:lnTo>
                    <a:pt x="63" y="95"/>
                  </a:lnTo>
                  <a:lnTo>
                    <a:pt x="63" y="108"/>
                  </a:lnTo>
                  <a:lnTo>
                    <a:pt x="0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10">
              <a:extLst>
                <a:ext uri="{FF2B5EF4-FFF2-40B4-BE49-F238E27FC236}">
                  <a16:creationId xmlns:a16="http://schemas.microsoft.com/office/drawing/2014/main" id="{A46F922E-3CD2-4375-8049-8F19383CC6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37251" y="169863"/>
              <a:ext cx="112713" cy="176213"/>
            </a:xfrm>
            <a:custGeom>
              <a:avLst/>
              <a:gdLst>
                <a:gd name="T0" fmla="*/ 4 w 106"/>
                <a:gd name="T1" fmla="*/ 130 h 166"/>
                <a:gd name="T2" fmla="*/ 52 w 106"/>
                <a:gd name="T3" fmla="*/ 146 h 166"/>
                <a:gd name="T4" fmla="*/ 85 w 106"/>
                <a:gd name="T5" fmla="*/ 120 h 166"/>
                <a:gd name="T6" fmla="*/ 45 w 106"/>
                <a:gd name="T7" fmla="*/ 90 h 166"/>
                <a:gd name="T8" fmla="*/ 0 w 106"/>
                <a:gd name="T9" fmla="*/ 45 h 166"/>
                <a:gd name="T10" fmla="*/ 52 w 106"/>
                <a:gd name="T11" fmla="*/ 0 h 166"/>
                <a:gd name="T12" fmla="*/ 99 w 106"/>
                <a:gd name="T13" fmla="*/ 12 h 166"/>
                <a:gd name="T14" fmla="*/ 99 w 106"/>
                <a:gd name="T15" fmla="*/ 34 h 166"/>
                <a:gd name="T16" fmla="*/ 52 w 106"/>
                <a:gd name="T17" fmla="*/ 19 h 166"/>
                <a:gd name="T18" fmla="*/ 21 w 106"/>
                <a:gd name="T19" fmla="*/ 43 h 166"/>
                <a:gd name="T20" fmla="*/ 60 w 106"/>
                <a:gd name="T21" fmla="*/ 72 h 166"/>
                <a:gd name="T22" fmla="*/ 106 w 106"/>
                <a:gd name="T23" fmla="*/ 119 h 166"/>
                <a:gd name="T24" fmla="*/ 52 w 106"/>
                <a:gd name="T25" fmla="*/ 166 h 166"/>
                <a:gd name="T26" fmla="*/ 4 w 106"/>
                <a:gd name="T27" fmla="*/ 153 h 166"/>
                <a:gd name="T28" fmla="*/ 4 w 106"/>
                <a:gd name="T29" fmla="*/ 13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6" h="166">
                  <a:moveTo>
                    <a:pt x="4" y="130"/>
                  </a:moveTo>
                  <a:cubicBezTo>
                    <a:pt x="19" y="141"/>
                    <a:pt x="38" y="146"/>
                    <a:pt x="52" y="146"/>
                  </a:cubicBezTo>
                  <a:cubicBezTo>
                    <a:pt x="72" y="146"/>
                    <a:pt x="85" y="138"/>
                    <a:pt x="85" y="120"/>
                  </a:cubicBezTo>
                  <a:cubicBezTo>
                    <a:pt x="85" y="99"/>
                    <a:pt x="66" y="96"/>
                    <a:pt x="45" y="90"/>
                  </a:cubicBezTo>
                  <a:cubicBezTo>
                    <a:pt x="22" y="83"/>
                    <a:pt x="0" y="74"/>
                    <a:pt x="0" y="45"/>
                  </a:cubicBezTo>
                  <a:cubicBezTo>
                    <a:pt x="0" y="16"/>
                    <a:pt x="21" y="0"/>
                    <a:pt x="52" y="0"/>
                  </a:cubicBezTo>
                  <a:cubicBezTo>
                    <a:pt x="68" y="0"/>
                    <a:pt x="86" y="4"/>
                    <a:pt x="99" y="12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84" y="24"/>
                    <a:pt x="66" y="19"/>
                    <a:pt x="52" y="19"/>
                  </a:cubicBezTo>
                  <a:cubicBezTo>
                    <a:pt x="34" y="19"/>
                    <a:pt x="21" y="27"/>
                    <a:pt x="21" y="43"/>
                  </a:cubicBezTo>
                  <a:cubicBezTo>
                    <a:pt x="21" y="63"/>
                    <a:pt x="40" y="67"/>
                    <a:pt x="60" y="72"/>
                  </a:cubicBezTo>
                  <a:cubicBezTo>
                    <a:pt x="83" y="79"/>
                    <a:pt x="106" y="88"/>
                    <a:pt x="106" y="119"/>
                  </a:cubicBezTo>
                  <a:cubicBezTo>
                    <a:pt x="106" y="148"/>
                    <a:pt x="84" y="166"/>
                    <a:pt x="52" y="166"/>
                  </a:cubicBezTo>
                  <a:cubicBezTo>
                    <a:pt x="37" y="166"/>
                    <a:pt x="18" y="161"/>
                    <a:pt x="4" y="153"/>
                  </a:cubicBezTo>
                  <a:lnTo>
                    <a:pt x="4" y="13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11">
              <a:extLst>
                <a:ext uri="{FF2B5EF4-FFF2-40B4-BE49-F238E27FC236}">
                  <a16:creationId xmlns:a16="http://schemas.microsoft.com/office/drawing/2014/main" id="{DE3CC004-BDC4-4520-AA41-7BB0AF7F18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7426" y="171450"/>
              <a:ext cx="136525" cy="171450"/>
            </a:xfrm>
            <a:custGeom>
              <a:avLst/>
              <a:gdLst>
                <a:gd name="T0" fmla="*/ 36 w 86"/>
                <a:gd name="T1" fmla="*/ 13 h 108"/>
                <a:gd name="T2" fmla="*/ 0 w 86"/>
                <a:gd name="T3" fmla="*/ 13 h 108"/>
                <a:gd name="T4" fmla="*/ 0 w 86"/>
                <a:gd name="T5" fmla="*/ 0 h 108"/>
                <a:gd name="T6" fmla="*/ 86 w 86"/>
                <a:gd name="T7" fmla="*/ 0 h 108"/>
                <a:gd name="T8" fmla="*/ 86 w 86"/>
                <a:gd name="T9" fmla="*/ 13 h 108"/>
                <a:gd name="T10" fmla="*/ 51 w 86"/>
                <a:gd name="T11" fmla="*/ 13 h 108"/>
                <a:gd name="T12" fmla="*/ 51 w 86"/>
                <a:gd name="T13" fmla="*/ 108 h 108"/>
                <a:gd name="T14" fmla="*/ 36 w 86"/>
                <a:gd name="T15" fmla="*/ 108 h 108"/>
                <a:gd name="T16" fmla="*/ 36 w 86"/>
                <a:gd name="T17" fmla="*/ 1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108">
                  <a:moveTo>
                    <a:pt x="36" y="13"/>
                  </a:moveTo>
                  <a:lnTo>
                    <a:pt x="0" y="13"/>
                  </a:lnTo>
                  <a:lnTo>
                    <a:pt x="0" y="0"/>
                  </a:lnTo>
                  <a:lnTo>
                    <a:pt x="86" y="0"/>
                  </a:lnTo>
                  <a:lnTo>
                    <a:pt x="86" y="13"/>
                  </a:lnTo>
                  <a:lnTo>
                    <a:pt x="51" y="13"/>
                  </a:lnTo>
                  <a:lnTo>
                    <a:pt x="51" y="108"/>
                  </a:lnTo>
                  <a:lnTo>
                    <a:pt x="36" y="108"/>
                  </a:lnTo>
                  <a:lnTo>
                    <a:pt x="36" y="13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12">
              <a:extLst>
                <a:ext uri="{FF2B5EF4-FFF2-40B4-BE49-F238E27FC236}">
                  <a16:creationId xmlns:a16="http://schemas.microsoft.com/office/drawing/2014/main" id="{D76FF390-B281-4D23-925D-CD83DFD21B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41951" y="406400"/>
              <a:ext cx="233363" cy="171450"/>
            </a:xfrm>
            <a:custGeom>
              <a:avLst/>
              <a:gdLst>
                <a:gd name="T0" fmla="*/ 0 w 220"/>
                <a:gd name="T1" fmla="*/ 0 h 161"/>
                <a:gd name="T2" fmla="*/ 22 w 220"/>
                <a:gd name="T3" fmla="*/ 0 h 161"/>
                <a:gd name="T4" fmla="*/ 49 w 220"/>
                <a:gd name="T5" fmla="*/ 87 h 161"/>
                <a:gd name="T6" fmla="*/ 62 w 220"/>
                <a:gd name="T7" fmla="*/ 129 h 161"/>
                <a:gd name="T8" fmla="*/ 62 w 220"/>
                <a:gd name="T9" fmla="*/ 129 h 161"/>
                <a:gd name="T10" fmla="*/ 75 w 220"/>
                <a:gd name="T11" fmla="*/ 87 h 161"/>
                <a:gd name="T12" fmla="*/ 103 w 220"/>
                <a:gd name="T13" fmla="*/ 0 h 161"/>
                <a:gd name="T14" fmla="*/ 118 w 220"/>
                <a:gd name="T15" fmla="*/ 0 h 161"/>
                <a:gd name="T16" fmla="*/ 146 w 220"/>
                <a:gd name="T17" fmla="*/ 87 h 161"/>
                <a:gd name="T18" fmla="*/ 158 w 220"/>
                <a:gd name="T19" fmla="*/ 129 h 161"/>
                <a:gd name="T20" fmla="*/ 159 w 220"/>
                <a:gd name="T21" fmla="*/ 129 h 161"/>
                <a:gd name="T22" fmla="*/ 172 w 220"/>
                <a:gd name="T23" fmla="*/ 87 h 161"/>
                <a:gd name="T24" fmla="*/ 198 w 220"/>
                <a:gd name="T25" fmla="*/ 0 h 161"/>
                <a:gd name="T26" fmla="*/ 220 w 220"/>
                <a:gd name="T27" fmla="*/ 0 h 161"/>
                <a:gd name="T28" fmla="*/ 170 w 220"/>
                <a:gd name="T29" fmla="*/ 161 h 161"/>
                <a:gd name="T30" fmla="*/ 147 w 220"/>
                <a:gd name="T31" fmla="*/ 161 h 161"/>
                <a:gd name="T32" fmla="*/ 122 w 220"/>
                <a:gd name="T33" fmla="*/ 79 h 161"/>
                <a:gd name="T34" fmla="*/ 110 w 220"/>
                <a:gd name="T35" fmla="*/ 42 h 161"/>
                <a:gd name="T36" fmla="*/ 110 w 220"/>
                <a:gd name="T37" fmla="*/ 42 h 161"/>
                <a:gd name="T38" fmla="*/ 98 w 220"/>
                <a:gd name="T39" fmla="*/ 79 h 161"/>
                <a:gd name="T40" fmla="*/ 73 w 220"/>
                <a:gd name="T41" fmla="*/ 161 h 161"/>
                <a:gd name="T42" fmla="*/ 50 w 220"/>
                <a:gd name="T43" fmla="*/ 161 h 161"/>
                <a:gd name="T44" fmla="*/ 0 w 220"/>
                <a:gd name="T45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0" h="161">
                  <a:moveTo>
                    <a:pt x="0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54" y="101"/>
                    <a:pt x="58" y="115"/>
                    <a:pt x="62" y="129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66" y="115"/>
                    <a:pt x="71" y="101"/>
                    <a:pt x="75" y="87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46" y="87"/>
                    <a:pt x="146" y="87"/>
                    <a:pt x="146" y="87"/>
                  </a:cubicBezTo>
                  <a:cubicBezTo>
                    <a:pt x="150" y="101"/>
                    <a:pt x="154" y="115"/>
                    <a:pt x="158" y="129"/>
                  </a:cubicBezTo>
                  <a:cubicBezTo>
                    <a:pt x="159" y="129"/>
                    <a:pt x="159" y="129"/>
                    <a:pt x="159" y="129"/>
                  </a:cubicBezTo>
                  <a:cubicBezTo>
                    <a:pt x="163" y="115"/>
                    <a:pt x="167" y="101"/>
                    <a:pt x="172" y="87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170" y="161"/>
                    <a:pt x="170" y="161"/>
                    <a:pt x="170" y="161"/>
                  </a:cubicBezTo>
                  <a:cubicBezTo>
                    <a:pt x="147" y="161"/>
                    <a:pt x="147" y="161"/>
                    <a:pt x="147" y="161"/>
                  </a:cubicBezTo>
                  <a:cubicBezTo>
                    <a:pt x="122" y="79"/>
                    <a:pt x="122" y="79"/>
                    <a:pt x="122" y="79"/>
                  </a:cubicBezTo>
                  <a:cubicBezTo>
                    <a:pt x="118" y="67"/>
                    <a:pt x="114" y="54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06" y="54"/>
                    <a:pt x="102" y="67"/>
                    <a:pt x="98" y="79"/>
                  </a:cubicBezTo>
                  <a:cubicBezTo>
                    <a:pt x="73" y="161"/>
                    <a:pt x="73" y="161"/>
                    <a:pt x="73" y="161"/>
                  </a:cubicBezTo>
                  <a:cubicBezTo>
                    <a:pt x="50" y="161"/>
                    <a:pt x="50" y="161"/>
                    <a:pt x="50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13">
              <a:extLst>
                <a:ext uri="{FF2B5EF4-FFF2-40B4-BE49-F238E27FC236}">
                  <a16:creationId xmlns:a16="http://schemas.microsoft.com/office/drawing/2014/main" id="{EDE494AB-0DB2-4EB8-80EB-ACEFAC6668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694363" y="403225"/>
              <a:ext cx="174625" cy="176213"/>
            </a:xfrm>
            <a:custGeom>
              <a:avLst/>
              <a:gdLst>
                <a:gd name="T0" fmla="*/ 81 w 163"/>
                <a:gd name="T1" fmla="*/ 0 h 165"/>
                <a:gd name="T2" fmla="*/ 163 w 163"/>
                <a:gd name="T3" fmla="*/ 83 h 165"/>
                <a:gd name="T4" fmla="*/ 81 w 163"/>
                <a:gd name="T5" fmla="*/ 165 h 165"/>
                <a:gd name="T6" fmla="*/ 0 w 163"/>
                <a:gd name="T7" fmla="*/ 83 h 165"/>
                <a:gd name="T8" fmla="*/ 81 w 163"/>
                <a:gd name="T9" fmla="*/ 0 h 165"/>
                <a:gd name="T10" fmla="*/ 81 w 163"/>
                <a:gd name="T11" fmla="*/ 146 h 165"/>
                <a:gd name="T12" fmla="*/ 142 w 163"/>
                <a:gd name="T13" fmla="*/ 83 h 165"/>
                <a:gd name="T14" fmla="*/ 81 w 163"/>
                <a:gd name="T15" fmla="*/ 19 h 165"/>
                <a:gd name="T16" fmla="*/ 21 w 163"/>
                <a:gd name="T17" fmla="*/ 83 h 165"/>
                <a:gd name="T18" fmla="*/ 81 w 163"/>
                <a:gd name="T19" fmla="*/ 146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3" h="165">
                  <a:moveTo>
                    <a:pt x="81" y="0"/>
                  </a:moveTo>
                  <a:cubicBezTo>
                    <a:pt x="128" y="0"/>
                    <a:pt x="163" y="36"/>
                    <a:pt x="163" y="83"/>
                  </a:cubicBezTo>
                  <a:cubicBezTo>
                    <a:pt x="163" y="129"/>
                    <a:pt x="128" y="165"/>
                    <a:pt x="81" y="165"/>
                  </a:cubicBezTo>
                  <a:cubicBezTo>
                    <a:pt x="35" y="165"/>
                    <a:pt x="0" y="129"/>
                    <a:pt x="0" y="83"/>
                  </a:cubicBezTo>
                  <a:cubicBezTo>
                    <a:pt x="0" y="36"/>
                    <a:pt x="35" y="0"/>
                    <a:pt x="81" y="0"/>
                  </a:cubicBezTo>
                  <a:close/>
                  <a:moveTo>
                    <a:pt x="81" y="146"/>
                  </a:moveTo>
                  <a:cubicBezTo>
                    <a:pt x="116" y="146"/>
                    <a:pt x="142" y="118"/>
                    <a:pt x="142" y="83"/>
                  </a:cubicBezTo>
                  <a:cubicBezTo>
                    <a:pt x="142" y="47"/>
                    <a:pt x="116" y="19"/>
                    <a:pt x="81" y="19"/>
                  </a:cubicBezTo>
                  <a:cubicBezTo>
                    <a:pt x="46" y="19"/>
                    <a:pt x="21" y="47"/>
                    <a:pt x="21" y="83"/>
                  </a:cubicBezTo>
                  <a:cubicBezTo>
                    <a:pt x="21" y="118"/>
                    <a:pt x="46" y="146"/>
                    <a:pt x="81" y="146"/>
                  </a:cubicBez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id="{C79D77CB-0202-4218-8FB6-8607652D35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08676" y="406400"/>
              <a:ext cx="130175" cy="171450"/>
            </a:xfrm>
            <a:custGeom>
              <a:avLst/>
              <a:gdLst>
                <a:gd name="T0" fmla="*/ 0 w 123"/>
                <a:gd name="T1" fmla="*/ 0 h 161"/>
                <a:gd name="T2" fmla="*/ 44 w 123"/>
                <a:gd name="T3" fmla="*/ 0 h 161"/>
                <a:gd name="T4" fmla="*/ 88 w 123"/>
                <a:gd name="T5" fmla="*/ 8 h 161"/>
                <a:gd name="T6" fmla="*/ 111 w 123"/>
                <a:gd name="T7" fmla="*/ 46 h 161"/>
                <a:gd name="T8" fmla="*/ 90 w 123"/>
                <a:gd name="T9" fmla="*/ 83 h 161"/>
                <a:gd name="T10" fmla="*/ 72 w 123"/>
                <a:gd name="T11" fmla="*/ 90 h 161"/>
                <a:gd name="T12" fmla="*/ 123 w 123"/>
                <a:gd name="T13" fmla="*/ 161 h 161"/>
                <a:gd name="T14" fmla="*/ 98 w 123"/>
                <a:gd name="T15" fmla="*/ 161 h 161"/>
                <a:gd name="T16" fmla="*/ 48 w 123"/>
                <a:gd name="T17" fmla="*/ 92 h 161"/>
                <a:gd name="T18" fmla="*/ 21 w 123"/>
                <a:gd name="T19" fmla="*/ 92 h 161"/>
                <a:gd name="T20" fmla="*/ 21 w 123"/>
                <a:gd name="T21" fmla="*/ 161 h 161"/>
                <a:gd name="T22" fmla="*/ 0 w 123"/>
                <a:gd name="T23" fmla="*/ 161 h 161"/>
                <a:gd name="T24" fmla="*/ 0 w 123"/>
                <a:gd name="T25" fmla="*/ 0 h 161"/>
                <a:gd name="T26" fmla="*/ 48 w 123"/>
                <a:gd name="T27" fmla="*/ 75 h 161"/>
                <a:gd name="T28" fmla="*/ 80 w 123"/>
                <a:gd name="T29" fmla="*/ 67 h 161"/>
                <a:gd name="T30" fmla="*/ 90 w 123"/>
                <a:gd name="T31" fmla="*/ 47 h 161"/>
                <a:gd name="T32" fmla="*/ 76 w 123"/>
                <a:gd name="T33" fmla="*/ 25 h 161"/>
                <a:gd name="T34" fmla="*/ 42 w 123"/>
                <a:gd name="T35" fmla="*/ 19 h 161"/>
                <a:gd name="T36" fmla="*/ 21 w 123"/>
                <a:gd name="T37" fmla="*/ 19 h 161"/>
                <a:gd name="T38" fmla="*/ 21 w 123"/>
                <a:gd name="T39" fmla="*/ 75 h 161"/>
                <a:gd name="T40" fmla="*/ 48 w 123"/>
                <a:gd name="T41" fmla="*/ 75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3" h="161">
                  <a:moveTo>
                    <a:pt x="0" y="0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60" y="0"/>
                    <a:pt x="75" y="1"/>
                    <a:pt x="88" y="8"/>
                  </a:cubicBezTo>
                  <a:cubicBezTo>
                    <a:pt x="102" y="15"/>
                    <a:pt x="111" y="28"/>
                    <a:pt x="111" y="46"/>
                  </a:cubicBezTo>
                  <a:cubicBezTo>
                    <a:pt x="111" y="63"/>
                    <a:pt x="102" y="76"/>
                    <a:pt x="90" y="83"/>
                  </a:cubicBezTo>
                  <a:cubicBezTo>
                    <a:pt x="84" y="87"/>
                    <a:pt x="78" y="89"/>
                    <a:pt x="72" y="90"/>
                  </a:cubicBezTo>
                  <a:cubicBezTo>
                    <a:pt x="123" y="161"/>
                    <a:pt x="123" y="161"/>
                    <a:pt x="123" y="161"/>
                  </a:cubicBezTo>
                  <a:cubicBezTo>
                    <a:pt x="98" y="161"/>
                    <a:pt x="98" y="161"/>
                    <a:pt x="98" y="161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0" y="161"/>
                    <a:pt x="0" y="161"/>
                    <a:pt x="0" y="161"/>
                  </a:cubicBezTo>
                  <a:lnTo>
                    <a:pt x="0" y="0"/>
                  </a:lnTo>
                  <a:close/>
                  <a:moveTo>
                    <a:pt x="48" y="75"/>
                  </a:moveTo>
                  <a:cubicBezTo>
                    <a:pt x="63" y="75"/>
                    <a:pt x="73" y="73"/>
                    <a:pt x="80" y="67"/>
                  </a:cubicBezTo>
                  <a:cubicBezTo>
                    <a:pt x="86" y="63"/>
                    <a:pt x="90" y="56"/>
                    <a:pt x="90" y="47"/>
                  </a:cubicBezTo>
                  <a:cubicBezTo>
                    <a:pt x="90" y="37"/>
                    <a:pt x="85" y="29"/>
                    <a:pt x="76" y="25"/>
                  </a:cubicBezTo>
                  <a:cubicBezTo>
                    <a:pt x="68" y="20"/>
                    <a:pt x="58" y="19"/>
                    <a:pt x="42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75"/>
                    <a:pt x="21" y="75"/>
                    <a:pt x="21" y="75"/>
                  </a:cubicBezTo>
                  <a:lnTo>
                    <a:pt x="48" y="75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id="{D707E65B-9C32-441A-8682-09F35150E2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81713" y="406400"/>
              <a:ext cx="131763" cy="171450"/>
            </a:xfrm>
            <a:custGeom>
              <a:avLst/>
              <a:gdLst>
                <a:gd name="T0" fmla="*/ 0 w 83"/>
                <a:gd name="T1" fmla="*/ 0 h 108"/>
                <a:gd name="T2" fmla="*/ 14 w 83"/>
                <a:gd name="T3" fmla="*/ 0 h 108"/>
                <a:gd name="T4" fmla="*/ 14 w 83"/>
                <a:gd name="T5" fmla="*/ 49 h 108"/>
                <a:gd name="T6" fmla="*/ 14 w 83"/>
                <a:gd name="T7" fmla="*/ 49 h 108"/>
                <a:gd name="T8" fmla="*/ 61 w 83"/>
                <a:gd name="T9" fmla="*/ 0 h 108"/>
                <a:gd name="T10" fmla="*/ 79 w 83"/>
                <a:gd name="T11" fmla="*/ 0 h 108"/>
                <a:gd name="T12" fmla="*/ 30 w 83"/>
                <a:gd name="T13" fmla="*/ 50 h 108"/>
                <a:gd name="T14" fmla="*/ 83 w 83"/>
                <a:gd name="T15" fmla="*/ 108 h 108"/>
                <a:gd name="T16" fmla="*/ 64 w 83"/>
                <a:gd name="T17" fmla="*/ 108 h 108"/>
                <a:gd name="T18" fmla="*/ 14 w 83"/>
                <a:gd name="T19" fmla="*/ 52 h 108"/>
                <a:gd name="T20" fmla="*/ 14 w 83"/>
                <a:gd name="T21" fmla="*/ 52 h 108"/>
                <a:gd name="T22" fmla="*/ 14 w 83"/>
                <a:gd name="T23" fmla="*/ 108 h 108"/>
                <a:gd name="T24" fmla="*/ 0 w 83"/>
                <a:gd name="T25" fmla="*/ 108 h 108"/>
                <a:gd name="T26" fmla="*/ 0 w 83"/>
                <a:gd name="T27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3" h="108">
                  <a:moveTo>
                    <a:pt x="0" y="0"/>
                  </a:moveTo>
                  <a:lnTo>
                    <a:pt x="14" y="0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61" y="0"/>
                  </a:lnTo>
                  <a:lnTo>
                    <a:pt x="79" y="0"/>
                  </a:lnTo>
                  <a:lnTo>
                    <a:pt x="30" y="50"/>
                  </a:lnTo>
                  <a:lnTo>
                    <a:pt x="83" y="108"/>
                  </a:lnTo>
                  <a:lnTo>
                    <a:pt x="64" y="108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108"/>
                  </a:lnTo>
                  <a:lnTo>
                    <a:pt x="0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id="{B61E5A0B-666F-4EFF-9BB0-94AAAF440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9438" y="639763"/>
              <a:ext cx="100013" cy="171450"/>
            </a:xfrm>
            <a:custGeom>
              <a:avLst/>
              <a:gdLst>
                <a:gd name="T0" fmla="*/ 0 w 63"/>
                <a:gd name="T1" fmla="*/ 0 h 108"/>
                <a:gd name="T2" fmla="*/ 63 w 63"/>
                <a:gd name="T3" fmla="*/ 0 h 108"/>
                <a:gd name="T4" fmla="*/ 63 w 63"/>
                <a:gd name="T5" fmla="*/ 13 h 108"/>
                <a:gd name="T6" fmla="*/ 14 w 63"/>
                <a:gd name="T7" fmla="*/ 13 h 108"/>
                <a:gd name="T8" fmla="*/ 14 w 63"/>
                <a:gd name="T9" fmla="*/ 48 h 108"/>
                <a:gd name="T10" fmla="*/ 58 w 63"/>
                <a:gd name="T11" fmla="*/ 48 h 108"/>
                <a:gd name="T12" fmla="*/ 58 w 63"/>
                <a:gd name="T13" fmla="*/ 60 h 108"/>
                <a:gd name="T14" fmla="*/ 14 w 63"/>
                <a:gd name="T15" fmla="*/ 60 h 108"/>
                <a:gd name="T16" fmla="*/ 14 w 63"/>
                <a:gd name="T17" fmla="*/ 108 h 108"/>
                <a:gd name="T18" fmla="*/ 0 w 63"/>
                <a:gd name="T19" fmla="*/ 108 h 108"/>
                <a:gd name="T20" fmla="*/ 0 w 63"/>
                <a:gd name="T21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3" h="108">
                  <a:moveTo>
                    <a:pt x="0" y="0"/>
                  </a:moveTo>
                  <a:lnTo>
                    <a:pt x="63" y="0"/>
                  </a:lnTo>
                  <a:lnTo>
                    <a:pt x="63" y="13"/>
                  </a:lnTo>
                  <a:lnTo>
                    <a:pt x="14" y="13"/>
                  </a:lnTo>
                  <a:lnTo>
                    <a:pt x="14" y="48"/>
                  </a:lnTo>
                  <a:lnTo>
                    <a:pt x="58" y="48"/>
                  </a:lnTo>
                  <a:lnTo>
                    <a:pt x="58" y="60"/>
                  </a:lnTo>
                  <a:lnTo>
                    <a:pt x="14" y="60"/>
                  </a:lnTo>
                  <a:lnTo>
                    <a:pt x="14" y="108"/>
                  </a:lnTo>
                  <a:lnTo>
                    <a:pt x="0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Rectangle 17">
              <a:extLst>
                <a:ext uri="{FF2B5EF4-FFF2-40B4-BE49-F238E27FC236}">
                  <a16:creationId xmlns:a16="http://schemas.microsoft.com/office/drawing/2014/main" id="{22AFE816-98DC-4E43-9B3B-F3C53F86B29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807076" y="639763"/>
              <a:ext cx="22225" cy="171450"/>
            </a:xfrm>
            <a:prstGeom prst="rect">
              <a:avLst/>
            </a:pr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id="{85C855E3-4ECC-4A29-832A-0295B7E77A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84863" y="639763"/>
              <a:ext cx="103188" cy="171450"/>
            </a:xfrm>
            <a:custGeom>
              <a:avLst/>
              <a:gdLst>
                <a:gd name="T0" fmla="*/ 0 w 65"/>
                <a:gd name="T1" fmla="*/ 0 h 108"/>
                <a:gd name="T2" fmla="*/ 14 w 65"/>
                <a:gd name="T3" fmla="*/ 0 h 108"/>
                <a:gd name="T4" fmla="*/ 14 w 65"/>
                <a:gd name="T5" fmla="*/ 95 h 108"/>
                <a:gd name="T6" fmla="*/ 65 w 65"/>
                <a:gd name="T7" fmla="*/ 95 h 108"/>
                <a:gd name="T8" fmla="*/ 65 w 65"/>
                <a:gd name="T9" fmla="*/ 108 h 108"/>
                <a:gd name="T10" fmla="*/ 0 w 65"/>
                <a:gd name="T11" fmla="*/ 108 h 108"/>
                <a:gd name="T12" fmla="*/ 0 w 65"/>
                <a:gd name="T1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108">
                  <a:moveTo>
                    <a:pt x="0" y="0"/>
                  </a:moveTo>
                  <a:lnTo>
                    <a:pt x="14" y="0"/>
                  </a:lnTo>
                  <a:lnTo>
                    <a:pt x="14" y="95"/>
                  </a:lnTo>
                  <a:lnTo>
                    <a:pt x="65" y="95"/>
                  </a:lnTo>
                  <a:lnTo>
                    <a:pt x="65" y="108"/>
                  </a:lnTo>
                  <a:lnTo>
                    <a:pt x="0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id="{3463165B-F8AA-4158-BA7B-7334A89A89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26151" y="639763"/>
              <a:ext cx="165100" cy="171450"/>
            </a:xfrm>
            <a:custGeom>
              <a:avLst/>
              <a:gdLst>
                <a:gd name="T0" fmla="*/ 42 w 155"/>
                <a:gd name="T1" fmla="*/ 67 h 161"/>
                <a:gd name="T2" fmla="*/ 21 w 155"/>
                <a:gd name="T3" fmla="*/ 36 h 161"/>
                <a:gd name="T4" fmla="*/ 20 w 155"/>
                <a:gd name="T5" fmla="*/ 36 h 161"/>
                <a:gd name="T6" fmla="*/ 21 w 155"/>
                <a:gd name="T7" fmla="*/ 71 h 161"/>
                <a:gd name="T8" fmla="*/ 21 w 155"/>
                <a:gd name="T9" fmla="*/ 161 h 161"/>
                <a:gd name="T10" fmla="*/ 0 w 155"/>
                <a:gd name="T11" fmla="*/ 161 h 161"/>
                <a:gd name="T12" fmla="*/ 0 w 155"/>
                <a:gd name="T13" fmla="*/ 0 h 161"/>
                <a:gd name="T14" fmla="*/ 21 w 155"/>
                <a:gd name="T15" fmla="*/ 0 h 161"/>
                <a:gd name="T16" fmla="*/ 78 w 155"/>
                <a:gd name="T17" fmla="*/ 82 h 161"/>
                <a:gd name="T18" fmla="*/ 135 w 155"/>
                <a:gd name="T19" fmla="*/ 0 h 161"/>
                <a:gd name="T20" fmla="*/ 155 w 155"/>
                <a:gd name="T21" fmla="*/ 0 h 161"/>
                <a:gd name="T22" fmla="*/ 155 w 155"/>
                <a:gd name="T23" fmla="*/ 161 h 161"/>
                <a:gd name="T24" fmla="*/ 134 w 155"/>
                <a:gd name="T25" fmla="*/ 161 h 161"/>
                <a:gd name="T26" fmla="*/ 134 w 155"/>
                <a:gd name="T27" fmla="*/ 71 h 161"/>
                <a:gd name="T28" fmla="*/ 134 w 155"/>
                <a:gd name="T29" fmla="*/ 36 h 161"/>
                <a:gd name="T30" fmla="*/ 134 w 155"/>
                <a:gd name="T31" fmla="*/ 36 h 161"/>
                <a:gd name="T32" fmla="*/ 112 w 155"/>
                <a:gd name="T33" fmla="*/ 67 h 161"/>
                <a:gd name="T34" fmla="*/ 77 w 155"/>
                <a:gd name="T35" fmla="*/ 117 h 161"/>
                <a:gd name="T36" fmla="*/ 42 w 155"/>
                <a:gd name="T37" fmla="*/ 6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61">
                  <a:moveTo>
                    <a:pt x="42" y="67"/>
                  </a:moveTo>
                  <a:cubicBezTo>
                    <a:pt x="35" y="57"/>
                    <a:pt x="28" y="46"/>
                    <a:pt x="21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45"/>
                    <a:pt x="21" y="58"/>
                    <a:pt x="21" y="71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5" y="161"/>
                    <a:pt x="155" y="161"/>
                    <a:pt x="155" y="161"/>
                  </a:cubicBezTo>
                  <a:cubicBezTo>
                    <a:pt x="134" y="161"/>
                    <a:pt x="134" y="161"/>
                    <a:pt x="134" y="161"/>
                  </a:cubicBezTo>
                  <a:cubicBezTo>
                    <a:pt x="134" y="71"/>
                    <a:pt x="134" y="71"/>
                    <a:pt x="134" y="71"/>
                  </a:cubicBezTo>
                  <a:cubicBezTo>
                    <a:pt x="134" y="58"/>
                    <a:pt x="134" y="45"/>
                    <a:pt x="134" y="36"/>
                  </a:cubicBezTo>
                  <a:cubicBezTo>
                    <a:pt x="134" y="36"/>
                    <a:pt x="134" y="36"/>
                    <a:pt x="134" y="36"/>
                  </a:cubicBezTo>
                  <a:cubicBezTo>
                    <a:pt x="127" y="46"/>
                    <a:pt x="120" y="57"/>
                    <a:pt x="112" y="67"/>
                  </a:cubicBezTo>
                  <a:cubicBezTo>
                    <a:pt x="77" y="117"/>
                    <a:pt x="77" y="117"/>
                    <a:pt x="77" y="117"/>
                  </a:cubicBezTo>
                  <a:lnTo>
                    <a:pt x="42" y="67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20">
              <a:extLst>
                <a:ext uri="{FF2B5EF4-FFF2-40B4-BE49-F238E27FC236}">
                  <a16:creationId xmlns:a16="http://schemas.microsoft.com/office/drawing/2014/main" id="{C4215318-4CE4-4477-B635-1FA44F1FF6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38488" y="171450"/>
              <a:ext cx="776288" cy="639763"/>
            </a:xfrm>
            <a:custGeom>
              <a:avLst/>
              <a:gdLst>
                <a:gd name="T0" fmla="*/ 90 w 489"/>
                <a:gd name="T1" fmla="*/ 403 h 403"/>
                <a:gd name="T2" fmla="*/ 0 w 489"/>
                <a:gd name="T3" fmla="*/ 403 h 403"/>
                <a:gd name="T4" fmla="*/ 204 w 489"/>
                <a:gd name="T5" fmla="*/ 0 h 403"/>
                <a:gd name="T6" fmla="*/ 285 w 489"/>
                <a:gd name="T7" fmla="*/ 0 h 403"/>
                <a:gd name="T8" fmla="*/ 489 w 489"/>
                <a:gd name="T9" fmla="*/ 403 h 403"/>
                <a:gd name="T10" fmla="*/ 397 w 489"/>
                <a:gd name="T11" fmla="*/ 403 h 403"/>
                <a:gd name="T12" fmla="*/ 243 w 489"/>
                <a:gd name="T13" fmla="*/ 106 h 403"/>
                <a:gd name="T14" fmla="*/ 90 w 489"/>
                <a:gd name="T15" fmla="*/ 403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9" h="403">
                  <a:moveTo>
                    <a:pt x="90" y="403"/>
                  </a:moveTo>
                  <a:lnTo>
                    <a:pt x="0" y="403"/>
                  </a:lnTo>
                  <a:lnTo>
                    <a:pt x="204" y="0"/>
                  </a:lnTo>
                  <a:lnTo>
                    <a:pt x="285" y="0"/>
                  </a:lnTo>
                  <a:lnTo>
                    <a:pt x="489" y="403"/>
                  </a:lnTo>
                  <a:lnTo>
                    <a:pt x="397" y="403"/>
                  </a:lnTo>
                  <a:lnTo>
                    <a:pt x="243" y="106"/>
                  </a:lnTo>
                  <a:lnTo>
                    <a:pt x="90" y="403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21">
              <a:extLst>
                <a:ext uri="{FF2B5EF4-FFF2-40B4-BE49-F238E27FC236}">
                  <a16:creationId xmlns:a16="http://schemas.microsoft.com/office/drawing/2014/main" id="{FDFB0C5F-94BB-4D8D-A686-B6B93542A7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11613" y="176213"/>
              <a:ext cx="538163" cy="635000"/>
            </a:xfrm>
            <a:custGeom>
              <a:avLst/>
              <a:gdLst>
                <a:gd name="T0" fmla="*/ 0 w 506"/>
                <a:gd name="T1" fmla="*/ 596 h 596"/>
                <a:gd name="T2" fmla="*/ 75 w 506"/>
                <a:gd name="T3" fmla="*/ 596 h 596"/>
                <a:gd name="T4" fmla="*/ 127 w 506"/>
                <a:gd name="T5" fmla="*/ 596 h 596"/>
                <a:gd name="T6" fmla="*/ 283 w 506"/>
                <a:gd name="T7" fmla="*/ 596 h 596"/>
                <a:gd name="T8" fmla="*/ 506 w 506"/>
                <a:gd name="T9" fmla="*/ 433 h 596"/>
                <a:gd name="T10" fmla="*/ 395 w 506"/>
                <a:gd name="T11" fmla="*/ 285 h 596"/>
                <a:gd name="T12" fmla="*/ 473 w 506"/>
                <a:gd name="T13" fmla="*/ 156 h 596"/>
                <a:gd name="T14" fmla="*/ 432 w 506"/>
                <a:gd name="T15" fmla="*/ 53 h 596"/>
                <a:gd name="T16" fmla="*/ 276 w 506"/>
                <a:gd name="T17" fmla="*/ 0 h 596"/>
                <a:gd name="T18" fmla="*/ 0 w 506"/>
                <a:gd name="T19" fmla="*/ 0 h 596"/>
                <a:gd name="T20" fmla="*/ 0 w 506"/>
                <a:gd name="T21" fmla="*/ 115 h 596"/>
                <a:gd name="T22" fmla="*/ 257 w 506"/>
                <a:gd name="T23" fmla="*/ 115 h 596"/>
                <a:gd name="T24" fmla="*/ 343 w 506"/>
                <a:gd name="T25" fmla="*/ 177 h 596"/>
                <a:gd name="T26" fmla="*/ 248 w 506"/>
                <a:gd name="T27" fmla="*/ 241 h 596"/>
                <a:gd name="T28" fmla="*/ 0 w 506"/>
                <a:gd name="T29" fmla="*/ 241 h 596"/>
                <a:gd name="T30" fmla="*/ 0 w 506"/>
                <a:gd name="T31" fmla="*/ 596 h 596"/>
                <a:gd name="T32" fmla="*/ 283 w 506"/>
                <a:gd name="T33" fmla="*/ 481 h 596"/>
                <a:gd name="T34" fmla="*/ 127 w 506"/>
                <a:gd name="T35" fmla="*/ 481 h 596"/>
                <a:gd name="T36" fmla="*/ 127 w 506"/>
                <a:gd name="T37" fmla="*/ 350 h 596"/>
                <a:gd name="T38" fmla="*/ 279 w 506"/>
                <a:gd name="T39" fmla="*/ 350 h 596"/>
                <a:gd name="T40" fmla="*/ 376 w 506"/>
                <a:gd name="T41" fmla="*/ 415 h 596"/>
                <a:gd name="T42" fmla="*/ 283 w 506"/>
                <a:gd name="T43" fmla="*/ 481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06" h="596">
                  <a:moveTo>
                    <a:pt x="0" y="596"/>
                  </a:moveTo>
                  <a:cubicBezTo>
                    <a:pt x="75" y="596"/>
                    <a:pt x="75" y="596"/>
                    <a:pt x="75" y="596"/>
                  </a:cubicBezTo>
                  <a:cubicBezTo>
                    <a:pt x="127" y="596"/>
                    <a:pt x="127" y="596"/>
                    <a:pt x="127" y="596"/>
                  </a:cubicBezTo>
                  <a:cubicBezTo>
                    <a:pt x="283" y="596"/>
                    <a:pt x="283" y="596"/>
                    <a:pt x="283" y="596"/>
                  </a:cubicBezTo>
                  <a:cubicBezTo>
                    <a:pt x="418" y="596"/>
                    <a:pt x="506" y="542"/>
                    <a:pt x="506" y="433"/>
                  </a:cubicBezTo>
                  <a:cubicBezTo>
                    <a:pt x="506" y="351"/>
                    <a:pt x="464" y="311"/>
                    <a:pt x="395" y="285"/>
                  </a:cubicBezTo>
                  <a:cubicBezTo>
                    <a:pt x="437" y="261"/>
                    <a:pt x="473" y="223"/>
                    <a:pt x="473" y="156"/>
                  </a:cubicBezTo>
                  <a:cubicBezTo>
                    <a:pt x="473" y="114"/>
                    <a:pt x="459" y="80"/>
                    <a:pt x="432" y="53"/>
                  </a:cubicBezTo>
                  <a:cubicBezTo>
                    <a:pt x="398" y="19"/>
                    <a:pt x="345" y="0"/>
                    <a:pt x="27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257" y="115"/>
                    <a:pt x="257" y="115"/>
                    <a:pt x="257" y="115"/>
                  </a:cubicBezTo>
                  <a:cubicBezTo>
                    <a:pt x="312" y="115"/>
                    <a:pt x="343" y="137"/>
                    <a:pt x="343" y="177"/>
                  </a:cubicBezTo>
                  <a:cubicBezTo>
                    <a:pt x="343" y="223"/>
                    <a:pt x="306" y="241"/>
                    <a:pt x="248" y="241"/>
                  </a:cubicBezTo>
                  <a:cubicBezTo>
                    <a:pt x="0" y="241"/>
                    <a:pt x="0" y="241"/>
                    <a:pt x="0" y="241"/>
                  </a:cubicBezTo>
                  <a:lnTo>
                    <a:pt x="0" y="596"/>
                  </a:lnTo>
                  <a:close/>
                  <a:moveTo>
                    <a:pt x="283" y="481"/>
                  </a:moveTo>
                  <a:cubicBezTo>
                    <a:pt x="127" y="481"/>
                    <a:pt x="127" y="481"/>
                    <a:pt x="127" y="481"/>
                  </a:cubicBezTo>
                  <a:cubicBezTo>
                    <a:pt x="127" y="350"/>
                    <a:pt x="127" y="350"/>
                    <a:pt x="127" y="350"/>
                  </a:cubicBezTo>
                  <a:cubicBezTo>
                    <a:pt x="279" y="350"/>
                    <a:pt x="279" y="350"/>
                    <a:pt x="279" y="350"/>
                  </a:cubicBezTo>
                  <a:cubicBezTo>
                    <a:pt x="346" y="350"/>
                    <a:pt x="376" y="375"/>
                    <a:pt x="376" y="415"/>
                  </a:cubicBezTo>
                  <a:cubicBezTo>
                    <a:pt x="376" y="461"/>
                    <a:pt x="341" y="481"/>
                    <a:pt x="283" y="481"/>
                  </a:cubicBez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22">
              <a:extLst>
                <a:ext uri="{FF2B5EF4-FFF2-40B4-BE49-F238E27FC236}">
                  <a16:creationId xmlns:a16="http://schemas.microsoft.com/office/drawing/2014/main" id="{37B80D1E-1378-453F-8D10-6ADB679471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41663" y="1006475"/>
              <a:ext cx="138113" cy="160338"/>
            </a:xfrm>
            <a:custGeom>
              <a:avLst/>
              <a:gdLst>
                <a:gd name="T0" fmla="*/ 52 w 87"/>
                <a:gd name="T1" fmla="*/ 101 h 101"/>
                <a:gd name="T2" fmla="*/ 34 w 87"/>
                <a:gd name="T3" fmla="*/ 101 h 101"/>
                <a:gd name="T4" fmla="*/ 34 w 87"/>
                <a:gd name="T5" fmla="*/ 62 h 101"/>
                <a:gd name="T6" fmla="*/ 0 w 87"/>
                <a:gd name="T7" fmla="*/ 0 h 101"/>
                <a:gd name="T8" fmla="*/ 19 w 87"/>
                <a:gd name="T9" fmla="*/ 0 h 101"/>
                <a:gd name="T10" fmla="*/ 44 w 87"/>
                <a:gd name="T11" fmla="*/ 45 h 101"/>
                <a:gd name="T12" fmla="*/ 68 w 87"/>
                <a:gd name="T13" fmla="*/ 0 h 101"/>
                <a:gd name="T14" fmla="*/ 87 w 87"/>
                <a:gd name="T15" fmla="*/ 0 h 101"/>
                <a:gd name="T16" fmla="*/ 52 w 87"/>
                <a:gd name="T17" fmla="*/ 62 h 101"/>
                <a:gd name="T18" fmla="*/ 52 w 87"/>
                <a:gd name="T1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101">
                  <a:moveTo>
                    <a:pt x="52" y="101"/>
                  </a:moveTo>
                  <a:lnTo>
                    <a:pt x="34" y="101"/>
                  </a:lnTo>
                  <a:lnTo>
                    <a:pt x="34" y="62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4" y="45"/>
                  </a:lnTo>
                  <a:lnTo>
                    <a:pt x="68" y="0"/>
                  </a:lnTo>
                  <a:lnTo>
                    <a:pt x="87" y="0"/>
                  </a:lnTo>
                  <a:lnTo>
                    <a:pt x="52" y="62"/>
                  </a:lnTo>
                  <a:lnTo>
                    <a:pt x="52" y="101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23">
              <a:extLst>
                <a:ext uri="{FF2B5EF4-FFF2-40B4-BE49-F238E27FC236}">
                  <a16:creationId xmlns:a16="http://schemas.microsoft.com/office/drawing/2014/main" id="{0EA9BDD0-666E-46A9-A329-58C04B8509D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67076" y="1055688"/>
              <a:ext cx="115888" cy="114300"/>
            </a:xfrm>
            <a:custGeom>
              <a:avLst/>
              <a:gdLst>
                <a:gd name="T0" fmla="*/ 76 w 109"/>
                <a:gd name="T1" fmla="*/ 4 h 108"/>
                <a:gd name="T2" fmla="*/ 93 w 109"/>
                <a:gd name="T3" fmla="*/ 16 h 108"/>
                <a:gd name="T4" fmla="*/ 105 w 109"/>
                <a:gd name="T5" fmla="*/ 33 h 108"/>
                <a:gd name="T6" fmla="*/ 109 w 109"/>
                <a:gd name="T7" fmla="*/ 54 h 108"/>
                <a:gd name="T8" fmla="*/ 105 w 109"/>
                <a:gd name="T9" fmla="*/ 75 h 108"/>
                <a:gd name="T10" fmla="*/ 93 w 109"/>
                <a:gd name="T11" fmla="*/ 92 h 108"/>
                <a:gd name="T12" fmla="*/ 76 w 109"/>
                <a:gd name="T13" fmla="*/ 104 h 108"/>
                <a:gd name="T14" fmla="*/ 54 w 109"/>
                <a:gd name="T15" fmla="*/ 108 h 108"/>
                <a:gd name="T16" fmla="*/ 33 w 109"/>
                <a:gd name="T17" fmla="*/ 104 h 108"/>
                <a:gd name="T18" fmla="*/ 15 w 109"/>
                <a:gd name="T19" fmla="*/ 92 h 108"/>
                <a:gd name="T20" fmla="*/ 4 w 109"/>
                <a:gd name="T21" fmla="*/ 75 h 108"/>
                <a:gd name="T22" fmla="*/ 0 w 109"/>
                <a:gd name="T23" fmla="*/ 54 h 108"/>
                <a:gd name="T24" fmla="*/ 4 w 109"/>
                <a:gd name="T25" fmla="*/ 33 h 108"/>
                <a:gd name="T26" fmla="*/ 15 w 109"/>
                <a:gd name="T27" fmla="*/ 16 h 108"/>
                <a:gd name="T28" fmla="*/ 33 w 109"/>
                <a:gd name="T29" fmla="*/ 4 h 108"/>
                <a:gd name="T30" fmla="*/ 54 w 109"/>
                <a:gd name="T31" fmla="*/ 0 h 108"/>
                <a:gd name="T32" fmla="*/ 76 w 109"/>
                <a:gd name="T33" fmla="*/ 4 h 108"/>
                <a:gd name="T34" fmla="*/ 66 w 109"/>
                <a:gd name="T35" fmla="*/ 81 h 108"/>
                <a:gd name="T36" fmla="*/ 75 w 109"/>
                <a:gd name="T37" fmla="*/ 75 h 108"/>
                <a:gd name="T38" fmla="*/ 81 w 109"/>
                <a:gd name="T39" fmla="*/ 65 h 108"/>
                <a:gd name="T40" fmla="*/ 83 w 109"/>
                <a:gd name="T41" fmla="*/ 54 h 108"/>
                <a:gd name="T42" fmla="*/ 81 w 109"/>
                <a:gd name="T43" fmla="*/ 42 h 108"/>
                <a:gd name="T44" fmla="*/ 75 w 109"/>
                <a:gd name="T45" fmla="*/ 33 h 108"/>
                <a:gd name="T46" fmla="*/ 66 w 109"/>
                <a:gd name="T47" fmla="*/ 27 h 108"/>
                <a:gd name="T48" fmla="*/ 54 w 109"/>
                <a:gd name="T49" fmla="*/ 24 h 108"/>
                <a:gd name="T50" fmla="*/ 43 w 109"/>
                <a:gd name="T51" fmla="*/ 27 h 108"/>
                <a:gd name="T52" fmla="*/ 34 w 109"/>
                <a:gd name="T53" fmla="*/ 33 h 108"/>
                <a:gd name="T54" fmla="*/ 28 w 109"/>
                <a:gd name="T55" fmla="*/ 42 h 108"/>
                <a:gd name="T56" fmla="*/ 26 w 109"/>
                <a:gd name="T57" fmla="*/ 54 h 108"/>
                <a:gd name="T58" fmla="*/ 28 w 109"/>
                <a:gd name="T59" fmla="*/ 65 h 108"/>
                <a:gd name="T60" fmla="*/ 34 w 109"/>
                <a:gd name="T61" fmla="*/ 75 h 108"/>
                <a:gd name="T62" fmla="*/ 43 w 109"/>
                <a:gd name="T63" fmla="*/ 81 h 108"/>
                <a:gd name="T64" fmla="*/ 54 w 109"/>
                <a:gd name="T65" fmla="*/ 84 h 108"/>
                <a:gd name="T66" fmla="*/ 66 w 109"/>
                <a:gd name="T67" fmla="*/ 8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" h="108">
                  <a:moveTo>
                    <a:pt x="76" y="4"/>
                  </a:moveTo>
                  <a:cubicBezTo>
                    <a:pt x="82" y="7"/>
                    <a:pt x="88" y="11"/>
                    <a:pt x="93" y="16"/>
                  </a:cubicBezTo>
                  <a:cubicBezTo>
                    <a:pt x="98" y="21"/>
                    <a:pt x="102" y="26"/>
                    <a:pt x="105" y="33"/>
                  </a:cubicBezTo>
                  <a:cubicBezTo>
                    <a:pt x="108" y="39"/>
                    <a:pt x="109" y="46"/>
                    <a:pt x="109" y="54"/>
                  </a:cubicBezTo>
                  <a:cubicBezTo>
                    <a:pt x="109" y="61"/>
                    <a:pt x="108" y="69"/>
                    <a:pt x="105" y="75"/>
                  </a:cubicBezTo>
                  <a:cubicBezTo>
                    <a:pt x="102" y="82"/>
                    <a:pt x="98" y="87"/>
                    <a:pt x="93" y="92"/>
                  </a:cubicBezTo>
                  <a:cubicBezTo>
                    <a:pt x="88" y="97"/>
                    <a:pt x="82" y="101"/>
                    <a:pt x="76" y="104"/>
                  </a:cubicBezTo>
                  <a:cubicBezTo>
                    <a:pt x="69" y="106"/>
                    <a:pt x="62" y="108"/>
                    <a:pt x="54" y="108"/>
                  </a:cubicBezTo>
                  <a:cubicBezTo>
                    <a:pt x="47" y="108"/>
                    <a:pt x="40" y="106"/>
                    <a:pt x="33" y="104"/>
                  </a:cubicBezTo>
                  <a:cubicBezTo>
                    <a:pt x="26" y="101"/>
                    <a:pt x="20" y="97"/>
                    <a:pt x="15" y="92"/>
                  </a:cubicBezTo>
                  <a:cubicBezTo>
                    <a:pt x="11" y="87"/>
                    <a:pt x="7" y="82"/>
                    <a:pt x="4" y="75"/>
                  </a:cubicBezTo>
                  <a:cubicBezTo>
                    <a:pt x="1" y="69"/>
                    <a:pt x="0" y="61"/>
                    <a:pt x="0" y="54"/>
                  </a:cubicBezTo>
                  <a:cubicBezTo>
                    <a:pt x="0" y="46"/>
                    <a:pt x="1" y="39"/>
                    <a:pt x="4" y="33"/>
                  </a:cubicBezTo>
                  <a:cubicBezTo>
                    <a:pt x="7" y="26"/>
                    <a:pt x="11" y="21"/>
                    <a:pt x="15" y="16"/>
                  </a:cubicBezTo>
                  <a:cubicBezTo>
                    <a:pt x="20" y="11"/>
                    <a:pt x="26" y="7"/>
                    <a:pt x="33" y="4"/>
                  </a:cubicBezTo>
                  <a:cubicBezTo>
                    <a:pt x="40" y="1"/>
                    <a:pt x="47" y="0"/>
                    <a:pt x="54" y="0"/>
                  </a:cubicBezTo>
                  <a:cubicBezTo>
                    <a:pt x="62" y="0"/>
                    <a:pt x="69" y="1"/>
                    <a:pt x="76" y="4"/>
                  </a:cubicBezTo>
                  <a:close/>
                  <a:moveTo>
                    <a:pt x="66" y="81"/>
                  </a:moveTo>
                  <a:cubicBezTo>
                    <a:pt x="70" y="80"/>
                    <a:pt x="73" y="77"/>
                    <a:pt x="75" y="75"/>
                  </a:cubicBezTo>
                  <a:cubicBezTo>
                    <a:pt x="78" y="72"/>
                    <a:pt x="79" y="69"/>
                    <a:pt x="81" y="65"/>
                  </a:cubicBezTo>
                  <a:cubicBezTo>
                    <a:pt x="82" y="62"/>
                    <a:pt x="83" y="58"/>
                    <a:pt x="83" y="54"/>
                  </a:cubicBezTo>
                  <a:cubicBezTo>
                    <a:pt x="83" y="50"/>
                    <a:pt x="82" y="46"/>
                    <a:pt x="81" y="42"/>
                  </a:cubicBezTo>
                  <a:cubicBezTo>
                    <a:pt x="79" y="39"/>
                    <a:pt x="78" y="36"/>
                    <a:pt x="75" y="33"/>
                  </a:cubicBezTo>
                  <a:cubicBezTo>
                    <a:pt x="73" y="30"/>
                    <a:pt x="70" y="28"/>
                    <a:pt x="66" y="27"/>
                  </a:cubicBezTo>
                  <a:cubicBezTo>
                    <a:pt x="63" y="25"/>
                    <a:pt x="59" y="24"/>
                    <a:pt x="54" y="24"/>
                  </a:cubicBezTo>
                  <a:cubicBezTo>
                    <a:pt x="50" y="24"/>
                    <a:pt x="46" y="25"/>
                    <a:pt x="43" y="27"/>
                  </a:cubicBezTo>
                  <a:cubicBezTo>
                    <a:pt x="39" y="28"/>
                    <a:pt x="36" y="30"/>
                    <a:pt x="34" y="33"/>
                  </a:cubicBezTo>
                  <a:cubicBezTo>
                    <a:pt x="31" y="36"/>
                    <a:pt x="29" y="39"/>
                    <a:pt x="28" y="42"/>
                  </a:cubicBezTo>
                  <a:cubicBezTo>
                    <a:pt x="27" y="46"/>
                    <a:pt x="26" y="50"/>
                    <a:pt x="26" y="54"/>
                  </a:cubicBezTo>
                  <a:cubicBezTo>
                    <a:pt x="26" y="58"/>
                    <a:pt x="27" y="62"/>
                    <a:pt x="28" y="65"/>
                  </a:cubicBezTo>
                  <a:cubicBezTo>
                    <a:pt x="29" y="69"/>
                    <a:pt x="31" y="72"/>
                    <a:pt x="34" y="75"/>
                  </a:cubicBezTo>
                  <a:cubicBezTo>
                    <a:pt x="36" y="77"/>
                    <a:pt x="39" y="80"/>
                    <a:pt x="43" y="81"/>
                  </a:cubicBezTo>
                  <a:cubicBezTo>
                    <a:pt x="46" y="83"/>
                    <a:pt x="50" y="84"/>
                    <a:pt x="54" y="84"/>
                  </a:cubicBezTo>
                  <a:cubicBezTo>
                    <a:pt x="59" y="84"/>
                    <a:pt x="63" y="83"/>
                    <a:pt x="66" y="81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Freeform 24">
              <a:extLst>
                <a:ext uri="{FF2B5EF4-FFF2-40B4-BE49-F238E27FC236}">
                  <a16:creationId xmlns:a16="http://schemas.microsoft.com/office/drawing/2014/main" id="{B27EF9B8-CE88-4E8B-9FC6-9C68A802F8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4713" y="1058863"/>
              <a:ext cx="98425" cy="111125"/>
            </a:xfrm>
            <a:custGeom>
              <a:avLst/>
              <a:gdLst>
                <a:gd name="T0" fmla="*/ 24 w 93"/>
                <a:gd name="T1" fmla="*/ 102 h 105"/>
                <a:gd name="T2" fmla="*/ 12 w 93"/>
                <a:gd name="T3" fmla="*/ 95 h 105"/>
                <a:gd name="T4" fmla="*/ 3 w 93"/>
                <a:gd name="T5" fmla="*/ 83 h 105"/>
                <a:gd name="T6" fmla="*/ 0 w 93"/>
                <a:gd name="T7" fmla="*/ 66 h 105"/>
                <a:gd name="T8" fmla="*/ 0 w 93"/>
                <a:gd name="T9" fmla="*/ 0 h 105"/>
                <a:gd name="T10" fmla="*/ 26 w 93"/>
                <a:gd name="T11" fmla="*/ 0 h 105"/>
                <a:gd name="T12" fmla="*/ 26 w 93"/>
                <a:gd name="T13" fmla="*/ 59 h 105"/>
                <a:gd name="T14" fmla="*/ 31 w 93"/>
                <a:gd name="T15" fmla="*/ 76 h 105"/>
                <a:gd name="T16" fmla="*/ 47 w 93"/>
                <a:gd name="T17" fmla="*/ 81 h 105"/>
                <a:gd name="T18" fmla="*/ 55 w 93"/>
                <a:gd name="T19" fmla="*/ 79 h 105"/>
                <a:gd name="T20" fmla="*/ 62 w 93"/>
                <a:gd name="T21" fmla="*/ 74 h 105"/>
                <a:gd name="T22" fmla="*/ 67 w 93"/>
                <a:gd name="T23" fmla="*/ 68 h 105"/>
                <a:gd name="T24" fmla="*/ 67 w 93"/>
                <a:gd name="T25" fmla="*/ 0 h 105"/>
                <a:gd name="T26" fmla="*/ 93 w 93"/>
                <a:gd name="T27" fmla="*/ 0 h 105"/>
                <a:gd name="T28" fmla="*/ 93 w 93"/>
                <a:gd name="T29" fmla="*/ 102 h 105"/>
                <a:gd name="T30" fmla="*/ 69 w 93"/>
                <a:gd name="T31" fmla="*/ 102 h 105"/>
                <a:gd name="T32" fmla="*/ 69 w 93"/>
                <a:gd name="T33" fmla="*/ 87 h 105"/>
                <a:gd name="T34" fmla="*/ 61 w 93"/>
                <a:gd name="T35" fmla="*/ 96 h 105"/>
                <a:gd name="T36" fmla="*/ 52 w 93"/>
                <a:gd name="T37" fmla="*/ 102 h 105"/>
                <a:gd name="T38" fmla="*/ 38 w 93"/>
                <a:gd name="T39" fmla="*/ 105 h 105"/>
                <a:gd name="T40" fmla="*/ 24 w 93"/>
                <a:gd name="T41" fmla="*/ 102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" h="105">
                  <a:moveTo>
                    <a:pt x="24" y="102"/>
                  </a:moveTo>
                  <a:cubicBezTo>
                    <a:pt x="19" y="101"/>
                    <a:pt x="15" y="98"/>
                    <a:pt x="12" y="95"/>
                  </a:cubicBezTo>
                  <a:cubicBezTo>
                    <a:pt x="8" y="91"/>
                    <a:pt x="5" y="87"/>
                    <a:pt x="3" y="83"/>
                  </a:cubicBezTo>
                  <a:cubicBezTo>
                    <a:pt x="1" y="78"/>
                    <a:pt x="0" y="72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7"/>
                    <a:pt x="28" y="72"/>
                    <a:pt x="31" y="76"/>
                  </a:cubicBezTo>
                  <a:cubicBezTo>
                    <a:pt x="35" y="79"/>
                    <a:pt x="40" y="81"/>
                    <a:pt x="47" y="81"/>
                  </a:cubicBezTo>
                  <a:cubicBezTo>
                    <a:pt x="50" y="81"/>
                    <a:pt x="53" y="80"/>
                    <a:pt x="55" y="79"/>
                  </a:cubicBezTo>
                  <a:cubicBezTo>
                    <a:pt x="58" y="77"/>
                    <a:pt x="60" y="76"/>
                    <a:pt x="62" y="74"/>
                  </a:cubicBezTo>
                  <a:cubicBezTo>
                    <a:pt x="64" y="72"/>
                    <a:pt x="65" y="70"/>
                    <a:pt x="67" y="68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69" y="102"/>
                    <a:pt x="69" y="102"/>
                    <a:pt x="69" y="102"/>
                  </a:cubicBezTo>
                  <a:cubicBezTo>
                    <a:pt x="69" y="87"/>
                    <a:pt x="69" y="87"/>
                    <a:pt x="69" y="87"/>
                  </a:cubicBezTo>
                  <a:cubicBezTo>
                    <a:pt x="67" y="91"/>
                    <a:pt x="64" y="94"/>
                    <a:pt x="61" y="96"/>
                  </a:cubicBezTo>
                  <a:cubicBezTo>
                    <a:pt x="59" y="98"/>
                    <a:pt x="55" y="100"/>
                    <a:pt x="52" y="102"/>
                  </a:cubicBezTo>
                  <a:cubicBezTo>
                    <a:pt x="48" y="104"/>
                    <a:pt x="43" y="105"/>
                    <a:pt x="38" y="105"/>
                  </a:cubicBezTo>
                  <a:cubicBezTo>
                    <a:pt x="33" y="105"/>
                    <a:pt x="28" y="104"/>
                    <a:pt x="24" y="102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25">
              <a:extLst>
                <a:ext uri="{FF2B5EF4-FFF2-40B4-BE49-F238E27FC236}">
                  <a16:creationId xmlns:a16="http://schemas.microsoft.com/office/drawing/2014/main" id="{BB44DDD1-3950-4C71-A6FC-647B4122E0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2826" y="1055688"/>
              <a:ext cx="74613" cy="111125"/>
            </a:xfrm>
            <a:custGeom>
              <a:avLst/>
              <a:gdLst>
                <a:gd name="T0" fmla="*/ 59 w 70"/>
                <a:gd name="T1" fmla="*/ 1 h 105"/>
                <a:gd name="T2" fmla="*/ 65 w 70"/>
                <a:gd name="T3" fmla="*/ 2 h 105"/>
                <a:gd name="T4" fmla="*/ 70 w 70"/>
                <a:gd name="T5" fmla="*/ 3 h 105"/>
                <a:gd name="T6" fmla="*/ 61 w 70"/>
                <a:gd name="T7" fmla="*/ 27 h 105"/>
                <a:gd name="T8" fmla="*/ 58 w 70"/>
                <a:gd name="T9" fmla="*/ 25 h 105"/>
                <a:gd name="T10" fmla="*/ 54 w 70"/>
                <a:gd name="T11" fmla="*/ 25 h 105"/>
                <a:gd name="T12" fmla="*/ 49 w 70"/>
                <a:gd name="T13" fmla="*/ 24 h 105"/>
                <a:gd name="T14" fmla="*/ 39 w 70"/>
                <a:gd name="T15" fmla="*/ 26 h 105"/>
                <a:gd name="T16" fmla="*/ 32 w 70"/>
                <a:gd name="T17" fmla="*/ 31 h 105"/>
                <a:gd name="T18" fmla="*/ 26 w 70"/>
                <a:gd name="T19" fmla="*/ 38 h 105"/>
                <a:gd name="T20" fmla="*/ 26 w 70"/>
                <a:gd name="T21" fmla="*/ 105 h 105"/>
                <a:gd name="T22" fmla="*/ 0 w 70"/>
                <a:gd name="T23" fmla="*/ 105 h 105"/>
                <a:gd name="T24" fmla="*/ 0 w 70"/>
                <a:gd name="T25" fmla="*/ 3 h 105"/>
                <a:gd name="T26" fmla="*/ 25 w 70"/>
                <a:gd name="T27" fmla="*/ 3 h 105"/>
                <a:gd name="T28" fmla="*/ 25 w 70"/>
                <a:gd name="T29" fmla="*/ 18 h 105"/>
                <a:gd name="T30" fmla="*/ 32 w 70"/>
                <a:gd name="T31" fmla="*/ 9 h 105"/>
                <a:gd name="T32" fmla="*/ 40 w 70"/>
                <a:gd name="T33" fmla="*/ 3 h 105"/>
                <a:gd name="T34" fmla="*/ 53 w 70"/>
                <a:gd name="T35" fmla="*/ 0 h 105"/>
                <a:gd name="T36" fmla="*/ 59 w 70"/>
                <a:gd name="T37" fmla="*/ 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0" h="105">
                  <a:moveTo>
                    <a:pt x="59" y="1"/>
                  </a:moveTo>
                  <a:cubicBezTo>
                    <a:pt x="62" y="1"/>
                    <a:pt x="63" y="1"/>
                    <a:pt x="65" y="2"/>
                  </a:cubicBezTo>
                  <a:cubicBezTo>
                    <a:pt x="67" y="2"/>
                    <a:pt x="69" y="3"/>
                    <a:pt x="70" y="3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0" y="26"/>
                    <a:pt x="59" y="26"/>
                    <a:pt x="58" y="25"/>
                  </a:cubicBezTo>
                  <a:cubicBezTo>
                    <a:pt x="57" y="25"/>
                    <a:pt x="56" y="25"/>
                    <a:pt x="54" y="25"/>
                  </a:cubicBezTo>
                  <a:cubicBezTo>
                    <a:pt x="53" y="24"/>
                    <a:pt x="51" y="24"/>
                    <a:pt x="49" y="24"/>
                  </a:cubicBezTo>
                  <a:cubicBezTo>
                    <a:pt x="45" y="24"/>
                    <a:pt x="42" y="25"/>
                    <a:pt x="39" y="26"/>
                  </a:cubicBezTo>
                  <a:cubicBezTo>
                    <a:pt x="36" y="28"/>
                    <a:pt x="33" y="29"/>
                    <a:pt x="32" y="31"/>
                  </a:cubicBezTo>
                  <a:cubicBezTo>
                    <a:pt x="29" y="33"/>
                    <a:pt x="27" y="36"/>
                    <a:pt x="26" y="38"/>
                  </a:cubicBezTo>
                  <a:cubicBezTo>
                    <a:pt x="26" y="105"/>
                    <a:pt x="26" y="105"/>
                    <a:pt x="26" y="105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7" y="14"/>
                    <a:pt x="29" y="11"/>
                    <a:pt x="32" y="9"/>
                  </a:cubicBezTo>
                  <a:cubicBezTo>
                    <a:pt x="34" y="7"/>
                    <a:pt x="37" y="5"/>
                    <a:pt x="40" y="3"/>
                  </a:cubicBezTo>
                  <a:cubicBezTo>
                    <a:pt x="44" y="1"/>
                    <a:pt x="48" y="0"/>
                    <a:pt x="53" y="0"/>
                  </a:cubicBezTo>
                  <a:cubicBezTo>
                    <a:pt x="55" y="0"/>
                    <a:pt x="57" y="0"/>
                    <a:pt x="59" y="1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26">
              <a:extLst>
                <a:ext uri="{FF2B5EF4-FFF2-40B4-BE49-F238E27FC236}">
                  <a16:creationId xmlns:a16="http://schemas.microsoft.com/office/drawing/2014/main" id="{B2C90030-8520-4F4B-AFF3-BE6420760C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94113" y="1055688"/>
              <a:ext cx="111125" cy="114300"/>
            </a:xfrm>
            <a:custGeom>
              <a:avLst/>
              <a:gdLst>
                <a:gd name="T0" fmla="*/ 72 w 104"/>
                <a:gd name="T1" fmla="*/ 4 h 108"/>
                <a:gd name="T2" fmla="*/ 88 w 104"/>
                <a:gd name="T3" fmla="*/ 15 h 108"/>
                <a:gd name="T4" fmla="*/ 99 w 104"/>
                <a:gd name="T5" fmla="*/ 32 h 108"/>
                <a:gd name="T6" fmla="*/ 104 w 104"/>
                <a:gd name="T7" fmla="*/ 54 h 108"/>
                <a:gd name="T8" fmla="*/ 104 w 104"/>
                <a:gd name="T9" fmla="*/ 58 h 108"/>
                <a:gd name="T10" fmla="*/ 103 w 104"/>
                <a:gd name="T11" fmla="*/ 63 h 108"/>
                <a:gd name="T12" fmla="*/ 27 w 104"/>
                <a:gd name="T13" fmla="*/ 63 h 108"/>
                <a:gd name="T14" fmla="*/ 30 w 104"/>
                <a:gd name="T15" fmla="*/ 70 h 108"/>
                <a:gd name="T16" fmla="*/ 36 w 104"/>
                <a:gd name="T17" fmla="*/ 77 h 108"/>
                <a:gd name="T18" fmla="*/ 44 w 104"/>
                <a:gd name="T19" fmla="*/ 82 h 108"/>
                <a:gd name="T20" fmla="*/ 55 w 104"/>
                <a:gd name="T21" fmla="*/ 84 h 108"/>
                <a:gd name="T22" fmla="*/ 67 w 104"/>
                <a:gd name="T23" fmla="*/ 82 h 108"/>
                <a:gd name="T24" fmla="*/ 76 w 104"/>
                <a:gd name="T25" fmla="*/ 79 h 108"/>
                <a:gd name="T26" fmla="*/ 84 w 104"/>
                <a:gd name="T27" fmla="*/ 74 h 108"/>
                <a:gd name="T28" fmla="*/ 97 w 104"/>
                <a:gd name="T29" fmla="*/ 93 h 108"/>
                <a:gd name="T30" fmla="*/ 85 w 104"/>
                <a:gd name="T31" fmla="*/ 101 h 108"/>
                <a:gd name="T32" fmla="*/ 72 w 104"/>
                <a:gd name="T33" fmla="*/ 106 h 108"/>
                <a:gd name="T34" fmla="*/ 55 w 104"/>
                <a:gd name="T35" fmla="*/ 108 h 108"/>
                <a:gd name="T36" fmla="*/ 34 w 104"/>
                <a:gd name="T37" fmla="*/ 104 h 108"/>
                <a:gd name="T38" fmla="*/ 16 w 104"/>
                <a:gd name="T39" fmla="*/ 92 h 108"/>
                <a:gd name="T40" fmla="*/ 4 w 104"/>
                <a:gd name="T41" fmla="*/ 75 h 108"/>
                <a:gd name="T42" fmla="*/ 0 w 104"/>
                <a:gd name="T43" fmla="*/ 54 h 108"/>
                <a:gd name="T44" fmla="*/ 4 w 104"/>
                <a:gd name="T45" fmla="*/ 33 h 108"/>
                <a:gd name="T46" fmla="*/ 15 w 104"/>
                <a:gd name="T47" fmla="*/ 16 h 108"/>
                <a:gd name="T48" fmla="*/ 31 w 104"/>
                <a:gd name="T49" fmla="*/ 4 h 108"/>
                <a:gd name="T50" fmla="*/ 52 w 104"/>
                <a:gd name="T51" fmla="*/ 0 h 108"/>
                <a:gd name="T52" fmla="*/ 72 w 104"/>
                <a:gd name="T53" fmla="*/ 4 h 108"/>
                <a:gd name="T54" fmla="*/ 78 w 104"/>
                <a:gd name="T55" fmla="*/ 44 h 108"/>
                <a:gd name="T56" fmla="*/ 76 w 104"/>
                <a:gd name="T57" fmla="*/ 38 h 108"/>
                <a:gd name="T58" fmla="*/ 71 w 104"/>
                <a:gd name="T59" fmla="*/ 31 h 108"/>
                <a:gd name="T60" fmla="*/ 63 w 104"/>
                <a:gd name="T61" fmla="*/ 26 h 108"/>
                <a:gd name="T62" fmla="*/ 52 w 104"/>
                <a:gd name="T63" fmla="*/ 24 h 108"/>
                <a:gd name="T64" fmla="*/ 41 w 104"/>
                <a:gd name="T65" fmla="*/ 26 h 108"/>
                <a:gd name="T66" fmla="*/ 33 w 104"/>
                <a:gd name="T67" fmla="*/ 31 h 108"/>
                <a:gd name="T68" fmla="*/ 29 w 104"/>
                <a:gd name="T69" fmla="*/ 37 h 108"/>
                <a:gd name="T70" fmla="*/ 27 w 104"/>
                <a:gd name="T71" fmla="*/ 44 h 108"/>
                <a:gd name="T72" fmla="*/ 78 w 104"/>
                <a:gd name="T73" fmla="*/ 4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4" h="108">
                  <a:moveTo>
                    <a:pt x="72" y="4"/>
                  </a:moveTo>
                  <a:cubicBezTo>
                    <a:pt x="78" y="7"/>
                    <a:pt x="84" y="10"/>
                    <a:pt x="88" y="15"/>
                  </a:cubicBezTo>
                  <a:cubicBezTo>
                    <a:pt x="93" y="20"/>
                    <a:pt x="97" y="25"/>
                    <a:pt x="99" y="32"/>
                  </a:cubicBezTo>
                  <a:cubicBezTo>
                    <a:pt x="102" y="38"/>
                    <a:pt x="104" y="46"/>
                    <a:pt x="104" y="54"/>
                  </a:cubicBezTo>
                  <a:cubicBezTo>
                    <a:pt x="104" y="55"/>
                    <a:pt x="104" y="56"/>
                    <a:pt x="104" y="58"/>
                  </a:cubicBezTo>
                  <a:cubicBezTo>
                    <a:pt x="104" y="59"/>
                    <a:pt x="103" y="61"/>
                    <a:pt x="103" y="63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7" y="66"/>
                    <a:pt x="28" y="68"/>
                    <a:pt x="30" y="70"/>
                  </a:cubicBezTo>
                  <a:cubicBezTo>
                    <a:pt x="31" y="73"/>
                    <a:pt x="33" y="75"/>
                    <a:pt x="36" y="77"/>
                  </a:cubicBezTo>
                  <a:cubicBezTo>
                    <a:pt x="38" y="79"/>
                    <a:pt x="41" y="81"/>
                    <a:pt x="44" y="82"/>
                  </a:cubicBezTo>
                  <a:cubicBezTo>
                    <a:pt x="48" y="83"/>
                    <a:pt x="51" y="84"/>
                    <a:pt x="55" y="84"/>
                  </a:cubicBezTo>
                  <a:cubicBezTo>
                    <a:pt x="60" y="84"/>
                    <a:pt x="64" y="84"/>
                    <a:pt x="67" y="82"/>
                  </a:cubicBezTo>
                  <a:cubicBezTo>
                    <a:pt x="71" y="81"/>
                    <a:pt x="74" y="80"/>
                    <a:pt x="76" y="79"/>
                  </a:cubicBezTo>
                  <a:cubicBezTo>
                    <a:pt x="79" y="77"/>
                    <a:pt x="82" y="76"/>
                    <a:pt x="84" y="74"/>
                  </a:cubicBezTo>
                  <a:cubicBezTo>
                    <a:pt x="97" y="93"/>
                    <a:pt x="97" y="93"/>
                    <a:pt x="97" y="93"/>
                  </a:cubicBezTo>
                  <a:cubicBezTo>
                    <a:pt x="93" y="96"/>
                    <a:pt x="90" y="98"/>
                    <a:pt x="85" y="101"/>
                  </a:cubicBezTo>
                  <a:cubicBezTo>
                    <a:pt x="82" y="102"/>
                    <a:pt x="77" y="104"/>
                    <a:pt x="72" y="106"/>
                  </a:cubicBezTo>
                  <a:cubicBezTo>
                    <a:pt x="67" y="107"/>
                    <a:pt x="62" y="108"/>
                    <a:pt x="55" y="108"/>
                  </a:cubicBezTo>
                  <a:cubicBezTo>
                    <a:pt x="48" y="108"/>
                    <a:pt x="40" y="106"/>
                    <a:pt x="34" y="104"/>
                  </a:cubicBezTo>
                  <a:cubicBezTo>
                    <a:pt x="27" y="101"/>
                    <a:pt x="21" y="97"/>
                    <a:pt x="16" y="92"/>
                  </a:cubicBezTo>
                  <a:cubicBezTo>
                    <a:pt x="11" y="87"/>
                    <a:pt x="7" y="82"/>
                    <a:pt x="4" y="75"/>
                  </a:cubicBezTo>
                  <a:cubicBezTo>
                    <a:pt x="2" y="69"/>
                    <a:pt x="0" y="61"/>
                    <a:pt x="0" y="54"/>
                  </a:cubicBezTo>
                  <a:cubicBezTo>
                    <a:pt x="0" y="46"/>
                    <a:pt x="2" y="39"/>
                    <a:pt x="4" y="33"/>
                  </a:cubicBezTo>
                  <a:cubicBezTo>
                    <a:pt x="7" y="26"/>
                    <a:pt x="10" y="21"/>
                    <a:pt x="15" y="16"/>
                  </a:cubicBezTo>
                  <a:cubicBezTo>
                    <a:pt x="19" y="11"/>
                    <a:pt x="25" y="7"/>
                    <a:pt x="31" y="4"/>
                  </a:cubicBezTo>
                  <a:cubicBezTo>
                    <a:pt x="38" y="1"/>
                    <a:pt x="44" y="0"/>
                    <a:pt x="52" y="0"/>
                  </a:cubicBezTo>
                  <a:cubicBezTo>
                    <a:pt x="59" y="0"/>
                    <a:pt x="66" y="1"/>
                    <a:pt x="72" y="4"/>
                  </a:cubicBezTo>
                  <a:close/>
                  <a:moveTo>
                    <a:pt x="78" y="44"/>
                  </a:moveTo>
                  <a:cubicBezTo>
                    <a:pt x="77" y="42"/>
                    <a:pt x="77" y="40"/>
                    <a:pt x="76" y="38"/>
                  </a:cubicBezTo>
                  <a:cubicBezTo>
                    <a:pt x="75" y="35"/>
                    <a:pt x="73" y="33"/>
                    <a:pt x="71" y="31"/>
                  </a:cubicBezTo>
                  <a:cubicBezTo>
                    <a:pt x="69" y="29"/>
                    <a:pt x="66" y="27"/>
                    <a:pt x="63" y="26"/>
                  </a:cubicBezTo>
                  <a:cubicBezTo>
                    <a:pt x="60" y="24"/>
                    <a:pt x="56" y="24"/>
                    <a:pt x="52" y="24"/>
                  </a:cubicBezTo>
                  <a:cubicBezTo>
                    <a:pt x="48" y="24"/>
                    <a:pt x="44" y="24"/>
                    <a:pt x="41" y="26"/>
                  </a:cubicBezTo>
                  <a:cubicBezTo>
                    <a:pt x="38" y="27"/>
                    <a:pt x="35" y="29"/>
                    <a:pt x="33" y="31"/>
                  </a:cubicBezTo>
                  <a:cubicBezTo>
                    <a:pt x="31" y="33"/>
                    <a:pt x="30" y="35"/>
                    <a:pt x="29" y="37"/>
                  </a:cubicBezTo>
                  <a:cubicBezTo>
                    <a:pt x="28" y="40"/>
                    <a:pt x="27" y="42"/>
                    <a:pt x="27" y="44"/>
                  </a:cubicBezTo>
                  <a:lnTo>
                    <a:pt x="78" y="44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27">
              <a:extLst>
                <a:ext uri="{FF2B5EF4-FFF2-40B4-BE49-F238E27FC236}">
                  <a16:creationId xmlns:a16="http://schemas.microsoft.com/office/drawing/2014/main" id="{50988FCC-C277-48E2-B04E-7FB14BDD10B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30638" y="1055688"/>
              <a:ext cx="100013" cy="114300"/>
            </a:xfrm>
            <a:custGeom>
              <a:avLst/>
              <a:gdLst>
                <a:gd name="T0" fmla="*/ 83 w 95"/>
                <a:gd name="T1" fmla="*/ 10 h 108"/>
                <a:gd name="T2" fmla="*/ 95 w 95"/>
                <a:gd name="T3" fmla="*/ 38 h 108"/>
                <a:gd name="T4" fmla="*/ 95 w 95"/>
                <a:gd name="T5" fmla="*/ 105 h 108"/>
                <a:gd name="T6" fmla="*/ 71 w 95"/>
                <a:gd name="T7" fmla="*/ 105 h 108"/>
                <a:gd name="T8" fmla="*/ 71 w 95"/>
                <a:gd name="T9" fmla="*/ 92 h 108"/>
                <a:gd name="T10" fmla="*/ 63 w 95"/>
                <a:gd name="T11" fmla="*/ 100 h 108"/>
                <a:gd name="T12" fmla="*/ 52 w 95"/>
                <a:gd name="T13" fmla="*/ 106 h 108"/>
                <a:gd name="T14" fmla="*/ 37 w 95"/>
                <a:gd name="T15" fmla="*/ 108 h 108"/>
                <a:gd name="T16" fmla="*/ 23 w 95"/>
                <a:gd name="T17" fmla="*/ 106 h 108"/>
                <a:gd name="T18" fmla="*/ 11 w 95"/>
                <a:gd name="T19" fmla="*/ 99 h 108"/>
                <a:gd name="T20" fmla="*/ 3 w 95"/>
                <a:gd name="T21" fmla="*/ 88 h 108"/>
                <a:gd name="T22" fmla="*/ 0 w 95"/>
                <a:gd name="T23" fmla="*/ 73 h 108"/>
                <a:gd name="T24" fmla="*/ 3 w 95"/>
                <a:gd name="T25" fmla="*/ 60 h 108"/>
                <a:gd name="T26" fmla="*/ 12 w 95"/>
                <a:gd name="T27" fmla="*/ 49 h 108"/>
                <a:gd name="T28" fmla="*/ 25 w 95"/>
                <a:gd name="T29" fmla="*/ 42 h 108"/>
                <a:gd name="T30" fmla="*/ 40 w 95"/>
                <a:gd name="T31" fmla="*/ 39 h 108"/>
                <a:gd name="T32" fmla="*/ 53 w 95"/>
                <a:gd name="T33" fmla="*/ 41 h 108"/>
                <a:gd name="T34" fmla="*/ 62 w 95"/>
                <a:gd name="T35" fmla="*/ 43 h 108"/>
                <a:gd name="T36" fmla="*/ 69 w 95"/>
                <a:gd name="T37" fmla="*/ 47 h 108"/>
                <a:gd name="T38" fmla="*/ 69 w 95"/>
                <a:gd name="T39" fmla="*/ 41 h 108"/>
                <a:gd name="T40" fmla="*/ 67 w 95"/>
                <a:gd name="T41" fmla="*/ 33 h 108"/>
                <a:gd name="T42" fmla="*/ 61 w 95"/>
                <a:gd name="T43" fmla="*/ 27 h 108"/>
                <a:gd name="T44" fmla="*/ 54 w 95"/>
                <a:gd name="T45" fmla="*/ 24 h 108"/>
                <a:gd name="T46" fmla="*/ 47 w 95"/>
                <a:gd name="T47" fmla="*/ 23 h 108"/>
                <a:gd name="T48" fmla="*/ 36 w 95"/>
                <a:gd name="T49" fmla="*/ 24 h 108"/>
                <a:gd name="T50" fmla="*/ 26 w 95"/>
                <a:gd name="T51" fmla="*/ 27 h 108"/>
                <a:gd name="T52" fmla="*/ 16 w 95"/>
                <a:gd name="T53" fmla="*/ 31 h 108"/>
                <a:gd name="T54" fmla="*/ 8 w 95"/>
                <a:gd name="T55" fmla="*/ 9 h 108"/>
                <a:gd name="T56" fmla="*/ 20 w 95"/>
                <a:gd name="T57" fmla="*/ 5 h 108"/>
                <a:gd name="T58" fmla="*/ 33 w 95"/>
                <a:gd name="T59" fmla="*/ 1 h 108"/>
                <a:gd name="T60" fmla="*/ 48 w 95"/>
                <a:gd name="T61" fmla="*/ 0 h 108"/>
                <a:gd name="T62" fmla="*/ 83 w 95"/>
                <a:gd name="T63" fmla="*/ 10 h 108"/>
                <a:gd name="T64" fmla="*/ 55 w 95"/>
                <a:gd name="T65" fmla="*/ 84 h 108"/>
                <a:gd name="T66" fmla="*/ 63 w 95"/>
                <a:gd name="T67" fmla="*/ 80 h 108"/>
                <a:gd name="T68" fmla="*/ 69 w 95"/>
                <a:gd name="T69" fmla="*/ 74 h 108"/>
                <a:gd name="T70" fmla="*/ 69 w 95"/>
                <a:gd name="T71" fmla="*/ 64 h 108"/>
                <a:gd name="T72" fmla="*/ 62 w 95"/>
                <a:gd name="T73" fmla="*/ 61 h 108"/>
                <a:gd name="T74" fmla="*/ 55 w 95"/>
                <a:gd name="T75" fmla="*/ 59 h 108"/>
                <a:gd name="T76" fmla="*/ 45 w 95"/>
                <a:gd name="T77" fmla="*/ 59 h 108"/>
                <a:gd name="T78" fmla="*/ 39 w 95"/>
                <a:gd name="T79" fmla="*/ 59 h 108"/>
                <a:gd name="T80" fmla="*/ 33 w 95"/>
                <a:gd name="T81" fmla="*/ 62 h 108"/>
                <a:gd name="T82" fmla="*/ 28 w 95"/>
                <a:gd name="T83" fmla="*/ 66 h 108"/>
                <a:gd name="T84" fmla="*/ 26 w 95"/>
                <a:gd name="T85" fmla="*/ 73 h 108"/>
                <a:gd name="T86" fmla="*/ 28 w 95"/>
                <a:gd name="T87" fmla="*/ 80 h 108"/>
                <a:gd name="T88" fmla="*/ 33 w 95"/>
                <a:gd name="T89" fmla="*/ 84 h 108"/>
                <a:gd name="T90" fmla="*/ 39 w 95"/>
                <a:gd name="T91" fmla="*/ 86 h 108"/>
                <a:gd name="T92" fmla="*/ 45 w 95"/>
                <a:gd name="T93" fmla="*/ 86 h 108"/>
                <a:gd name="T94" fmla="*/ 55 w 95"/>
                <a:gd name="T95" fmla="*/ 8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5" h="108">
                  <a:moveTo>
                    <a:pt x="83" y="10"/>
                  </a:moveTo>
                  <a:cubicBezTo>
                    <a:pt x="91" y="17"/>
                    <a:pt x="95" y="27"/>
                    <a:pt x="95" y="38"/>
                  </a:cubicBezTo>
                  <a:cubicBezTo>
                    <a:pt x="95" y="105"/>
                    <a:pt x="95" y="105"/>
                    <a:pt x="95" y="105"/>
                  </a:cubicBezTo>
                  <a:cubicBezTo>
                    <a:pt x="71" y="105"/>
                    <a:pt x="71" y="105"/>
                    <a:pt x="71" y="105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9" y="95"/>
                    <a:pt x="66" y="98"/>
                    <a:pt x="63" y="100"/>
                  </a:cubicBezTo>
                  <a:cubicBezTo>
                    <a:pt x="60" y="102"/>
                    <a:pt x="56" y="104"/>
                    <a:pt x="52" y="106"/>
                  </a:cubicBezTo>
                  <a:cubicBezTo>
                    <a:pt x="48" y="107"/>
                    <a:pt x="43" y="108"/>
                    <a:pt x="37" y="108"/>
                  </a:cubicBezTo>
                  <a:cubicBezTo>
                    <a:pt x="32" y="108"/>
                    <a:pt x="28" y="107"/>
                    <a:pt x="23" y="106"/>
                  </a:cubicBezTo>
                  <a:cubicBezTo>
                    <a:pt x="19" y="104"/>
                    <a:pt x="15" y="102"/>
                    <a:pt x="11" y="99"/>
                  </a:cubicBezTo>
                  <a:cubicBezTo>
                    <a:pt x="8" y="96"/>
                    <a:pt x="5" y="92"/>
                    <a:pt x="3" y="88"/>
                  </a:cubicBezTo>
                  <a:cubicBezTo>
                    <a:pt x="1" y="84"/>
                    <a:pt x="0" y="79"/>
                    <a:pt x="0" y="73"/>
                  </a:cubicBezTo>
                  <a:cubicBezTo>
                    <a:pt x="0" y="69"/>
                    <a:pt x="1" y="64"/>
                    <a:pt x="3" y="60"/>
                  </a:cubicBezTo>
                  <a:cubicBezTo>
                    <a:pt x="5" y="56"/>
                    <a:pt x="8" y="52"/>
                    <a:pt x="12" y="49"/>
                  </a:cubicBezTo>
                  <a:cubicBezTo>
                    <a:pt x="15" y="46"/>
                    <a:pt x="20" y="44"/>
                    <a:pt x="25" y="42"/>
                  </a:cubicBezTo>
                  <a:cubicBezTo>
                    <a:pt x="29" y="40"/>
                    <a:pt x="35" y="39"/>
                    <a:pt x="40" y="39"/>
                  </a:cubicBezTo>
                  <a:cubicBezTo>
                    <a:pt x="45" y="39"/>
                    <a:pt x="49" y="40"/>
                    <a:pt x="53" y="41"/>
                  </a:cubicBezTo>
                  <a:cubicBezTo>
                    <a:pt x="56" y="41"/>
                    <a:pt x="59" y="42"/>
                    <a:pt x="62" y="43"/>
                  </a:cubicBezTo>
                  <a:cubicBezTo>
                    <a:pt x="64" y="44"/>
                    <a:pt x="67" y="45"/>
                    <a:pt x="69" y="47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38"/>
                    <a:pt x="68" y="35"/>
                    <a:pt x="67" y="33"/>
                  </a:cubicBezTo>
                  <a:cubicBezTo>
                    <a:pt x="65" y="30"/>
                    <a:pt x="63" y="28"/>
                    <a:pt x="61" y="27"/>
                  </a:cubicBezTo>
                  <a:cubicBezTo>
                    <a:pt x="59" y="26"/>
                    <a:pt x="57" y="25"/>
                    <a:pt x="54" y="24"/>
                  </a:cubicBezTo>
                  <a:cubicBezTo>
                    <a:pt x="52" y="23"/>
                    <a:pt x="49" y="23"/>
                    <a:pt x="47" y="23"/>
                  </a:cubicBezTo>
                  <a:cubicBezTo>
                    <a:pt x="43" y="23"/>
                    <a:pt x="39" y="24"/>
                    <a:pt x="36" y="24"/>
                  </a:cubicBezTo>
                  <a:cubicBezTo>
                    <a:pt x="32" y="25"/>
                    <a:pt x="29" y="26"/>
                    <a:pt x="26" y="27"/>
                  </a:cubicBezTo>
                  <a:cubicBezTo>
                    <a:pt x="22" y="28"/>
                    <a:pt x="19" y="29"/>
                    <a:pt x="16" y="31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1" y="8"/>
                    <a:pt x="15" y="6"/>
                    <a:pt x="20" y="5"/>
                  </a:cubicBezTo>
                  <a:cubicBezTo>
                    <a:pt x="23" y="3"/>
                    <a:pt x="28" y="2"/>
                    <a:pt x="33" y="1"/>
                  </a:cubicBezTo>
                  <a:cubicBezTo>
                    <a:pt x="38" y="1"/>
                    <a:pt x="43" y="0"/>
                    <a:pt x="48" y="0"/>
                  </a:cubicBezTo>
                  <a:cubicBezTo>
                    <a:pt x="63" y="0"/>
                    <a:pt x="74" y="3"/>
                    <a:pt x="83" y="10"/>
                  </a:cubicBezTo>
                  <a:close/>
                  <a:moveTo>
                    <a:pt x="55" y="84"/>
                  </a:moveTo>
                  <a:cubicBezTo>
                    <a:pt x="58" y="83"/>
                    <a:pt x="61" y="82"/>
                    <a:pt x="63" y="80"/>
                  </a:cubicBezTo>
                  <a:cubicBezTo>
                    <a:pt x="65" y="78"/>
                    <a:pt x="67" y="76"/>
                    <a:pt x="69" y="7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7" y="63"/>
                    <a:pt x="65" y="62"/>
                    <a:pt x="62" y="61"/>
                  </a:cubicBezTo>
                  <a:cubicBezTo>
                    <a:pt x="60" y="60"/>
                    <a:pt x="58" y="60"/>
                    <a:pt x="55" y="59"/>
                  </a:cubicBezTo>
                  <a:cubicBezTo>
                    <a:pt x="52" y="59"/>
                    <a:pt x="49" y="59"/>
                    <a:pt x="45" y="59"/>
                  </a:cubicBezTo>
                  <a:cubicBezTo>
                    <a:pt x="43" y="59"/>
                    <a:pt x="41" y="59"/>
                    <a:pt x="39" y="59"/>
                  </a:cubicBezTo>
                  <a:cubicBezTo>
                    <a:pt x="37" y="60"/>
                    <a:pt x="35" y="61"/>
                    <a:pt x="33" y="62"/>
                  </a:cubicBezTo>
                  <a:cubicBezTo>
                    <a:pt x="31" y="63"/>
                    <a:pt x="29" y="64"/>
                    <a:pt x="28" y="66"/>
                  </a:cubicBezTo>
                  <a:cubicBezTo>
                    <a:pt x="27" y="68"/>
                    <a:pt x="26" y="70"/>
                    <a:pt x="26" y="73"/>
                  </a:cubicBezTo>
                  <a:cubicBezTo>
                    <a:pt x="26" y="76"/>
                    <a:pt x="27" y="78"/>
                    <a:pt x="28" y="80"/>
                  </a:cubicBezTo>
                  <a:cubicBezTo>
                    <a:pt x="29" y="81"/>
                    <a:pt x="31" y="83"/>
                    <a:pt x="33" y="84"/>
                  </a:cubicBezTo>
                  <a:cubicBezTo>
                    <a:pt x="35" y="85"/>
                    <a:pt x="37" y="85"/>
                    <a:pt x="39" y="86"/>
                  </a:cubicBezTo>
                  <a:cubicBezTo>
                    <a:pt x="41" y="86"/>
                    <a:pt x="43" y="86"/>
                    <a:pt x="45" y="86"/>
                  </a:cubicBezTo>
                  <a:cubicBezTo>
                    <a:pt x="49" y="86"/>
                    <a:pt x="52" y="86"/>
                    <a:pt x="55" y="84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28">
              <a:extLst>
                <a:ext uri="{FF2B5EF4-FFF2-40B4-BE49-F238E27FC236}">
                  <a16:creationId xmlns:a16="http://schemas.microsoft.com/office/drawing/2014/main" id="{1D999085-7E95-4A15-82FA-6AD6D0AA56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60813" y="1055688"/>
              <a:ext cx="96838" cy="114300"/>
            </a:xfrm>
            <a:custGeom>
              <a:avLst/>
              <a:gdLst>
                <a:gd name="T0" fmla="*/ 15 w 91"/>
                <a:gd name="T1" fmla="*/ 70 h 108"/>
                <a:gd name="T2" fmla="*/ 24 w 91"/>
                <a:gd name="T3" fmla="*/ 78 h 108"/>
                <a:gd name="T4" fmla="*/ 33 w 91"/>
                <a:gd name="T5" fmla="*/ 83 h 108"/>
                <a:gd name="T6" fmla="*/ 46 w 91"/>
                <a:gd name="T7" fmla="*/ 85 h 108"/>
                <a:gd name="T8" fmla="*/ 59 w 91"/>
                <a:gd name="T9" fmla="*/ 83 h 108"/>
                <a:gd name="T10" fmla="*/ 65 w 91"/>
                <a:gd name="T11" fmla="*/ 76 h 108"/>
                <a:gd name="T12" fmla="*/ 61 w 91"/>
                <a:gd name="T13" fmla="*/ 69 h 108"/>
                <a:gd name="T14" fmla="*/ 45 w 91"/>
                <a:gd name="T15" fmla="*/ 65 h 108"/>
                <a:gd name="T16" fmla="*/ 30 w 91"/>
                <a:gd name="T17" fmla="*/ 60 h 108"/>
                <a:gd name="T18" fmla="*/ 18 w 91"/>
                <a:gd name="T19" fmla="*/ 54 h 108"/>
                <a:gd name="T20" fmla="*/ 10 w 91"/>
                <a:gd name="T21" fmla="*/ 45 h 108"/>
                <a:gd name="T22" fmla="*/ 7 w 91"/>
                <a:gd name="T23" fmla="*/ 32 h 108"/>
                <a:gd name="T24" fmla="*/ 9 w 91"/>
                <a:gd name="T25" fmla="*/ 20 h 108"/>
                <a:gd name="T26" fmla="*/ 18 w 91"/>
                <a:gd name="T27" fmla="*/ 10 h 108"/>
                <a:gd name="T28" fmla="*/ 32 w 91"/>
                <a:gd name="T29" fmla="*/ 3 h 108"/>
                <a:gd name="T30" fmla="*/ 51 w 91"/>
                <a:gd name="T31" fmla="*/ 0 h 108"/>
                <a:gd name="T32" fmla="*/ 67 w 91"/>
                <a:gd name="T33" fmla="*/ 2 h 108"/>
                <a:gd name="T34" fmla="*/ 79 w 91"/>
                <a:gd name="T35" fmla="*/ 6 h 108"/>
                <a:gd name="T36" fmla="*/ 89 w 91"/>
                <a:gd name="T37" fmla="*/ 13 h 108"/>
                <a:gd name="T38" fmla="*/ 76 w 91"/>
                <a:gd name="T39" fmla="*/ 32 h 108"/>
                <a:gd name="T40" fmla="*/ 69 w 91"/>
                <a:gd name="T41" fmla="*/ 27 h 108"/>
                <a:gd name="T42" fmla="*/ 61 w 91"/>
                <a:gd name="T43" fmla="*/ 24 h 108"/>
                <a:gd name="T44" fmla="*/ 51 w 91"/>
                <a:gd name="T45" fmla="*/ 23 h 108"/>
                <a:gd name="T46" fmla="*/ 38 w 91"/>
                <a:gd name="T47" fmla="*/ 25 h 108"/>
                <a:gd name="T48" fmla="*/ 32 w 91"/>
                <a:gd name="T49" fmla="*/ 33 h 108"/>
                <a:gd name="T50" fmla="*/ 38 w 91"/>
                <a:gd name="T51" fmla="*/ 39 h 108"/>
                <a:gd name="T52" fmla="*/ 56 w 91"/>
                <a:gd name="T53" fmla="*/ 44 h 108"/>
                <a:gd name="T54" fmla="*/ 70 w 91"/>
                <a:gd name="T55" fmla="*/ 48 h 108"/>
                <a:gd name="T56" fmla="*/ 81 w 91"/>
                <a:gd name="T57" fmla="*/ 54 h 108"/>
                <a:gd name="T58" fmla="*/ 89 w 91"/>
                <a:gd name="T59" fmla="*/ 63 h 108"/>
                <a:gd name="T60" fmla="*/ 91 w 91"/>
                <a:gd name="T61" fmla="*/ 76 h 108"/>
                <a:gd name="T62" fmla="*/ 88 w 91"/>
                <a:gd name="T63" fmla="*/ 89 h 108"/>
                <a:gd name="T64" fmla="*/ 79 w 91"/>
                <a:gd name="T65" fmla="*/ 99 h 108"/>
                <a:gd name="T66" fmla="*/ 64 w 91"/>
                <a:gd name="T67" fmla="*/ 105 h 108"/>
                <a:gd name="T68" fmla="*/ 46 w 91"/>
                <a:gd name="T69" fmla="*/ 108 h 108"/>
                <a:gd name="T70" fmla="*/ 26 w 91"/>
                <a:gd name="T71" fmla="*/ 105 h 108"/>
                <a:gd name="T72" fmla="*/ 12 w 91"/>
                <a:gd name="T73" fmla="*/ 99 h 108"/>
                <a:gd name="T74" fmla="*/ 0 w 91"/>
                <a:gd name="T75" fmla="*/ 89 h 108"/>
                <a:gd name="T76" fmla="*/ 15 w 91"/>
                <a:gd name="T77" fmla="*/ 7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1" h="108">
                  <a:moveTo>
                    <a:pt x="15" y="70"/>
                  </a:moveTo>
                  <a:cubicBezTo>
                    <a:pt x="17" y="73"/>
                    <a:pt x="20" y="76"/>
                    <a:pt x="24" y="78"/>
                  </a:cubicBezTo>
                  <a:cubicBezTo>
                    <a:pt x="26" y="80"/>
                    <a:pt x="30" y="81"/>
                    <a:pt x="33" y="83"/>
                  </a:cubicBezTo>
                  <a:cubicBezTo>
                    <a:pt x="37" y="84"/>
                    <a:pt x="41" y="85"/>
                    <a:pt x="46" y="85"/>
                  </a:cubicBezTo>
                  <a:cubicBezTo>
                    <a:pt x="51" y="85"/>
                    <a:pt x="55" y="84"/>
                    <a:pt x="59" y="83"/>
                  </a:cubicBezTo>
                  <a:cubicBezTo>
                    <a:pt x="63" y="81"/>
                    <a:pt x="65" y="79"/>
                    <a:pt x="65" y="76"/>
                  </a:cubicBezTo>
                  <a:cubicBezTo>
                    <a:pt x="65" y="73"/>
                    <a:pt x="64" y="70"/>
                    <a:pt x="61" y="69"/>
                  </a:cubicBezTo>
                  <a:cubicBezTo>
                    <a:pt x="58" y="68"/>
                    <a:pt x="52" y="66"/>
                    <a:pt x="45" y="65"/>
                  </a:cubicBezTo>
                  <a:cubicBezTo>
                    <a:pt x="40" y="63"/>
                    <a:pt x="35" y="62"/>
                    <a:pt x="30" y="60"/>
                  </a:cubicBezTo>
                  <a:cubicBezTo>
                    <a:pt x="26" y="59"/>
                    <a:pt x="21" y="57"/>
                    <a:pt x="18" y="54"/>
                  </a:cubicBezTo>
                  <a:cubicBezTo>
                    <a:pt x="15" y="51"/>
                    <a:pt x="12" y="48"/>
                    <a:pt x="10" y="45"/>
                  </a:cubicBezTo>
                  <a:cubicBezTo>
                    <a:pt x="8" y="41"/>
                    <a:pt x="7" y="37"/>
                    <a:pt x="7" y="32"/>
                  </a:cubicBezTo>
                  <a:cubicBezTo>
                    <a:pt x="7" y="28"/>
                    <a:pt x="8" y="24"/>
                    <a:pt x="9" y="20"/>
                  </a:cubicBezTo>
                  <a:cubicBezTo>
                    <a:pt x="11" y="16"/>
                    <a:pt x="14" y="13"/>
                    <a:pt x="18" y="10"/>
                  </a:cubicBezTo>
                  <a:cubicBezTo>
                    <a:pt x="22" y="7"/>
                    <a:pt x="26" y="5"/>
                    <a:pt x="32" y="3"/>
                  </a:cubicBezTo>
                  <a:cubicBezTo>
                    <a:pt x="37" y="1"/>
                    <a:pt x="44" y="0"/>
                    <a:pt x="51" y="0"/>
                  </a:cubicBezTo>
                  <a:cubicBezTo>
                    <a:pt x="57" y="0"/>
                    <a:pt x="62" y="1"/>
                    <a:pt x="67" y="2"/>
                  </a:cubicBezTo>
                  <a:cubicBezTo>
                    <a:pt x="71" y="3"/>
                    <a:pt x="75" y="5"/>
                    <a:pt x="79" y="6"/>
                  </a:cubicBezTo>
                  <a:cubicBezTo>
                    <a:pt x="83" y="8"/>
                    <a:pt x="86" y="10"/>
                    <a:pt x="89" y="13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74" y="30"/>
                    <a:pt x="71" y="29"/>
                    <a:pt x="69" y="27"/>
                  </a:cubicBezTo>
                  <a:cubicBezTo>
                    <a:pt x="66" y="26"/>
                    <a:pt x="64" y="25"/>
                    <a:pt x="61" y="24"/>
                  </a:cubicBezTo>
                  <a:cubicBezTo>
                    <a:pt x="57" y="23"/>
                    <a:pt x="54" y="23"/>
                    <a:pt x="51" y="23"/>
                  </a:cubicBezTo>
                  <a:cubicBezTo>
                    <a:pt x="46" y="23"/>
                    <a:pt x="41" y="24"/>
                    <a:pt x="38" y="25"/>
                  </a:cubicBezTo>
                  <a:cubicBezTo>
                    <a:pt x="34" y="27"/>
                    <a:pt x="32" y="29"/>
                    <a:pt x="32" y="33"/>
                  </a:cubicBezTo>
                  <a:cubicBezTo>
                    <a:pt x="32" y="36"/>
                    <a:pt x="34" y="38"/>
                    <a:pt x="38" y="39"/>
                  </a:cubicBezTo>
                  <a:cubicBezTo>
                    <a:pt x="41" y="41"/>
                    <a:pt x="48" y="42"/>
                    <a:pt x="56" y="44"/>
                  </a:cubicBezTo>
                  <a:cubicBezTo>
                    <a:pt x="61" y="45"/>
                    <a:pt x="66" y="46"/>
                    <a:pt x="70" y="48"/>
                  </a:cubicBezTo>
                  <a:cubicBezTo>
                    <a:pt x="75" y="49"/>
                    <a:pt x="78" y="51"/>
                    <a:pt x="81" y="54"/>
                  </a:cubicBezTo>
                  <a:cubicBezTo>
                    <a:pt x="84" y="56"/>
                    <a:pt x="87" y="59"/>
                    <a:pt x="89" y="63"/>
                  </a:cubicBezTo>
                  <a:cubicBezTo>
                    <a:pt x="90" y="66"/>
                    <a:pt x="91" y="71"/>
                    <a:pt x="91" y="76"/>
                  </a:cubicBezTo>
                  <a:cubicBezTo>
                    <a:pt x="91" y="81"/>
                    <a:pt x="90" y="85"/>
                    <a:pt x="88" y="89"/>
                  </a:cubicBezTo>
                  <a:cubicBezTo>
                    <a:pt x="86" y="93"/>
                    <a:pt x="83" y="96"/>
                    <a:pt x="79" y="99"/>
                  </a:cubicBezTo>
                  <a:cubicBezTo>
                    <a:pt x="75" y="101"/>
                    <a:pt x="70" y="104"/>
                    <a:pt x="64" y="105"/>
                  </a:cubicBezTo>
                  <a:cubicBezTo>
                    <a:pt x="59" y="107"/>
                    <a:pt x="53" y="108"/>
                    <a:pt x="46" y="108"/>
                  </a:cubicBezTo>
                  <a:cubicBezTo>
                    <a:pt x="39" y="108"/>
                    <a:pt x="32" y="107"/>
                    <a:pt x="26" y="105"/>
                  </a:cubicBezTo>
                  <a:cubicBezTo>
                    <a:pt x="21" y="103"/>
                    <a:pt x="16" y="101"/>
                    <a:pt x="12" y="99"/>
                  </a:cubicBezTo>
                  <a:cubicBezTo>
                    <a:pt x="7" y="96"/>
                    <a:pt x="3" y="93"/>
                    <a:pt x="0" y="89"/>
                  </a:cubicBezTo>
                  <a:lnTo>
                    <a:pt x="15" y="70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29">
              <a:extLst>
                <a:ext uri="{FF2B5EF4-FFF2-40B4-BE49-F238E27FC236}">
                  <a16:creationId xmlns:a16="http://schemas.microsoft.com/office/drawing/2014/main" id="{9372C604-68AB-4477-AE72-677FF516C6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8288" y="1058863"/>
              <a:ext cx="125413" cy="165100"/>
            </a:xfrm>
            <a:custGeom>
              <a:avLst/>
              <a:gdLst>
                <a:gd name="T0" fmla="*/ 15 w 118"/>
                <a:gd name="T1" fmla="*/ 124 h 155"/>
                <a:gd name="T2" fmla="*/ 19 w 118"/>
                <a:gd name="T3" fmla="*/ 127 h 155"/>
                <a:gd name="T4" fmla="*/ 23 w 118"/>
                <a:gd name="T5" fmla="*/ 129 h 155"/>
                <a:gd name="T6" fmla="*/ 28 w 118"/>
                <a:gd name="T7" fmla="*/ 130 h 155"/>
                <a:gd name="T8" fmla="*/ 34 w 118"/>
                <a:gd name="T9" fmla="*/ 130 h 155"/>
                <a:gd name="T10" fmla="*/ 38 w 118"/>
                <a:gd name="T11" fmla="*/ 128 h 155"/>
                <a:gd name="T12" fmla="*/ 42 w 118"/>
                <a:gd name="T13" fmla="*/ 123 h 155"/>
                <a:gd name="T14" fmla="*/ 46 w 118"/>
                <a:gd name="T15" fmla="*/ 115 h 155"/>
                <a:gd name="T16" fmla="*/ 50 w 118"/>
                <a:gd name="T17" fmla="*/ 105 h 155"/>
                <a:gd name="T18" fmla="*/ 0 w 118"/>
                <a:gd name="T19" fmla="*/ 0 h 155"/>
                <a:gd name="T20" fmla="*/ 29 w 118"/>
                <a:gd name="T21" fmla="*/ 0 h 155"/>
                <a:gd name="T22" fmla="*/ 63 w 118"/>
                <a:gd name="T23" fmla="*/ 75 h 155"/>
                <a:gd name="T24" fmla="*/ 90 w 118"/>
                <a:gd name="T25" fmla="*/ 0 h 155"/>
                <a:gd name="T26" fmla="*/ 118 w 118"/>
                <a:gd name="T27" fmla="*/ 0 h 155"/>
                <a:gd name="T28" fmla="*/ 69 w 118"/>
                <a:gd name="T29" fmla="*/ 125 h 155"/>
                <a:gd name="T30" fmla="*/ 52 w 118"/>
                <a:gd name="T31" fmla="*/ 148 h 155"/>
                <a:gd name="T32" fmla="*/ 30 w 118"/>
                <a:gd name="T33" fmla="*/ 155 h 155"/>
                <a:gd name="T34" fmla="*/ 19 w 118"/>
                <a:gd name="T35" fmla="*/ 153 h 155"/>
                <a:gd name="T36" fmla="*/ 11 w 118"/>
                <a:gd name="T37" fmla="*/ 149 h 155"/>
                <a:gd name="T38" fmla="*/ 2 w 118"/>
                <a:gd name="T39" fmla="*/ 144 h 155"/>
                <a:gd name="T40" fmla="*/ 15 w 118"/>
                <a:gd name="T41" fmla="*/ 124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8" h="155">
                  <a:moveTo>
                    <a:pt x="15" y="124"/>
                  </a:moveTo>
                  <a:cubicBezTo>
                    <a:pt x="16" y="125"/>
                    <a:pt x="17" y="126"/>
                    <a:pt x="19" y="127"/>
                  </a:cubicBezTo>
                  <a:cubicBezTo>
                    <a:pt x="20" y="128"/>
                    <a:pt x="22" y="129"/>
                    <a:pt x="23" y="129"/>
                  </a:cubicBezTo>
                  <a:cubicBezTo>
                    <a:pt x="25" y="130"/>
                    <a:pt x="27" y="130"/>
                    <a:pt x="28" y="130"/>
                  </a:cubicBezTo>
                  <a:cubicBezTo>
                    <a:pt x="30" y="130"/>
                    <a:pt x="32" y="130"/>
                    <a:pt x="34" y="130"/>
                  </a:cubicBezTo>
                  <a:cubicBezTo>
                    <a:pt x="36" y="129"/>
                    <a:pt x="37" y="129"/>
                    <a:pt x="38" y="128"/>
                  </a:cubicBezTo>
                  <a:cubicBezTo>
                    <a:pt x="40" y="126"/>
                    <a:pt x="41" y="125"/>
                    <a:pt x="42" y="123"/>
                  </a:cubicBezTo>
                  <a:cubicBezTo>
                    <a:pt x="43" y="121"/>
                    <a:pt x="45" y="118"/>
                    <a:pt x="46" y="11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4" y="137"/>
                    <a:pt x="58" y="144"/>
                    <a:pt x="52" y="148"/>
                  </a:cubicBezTo>
                  <a:cubicBezTo>
                    <a:pt x="45" y="153"/>
                    <a:pt x="38" y="155"/>
                    <a:pt x="30" y="155"/>
                  </a:cubicBezTo>
                  <a:cubicBezTo>
                    <a:pt x="26" y="155"/>
                    <a:pt x="22" y="154"/>
                    <a:pt x="19" y="153"/>
                  </a:cubicBezTo>
                  <a:cubicBezTo>
                    <a:pt x="16" y="152"/>
                    <a:pt x="13" y="151"/>
                    <a:pt x="11" y="149"/>
                  </a:cubicBezTo>
                  <a:cubicBezTo>
                    <a:pt x="7" y="148"/>
                    <a:pt x="5" y="146"/>
                    <a:pt x="2" y="144"/>
                  </a:cubicBezTo>
                  <a:lnTo>
                    <a:pt x="15" y="124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30">
              <a:extLst>
                <a:ext uri="{FF2B5EF4-FFF2-40B4-BE49-F238E27FC236}">
                  <a16:creationId xmlns:a16="http://schemas.microsoft.com/office/drawing/2014/main" id="{74D356EF-EA71-4FE4-B96B-27938F5F22F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78313" y="1055688"/>
              <a:ext cx="100013" cy="114300"/>
            </a:xfrm>
            <a:custGeom>
              <a:avLst/>
              <a:gdLst>
                <a:gd name="T0" fmla="*/ 83 w 95"/>
                <a:gd name="T1" fmla="*/ 10 h 108"/>
                <a:gd name="T2" fmla="*/ 95 w 95"/>
                <a:gd name="T3" fmla="*/ 38 h 108"/>
                <a:gd name="T4" fmla="*/ 95 w 95"/>
                <a:gd name="T5" fmla="*/ 105 h 108"/>
                <a:gd name="T6" fmla="*/ 71 w 95"/>
                <a:gd name="T7" fmla="*/ 105 h 108"/>
                <a:gd name="T8" fmla="*/ 71 w 95"/>
                <a:gd name="T9" fmla="*/ 92 h 108"/>
                <a:gd name="T10" fmla="*/ 63 w 95"/>
                <a:gd name="T11" fmla="*/ 100 h 108"/>
                <a:gd name="T12" fmla="*/ 53 w 95"/>
                <a:gd name="T13" fmla="*/ 106 h 108"/>
                <a:gd name="T14" fmla="*/ 37 w 95"/>
                <a:gd name="T15" fmla="*/ 108 h 108"/>
                <a:gd name="T16" fmla="*/ 24 w 95"/>
                <a:gd name="T17" fmla="*/ 106 h 108"/>
                <a:gd name="T18" fmla="*/ 12 w 95"/>
                <a:gd name="T19" fmla="*/ 99 h 108"/>
                <a:gd name="T20" fmla="*/ 3 w 95"/>
                <a:gd name="T21" fmla="*/ 88 h 108"/>
                <a:gd name="T22" fmla="*/ 0 w 95"/>
                <a:gd name="T23" fmla="*/ 73 h 108"/>
                <a:gd name="T24" fmla="*/ 4 w 95"/>
                <a:gd name="T25" fmla="*/ 60 h 108"/>
                <a:gd name="T26" fmla="*/ 12 w 95"/>
                <a:gd name="T27" fmla="*/ 49 h 108"/>
                <a:gd name="T28" fmla="*/ 25 w 95"/>
                <a:gd name="T29" fmla="*/ 42 h 108"/>
                <a:gd name="T30" fmla="*/ 41 w 95"/>
                <a:gd name="T31" fmla="*/ 39 h 108"/>
                <a:gd name="T32" fmla="*/ 53 w 95"/>
                <a:gd name="T33" fmla="*/ 41 h 108"/>
                <a:gd name="T34" fmla="*/ 62 w 95"/>
                <a:gd name="T35" fmla="*/ 43 h 108"/>
                <a:gd name="T36" fmla="*/ 69 w 95"/>
                <a:gd name="T37" fmla="*/ 47 h 108"/>
                <a:gd name="T38" fmla="*/ 69 w 95"/>
                <a:gd name="T39" fmla="*/ 41 h 108"/>
                <a:gd name="T40" fmla="*/ 67 w 95"/>
                <a:gd name="T41" fmla="*/ 33 h 108"/>
                <a:gd name="T42" fmla="*/ 62 w 95"/>
                <a:gd name="T43" fmla="*/ 27 h 108"/>
                <a:gd name="T44" fmla="*/ 55 w 95"/>
                <a:gd name="T45" fmla="*/ 24 h 108"/>
                <a:gd name="T46" fmla="*/ 47 w 95"/>
                <a:gd name="T47" fmla="*/ 23 h 108"/>
                <a:gd name="T48" fmla="*/ 36 w 95"/>
                <a:gd name="T49" fmla="*/ 24 h 108"/>
                <a:gd name="T50" fmla="*/ 26 w 95"/>
                <a:gd name="T51" fmla="*/ 27 h 108"/>
                <a:gd name="T52" fmla="*/ 16 w 95"/>
                <a:gd name="T53" fmla="*/ 31 h 108"/>
                <a:gd name="T54" fmla="*/ 8 w 95"/>
                <a:gd name="T55" fmla="*/ 9 h 108"/>
                <a:gd name="T56" fmla="*/ 20 w 95"/>
                <a:gd name="T57" fmla="*/ 5 h 108"/>
                <a:gd name="T58" fmla="*/ 33 w 95"/>
                <a:gd name="T59" fmla="*/ 1 h 108"/>
                <a:gd name="T60" fmla="*/ 48 w 95"/>
                <a:gd name="T61" fmla="*/ 0 h 108"/>
                <a:gd name="T62" fmla="*/ 83 w 95"/>
                <a:gd name="T63" fmla="*/ 10 h 108"/>
                <a:gd name="T64" fmla="*/ 56 w 95"/>
                <a:gd name="T65" fmla="*/ 84 h 108"/>
                <a:gd name="T66" fmla="*/ 63 w 95"/>
                <a:gd name="T67" fmla="*/ 80 h 108"/>
                <a:gd name="T68" fmla="*/ 69 w 95"/>
                <a:gd name="T69" fmla="*/ 74 h 108"/>
                <a:gd name="T70" fmla="*/ 69 w 95"/>
                <a:gd name="T71" fmla="*/ 64 h 108"/>
                <a:gd name="T72" fmla="*/ 63 w 95"/>
                <a:gd name="T73" fmla="*/ 61 h 108"/>
                <a:gd name="T74" fmla="*/ 55 w 95"/>
                <a:gd name="T75" fmla="*/ 59 h 108"/>
                <a:gd name="T76" fmla="*/ 46 w 95"/>
                <a:gd name="T77" fmla="*/ 59 h 108"/>
                <a:gd name="T78" fmla="*/ 39 w 95"/>
                <a:gd name="T79" fmla="*/ 59 h 108"/>
                <a:gd name="T80" fmla="*/ 33 w 95"/>
                <a:gd name="T81" fmla="*/ 62 h 108"/>
                <a:gd name="T82" fmla="*/ 29 w 95"/>
                <a:gd name="T83" fmla="*/ 66 h 108"/>
                <a:gd name="T84" fmla="*/ 27 w 95"/>
                <a:gd name="T85" fmla="*/ 73 h 108"/>
                <a:gd name="T86" fmla="*/ 29 w 95"/>
                <a:gd name="T87" fmla="*/ 80 h 108"/>
                <a:gd name="T88" fmla="*/ 33 w 95"/>
                <a:gd name="T89" fmla="*/ 84 h 108"/>
                <a:gd name="T90" fmla="*/ 39 w 95"/>
                <a:gd name="T91" fmla="*/ 86 h 108"/>
                <a:gd name="T92" fmla="*/ 45 w 95"/>
                <a:gd name="T93" fmla="*/ 86 h 108"/>
                <a:gd name="T94" fmla="*/ 56 w 95"/>
                <a:gd name="T95" fmla="*/ 8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5" h="108">
                  <a:moveTo>
                    <a:pt x="83" y="10"/>
                  </a:moveTo>
                  <a:cubicBezTo>
                    <a:pt x="91" y="17"/>
                    <a:pt x="95" y="27"/>
                    <a:pt x="95" y="38"/>
                  </a:cubicBezTo>
                  <a:cubicBezTo>
                    <a:pt x="95" y="105"/>
                    <a:pt x="95" y="105"/>
                    <a:pt x="95" y="105"/>
                  </a:cubicBezTo>
                  <a:cubicBezTo>
                    <a:pt x="71" y="105"/>
                    <a:pt x="71" y="105"/>
                    <a:pt x="71" y="105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9" y="95"/>
                    <a:pt x="66" y="98"/>
                    <a:pt x="63" y="100"/>
                  </a:cubicBezTo>
                  <a:cubicBezTo>
                    <a:pt x="60" y="102"/>
                    <a:pt x="57" y="104"/>
                    <a:pt x="53" y="106"/>
                  </a:cubicBezTo>
                  <a:cubicBezTo>
                    <a:pt x="48" y="107"/>
                    <a:pt x="43" y="108"/>
                    <a:pt x="37" y="108"/>
                  </a:cubicBezTo>
                  <a:cubicBezTo>
                    <a:pt x="33" y="108"/>
                    <a:pt x="28" y="107"/>
                    <a:pt x="24" y="106"/>
                  </a:cubicBezTo>
                  <a:cubicBezTo>
                    <a:pt x="19" y="104"/>
                    <a:pt x="15" y="102"/>
                    <a:pt x="12" y="99"/>
                  </a:cubicBezTo>
                  <a:cubicBezTo>
                    <a:pt x="8" y="96"/>
                    <a:pt x="5" y="92"/>
                    <a:pt x="3" y="88"/>
                  </a:cubicBezTo>
                  <a:cubicBezTo>
                    <a:pt x="1" y="84"/>
                    <a:pt x="0" y="79"/>
                    <a:pt x="0" y="73"/>
                  </a:cubicBezTo>
                  <a:cubicBezTo>
                    <a:pt x="0" y="69"/>
                    <a:pt x="1" y="64"/>
                    <a:pt x="4" y="60"/>
                  </a:cubicBezTo>
                  <a:cubicBezTo>
                    <a:pt x="6" y="56"/>
                    <a:pt x="8" y="52"/>
                    <a:pt x="12" y="49"/>
                  </a:cubicBezTo>
                  <a:cubicBezTo>
                    <a:pt x="16" y="46"/>
                    <a:pt x="20" y="44"/>
                    <a:pt x="25" y="42"/>
                  </a:cubicBezTo>
                  <a:cubicBezTo>
                    <a:pt x="30" y="40"/>
                    <a:pt x="35" y="39"/>
                    <a:pt x="41" y="39"/>
                  </a:cubicBezTo>
                  <a:cubicBezTo>
                    <a:pt x="45" y="39"/>
                    <a:pt x="50" y="40"/>
                    <a:pt x="53" y="41"/>
                  </a:cubicBezTo>
                  <a:cubicBezTo>
                    <a:pt x="57" y="41"/>
                    <a:pt x="60" y="42"/>
                    <a:pt x="62" y="43"/>
                  </a:cubicBezTo>
                  <a:cubicBezTo>
                    <a:pt x="65" y="44"/>
                    <a:pt x="67" y="45"/>
                    <a:pt x="69" y="47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38"/>
                    <a:pt x="69" y="35"/>
                    <a:pt x="67" y="33"/>
                  </a:cubicBezTo>
                  <a:cubicBezTo>
                    <a:pt x="66" y="30"/>
                    <a:pt x="64" y="28"/>
                    <a:pt x="62" y="27"/>
                  </a:cubicBezTo>
                  <a:cubicBezTo>
                    <a:pt x="59" y="26"/>
                    <a:pt x="57" y="25"/>
                    <a:pt x="55" y="24"/>
                  </a:cubicBezTo>
                  <a:cubicBezTo>
                    <a:pt x="52" y="23"/>
                    <a:pt x="49" y="23"/>
                    <a:pt x="47" y="23"/>
                  </a:cubicBezTo>
                  <a:cubicBezTo>
                    <a:pt x="43" y="23"/>
                    <a:pt x="40" y="24"/>
                    <a:pt x="36" y="24"/>
                  </a:cubicBezTo>
                  <a:cubicBezTo>
                    <a:pt x="32" y="25"/>
                    <a:pt x="29" y="26"/>
                    <a:pt x="26" y="27"/>
                  </a:cubicBezTo>
                  <a:cubicBezTo>
                    <a:pt x="23" y="28"/>
                    <a:pt x="19" y="29"/>
                    <a:pt x="16" y="31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2" y="8"/>
                    <a:pt x="16" y="6"/>
                    <a:pt x="20" y="5"/>
                  </a:cubicBezTo>
                  <a:cubicBezTo>
                    <a:pt x="24" y="3"/>
                    <a:pt x="28" y="2"/>
                    <a:pt x="33" y="1"/>
                  </a:cubicBezTo>
                  <a:cubicBezTo>
                    <a:pt x="38" y="1"/>
                    <a:pt x="43" y="0"/>
                    <a:pt x="48" y="0"/>
                  </a:cubicBezTo>
                  <a:cubicBezTo>
                    <a:pt x="63" y="0"/>
                    <a:pt x="75" y="3"/>
                    <a:pt x="83" y="10"/>
                  </a:cubicBezTo>
                  <a:close/>
                  <a:moveTo>
                    <a:pt x="56" y="84"/>
                  </a:moveTo>
                  <a:cubicBezTo>
                    <a:pt x="59" y="83"/>
                    <a:pt x="61" y="82"/>
                    <a:pt x="63" y="80"/>
                  </a:cubicBezTo>
                  <a:cubicBezTo>
                    <a:pt x="65" y="78"/>
                    <a:pt x="68" y="76"/>
                    <a:pt x="69" y="7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7" y="63"/>
                    <a:pt x="65" y="62"/>
                    <a:pt x="63" y="61"/>
                  </a:cubicBezTo>
                  <a:cubicBezTo>
                    <a:pt x="61" y="60"/>
                    <a:pt x="58" y="60"/>
                    <a:pt x="55" y="59"/>
                  </a:cubicBezTo>
                  <a:cubicBezTo>
                    <a:pt x="53" y="59"/>
                    <a:pt x="49" y="59"/>
                    <a:pt x="46" y="59"/>
                  </a:cubicBezTo>
                  <a:cubicBezTo>
                    <a:pt x="44" y="59"/>
                    <a:pt x="42" y="59"/>
                    <a:pt x="39" y="59"/>
                  </a:cubicBezTo>
                  <a:cubicBezTo>
                    <a:pt x="37" y="60"/>
                    <a:pt x="35" y="61"/>
                    <a:pt x="33" y="62"/>
                  </a:cubicBezTo>
                  <a:cubicBezTo>
                    <a:pt x="31" y="63"/>
                    <a:pt x="30" y="64"/>
                    <a:pt x="29" y="66"/>
                  </a:cubicBezTo>
                  <a:cubicBezTo>
                    <a:pt x="27" y="68"/>
                    <a:pt x="27" y="70"/>
                    <a:pt x="27" y="73"/>
                  </a:cubicBezTo>
                  <a:cubicBezTo>
                    <a:pt x="27" y="76"/>
                    <a:pt x="27" y="78"/>
                    <a:pt x="29" y="80"/>
                  </a:cubicBezTo>
                  <a:cubicBezTo>
                    <a:pt x="30" y="81"/>
                    <a:pt x="31" y="83"/>
                    <a:pt x="33" y="84"/>
                  </a:cubicBezTo>
                  <a:cubicBezTo>
                    <a:pt x="35" y="85"/>
                    <a:pt x="37" y="85"/>
                    <a:pt x="39" y="86"/>
                  </a:cubicBezTo>
                  <a:cubicBezTo>
                    <a:pt x="41" y="86"/>
                    <a:pt x="43" y="86"/>
                    <a:pt x="45" y="86"/>
                  </a:cubicBezTo>
                  <a:cubicBezTo>
                    <a:pt x="49" y="86"/>
                    <a:pt x="53" y="86"/>
                    <a:pt x="56" y="84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26845878-6581-42E7-A4FB-876FC9F74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11663" y="1055688"/>
              <a:ext cx="103188" cy="114300"/>
            </a:xfrm>
            <a:custGeom>
              <a:avLst/>
              <a:gdLst>
                <a:gd name="T0" fmla="*/ 67 w 98"/>
                <a:gd name="T1" fmla="*/ 82 h 108"/>
                <a:gd name="T2" fmla="*/ 75 w 98"/>
                <a:gd name="T3" fmla="*/ 77 h 108"/>
                <a:gd name="T4" fmla="*/ 81 w 98"/>
                <a:gd name="T5" fmla="*/ 71 h 108"/>
                <a:gd name="T6" fmla="*/ 98 w 98"/>
                <a:gd name="T7" fmla="*/ 88 h 108"/>
                <a:gd name="T8" fmla="*/ 87 w 98"/>
                <a:gd name="T9" fmla="*/ 98 h 108"/>
                <a:gd name="T10" fmla="*/ 74 w 98"/>
                <a:gd name="T11" fmla="*/ 105 h 108"/>
                <a:gd name="T12" fmla="*/ 55 w 98"/>
                <a:gd name="T13" fmla="*/ 108 h 108"/>
                <a:gd name="T14" fmla="*/ 34 w 98"/>
                <a:gd name="T15" fmla="*/ 104 h 108"/>
                <a:gd name="T16" fmla="*/ 16 w 98"/>
                <a:gd name="T17" fmla="*/ 92 h 108"/>
                <a:gd name="T18" fmla="*/ 5 w 98"/>
                <a:gd name="T19" fmla="*/ 75 h 108"/>
                <a:gd name="T20" fmla="*/ 0 w 98"/>
                <a:gd name="T21" fmla="*/ 54 h 108"/>
                <a:gd name="T22" fmla="*/ 5 w 98"/>
                <a:gd name="T23" fmla="*/ 33 h 108"/>
                <a:gd name="T24" fmla="*/ 16 w 98"/>
                <a:gd name="T25" fmla="*/ 16 h 108"/>
                <a:gd name="T26" fmla="*/ 34 w 98"/>
                <a:gd name="T27" fmla="*/ 4 h 108"/>
                <a:gd name="T28" fmla="*/ 55 w 98"/>
                <a:gd name="T29" fmla="*/ 0 h 108"/>
                <a:gd name="T30" fmla="*/ 74 w 98"/>
                <a:gd name="T31" fmla="*/ 3 h 108"/>
                <a:gd name="T32" fmla="*/ 87 w 98"/>
                <a:gd name="T33" fmla="*/ 10 h 108"/>
                <a:gd name="T34" fmla="*/ 97 w 98"/>
                <a:gd name="T35" fmla="*/ 19 h 108"/>
                <a:gd name="T36" fmla="*/ 79 w 98"/>
                <a:gd name="T37" fmla="*/ 35 h 108"/>
                <a:gd name="T38" fmla="*/ 73 w 98"/>
                <a:gd name="T39" fmla="*/ 30 h 108"/>
                <a:gd name="T40" fmla="*/ 66 w 98"/>
                <a:gd name="T41" fmla="*/ 26 h 108"/>
                <a:gd name="T42" fmla="*/ 55 w 98"/>
                <a:gd name="T43" fmla="*/ 24 h 108"/>
                <a:gd name="T44" fmla="*/ 43 w 98"/>
                <a:gd name="T45" fmla="*/ 27 h 108"/>
                <a:gd name="T46" fmla="*/ 34 w 98"/>
                <a:gd name="T47" fmla="*/ 33 h 108"/>
                <a:gd name="T48" fmla="*/ 29 w 98"/>
                <a:gd name="T49" fmla="*/ 42 h 108"/>
                <a:gd name="T50" fmla="*/ 27 w 98"/>
                <a:gd name="T51" fmla="*/ 54 h 108"/>
                <a:gd name="T52" fmla="*/ 29 w 98"/>
                <a:gd name="T53" fmla="*/ 65 h 108"/>
                <a:gd name="T54" fmla="*/ 34 w 98"/>
                <a:gd name="T55" fmla="*/ 75 h 108"/>
                <a:gd name="T56" fmla="*/ 43 w 98"/>
                <a:gd name="T57" fmla="*/ 81 h 108"/>
                <a:gd name="T58" fmla="*/ 55 w 98"/>
                <a:gd name="T59" fmla="*/ 84 h 108"/>
                <a:gd name="T60" fmla="*/ 67 w 98"/>
                <a:gd name="T61" fmla="*/ 8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8" h="108">
                  <a:moveTo>
                    <a:pt x="67" y="82"/>
                  </a:moveTo>
                  <a:cubicBezTo>
                    <a:pt x="70" y="80"/>
                    <a:pt x="73" y="79"/>
                    <a:pt x="75" y="77"/>
                  </a:cubicBezTo>
                  <a:cubicBezTo>
                    <a:pt x="77" y="75"/>
                    <a:pt x="79" y="73"/>
                    <a:pt x="81" y="71"/>
                  </a:cubicBezTo>
                  <a:cubicBezTo>
                    <a:pt x="98" y="88"/>
                    <a:pt x="98" y="88"/>
                    <a:pt x="98" y="88"/>
                  </a:cubicBezTo>
                  <a:cubicBezTo>
                    <a:pt x="95" y="92"/>
                    <a:pt x="91" y="95"/>
                    <a:pt x="87" y="98"/>
                  </a:cubicBezTo>
                  <a:cubicBezTo>
                    <a:pt x="83" y="101"/>
                    <a:pt x="79" y="103"/>
                    <a:pt x="74" y="105"/>
                  </a:cubicBezTo>
                  <a:cubicBezTo>
                    <a:pt x="68" y="107"/>
                    <a:pt x="62" y="108"/>
                    <a:pt x="55" y="108"/>
                  </a:cubicBezTo>
                  <a:cubicBezTo>
                    <a:pt x="48" y="108"/>
                    <a:pt x="41" y="106"/>
                    <a:pt x="34" y="104"/>
                  </a:cubicBezTo>
                  <a:cubicBezTo>
                    <a:pt x="27" y="101"/>
                    <a:pt x="21" y="97"/>
                    <a:pt x="16" y="92"/>
                  </a:cubicBezTo>
                  <a:cubicBezTo>
                    <a:pt x="11" y="87"/>
                    <a:pt x="7" y="82"/>
                    <a:pt x="5" y="75"/>
                  </a:cubicBezTo>
                  <a:cubicBezTo>
                    <a:pt x="2" y="69"/>
                    <a:pt x="0" y="61"/>
                    <a:pt x="0" y="54"/>
                  </a:cubicBezTo>
                  <a:cubicBezTo>
                    <a:pt x="0" y="46"/>
                    <a:pt x="2" y="39"/>
                    <a:pt x="5" y="33"/>
                  </a:cubicBezTo>
                  <a:cubicBezTo>
                    <a:pt x="7" y="26"/>
                    <a:pt x="11" y="21"/>
                    <a:pt x="16" y="16"/>
                  </a:cubicBezTo>
                  <a:cubicBezTo>
                    <a:pt x="21" y="11"/>
                    <a:pt x="27" y="7"/>
                    <a:pt x="34" y="4"/>
                  </a:cubicBezTo>
                  <a:cubicBezTo>
                    <a:pt x="41" y="1"/>
                    <a:pt x="48" y="0"/>
                    <a:pt x="55" y="0"/>
                  </a:cubicBezTo>
                  <a:cubicBezTo>
                    <a:pt x="62" y="0"/>
                    <a:pt x="68" y="1"/>
                    <a:pt x="74" y="3"/>
                  </a:cubicBezTo>
                  <a:cubicBezTo>
                    <a:pt x="79" y="5"/>
                    <a:pt x="83" y="7"/>
                    <a:pt x="87" y="10"/>
                  </a:cubicBezTo>
                  <a:cubicBezTo>
                    <a:pt x="91" y="12"/>
                    <a:pt x="94" y="15"/>
                    <a:pt x="97" y="19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78" y="33"/>
                    <a:pt x="76" y="31"/>
                    <a:pt x="73" y="30"/>
                  </a:cubicBezTo>
                  <a:cubicBezTo>
                    <a:pt x="71" y="28"/>
                    <a:pt x="69" y="27"/>
                    <a:pt x="66" y="26"/>
                  </a:cubicBezTo>
                  <a:cubicBezTo>
                    <a:pt x="63" y="25"/>
                    <a:pt x="59" y="24"/>
                    <a:pt x="55" y="24"/>
                  </a:cubicBezTo>
                  <a:cubicBezTo>
                    <a:pt x="51" y="24"/>
                    <a:pt x="47" y="25"/>
                    <a:pt x="43" y="27"/>
                  </a:cubicBezTo>
                  <a:cubicBezTo>
                    <a:pt x="40" y="28"/>
                    <a:pt x="37" y="30"/>
                    <a:pt x="34" y="33"/>
                  </a:cubicBezTo>
                  <a:cubicBezTo>
                    <a:pt x="32" y="36"/>
                    <a:pt x="30" y="39"/>
                    <a:pt x="29" y="42"/>
                  </a:cubicBezTo>
                  <a:cubicBezTo>
                    <a:pt x="27" y="46"/>
                    <a:pt x="27" y="50"/>
                    <a:pt x="27" y="54"/>
                  </a:cubicBezTo>
                  <a:cubicBezTo>
                    <a:pt x="27" y="58"/>
                    <a:pt x="27" y="62"/>
                    <a:pt x="29" y="65"/>
                  </a:cubicBezTo>
                  <a:cubicBezTo>
                    <a:pt x="30" y="69"/>
                    <a:pt x="32" y="72"/>
                    <a:pt x="34" y="75"/>
                  </a:cubicBezTo>
                  <a:cubicBezTo>
                    <a:pt x="37" y="77"/>
                    <a:pt x="40" y="80"/>
                    <a:pt x="43" y="81"/>
                  </a:cubicBezTo>
                  <a:cubicBezTo>
                    <a:pt x="47" y="83"/>
                    <a:pt x="51" y="84"/>
                    <a:pt x="55" y="84"/>
                  </a:cubicBezTo>
                  <a:cubicBezTo>
                    <a:pt x="60" y="84"/>
                    <a:pt x="64" y="83"/>
                    <a:pt x="67" y="82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32">
              <a:extLst>
                <a:ext uri="{FF2B5EF4-FFF2-40B4-BE49-F238E27FC236}">
                  <a16:creationId xmlns:a16="http://schemas.microsoft.com/office/drawing/2014/main" id="{C7633EF0-FE39-4612-8A49-19236B552C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1" y="1055688"/>
              <a:ext cx="104775" cy="114300"/>
            </a:xfrm>
            <a:custGeom>
              <a:avLst/>
              <a:gdLst>
                <a:gd name="T0" fmla="*/ 67 w 98"/>
                <a:gd name="T1" fmla="*/ 82 h 108"/>
                <a:gd name="T2" fmla="*/ 75 w 98"/>
                <a:gd name="T3" fmla="*/ 77 h 108"/>
                <a:gd name="T4" fmla="*/ 81 w 98"/>
                <a:gd name="T5" fmla="*/ 71 h 108"/>
                <a:gd name="T6" fmla="*/ 98 w 98"/>
                <a:gd name="T7" fmla="*/ 88 h 108"/>
                <a:gd name="T8" fmla="*/ 87 w 98"/>
                <a:gd name="T9" fmla="*/ 98 h 108"/>
                <a:gd name="T10" fmla="*/ 74 w 98"/>
                <a:gd name="T11" fmla="*/ 105 h 108"/>
                <a:gd name="T12" fmla="*/ 55 w 98"/>
                <a:gd name="T13" fmla="*/ 108 h 108"/>
                <a:gd name="T14" fmla="*/ 34 w 98"/>
                <a:gd name="T15" fmla="*/ 104 h 108"/>
                <a:gd name="T16" fmla="*/ 16 w 98"/>
                <a:gd name="T17" fmla="*/ 92 h 108"/>
                <a:gd name="T18" fmla="*/ 5 w 98"/>
                <a:gd name="T19" fmla="*/ 75 h 108"/>
                <a:gd name="T20" fmla="*/ 0 w 98"/>
                <a:gd name="T21" fmla="*/ 54 h 108"/>
                <a:gd name="T22" fmla="*/ 5 w 98"/>
                <a:gd name="T23" fmla="*/ 33 h 108"/>
                <a:gd name="T24" fmla="*/ 16 w 98"/>
                <a:gd name="T25" fmla="*/ 16 h 108"/>
                <a:gd name="T26" fmla="*/ 34 w 98"/>
                <a:gd name="T27" fmla="*/ 4 h 108"/>
                <a:gd name="T28" fmla="*/ 55 w 98"/>
                <a:gd name="T29" fmla="*/ 0 h 108"/>
                <a:gd name="T30" fmla="*/ 74 w 98"/>
                <a:gd name="T31" fmla="*/ 3 h 108"/>
                <a:gd name="T32" fmla="*/ 87 w 98"/>
                <a:gd name="T33" fmla="*/ 10 h 108"/>
                <a:gd name="T34" fmla="*/ 97 w 98"/>
                <a:gd name="T35" fmla="*/ 19 h 108"/>
                <a:gd name="T36" fmla="*/ 79 w 98"/>
                <a:gd name="T37" fmla="*/ 35 h 108"/>
                <a:gd name="T38" fmla="*/ 73 w 98"/>
                <a:gd name="T39" fmla="*/ 30 h 108"/>
                <a:gd name="T40" fmla="*/ 66 w 98"/>
                <a:gd name="T41" fmla="*/ 26 h 108"/>
                <a:gd name="T42" fmla="*/ 55 w 98"/>
                <a:gd name="T43" fmla="*/ 24 h 108"/>
                <a:gd name="T44" fmla="*/ 44 w 98"/>
                <a:gd name="T45" fmla="*/ 27 h 108"/>
                <a:gd name="T46" fmla="*/ 34 w 98"/>
                <a:gd name="T47" fmla="*/ 33 h 108"/>
                <a:gd name="T48" fmla="*/ 29 w 98"/>
                <a:gd name="T49" fmla="*/ 42 h 108"/>
                <a:gd name="T50" fmla="*/ 27 w 98"/>
                <a:gd name="T51" fmla="*/ 54 h 108"/>
                <a:gd name="T52" fmla="*/ 29 w 98"/>
                <a:gd name="T53" fmla="*/ 65 h 108"/>
                <a:gd name="T54" fmla="*/ 34 w 98"/>
                <a:gd name="T55" fmla="*/ 75 h 108"/>
                <a:gd name="T56" fmla="*/ 44 w 98"/>
                <a:gd name="T57" fmla="*/ 81 h 108"/>
                <a:gd name="T58" fmla="*/ 55 w 98"/>
                <a:gd name="T59" fmla="*/ 84 h 108"/>
                <a:gd name="T60" fmla="*/ 67 w 98"/>
                <a:gd name="T61" fmla="*/ 8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8" h="108">
                  <a:moveTo>
                    <a:pt x="67" y="82"/>
                  </a:moveTo>
                  <a:cubicBezTo>
                    <a:pt x="70" y="80"/>
                    <a:pt x="73" y="79"/>
                    <a:pt x="75" y="77"/>
                  </a:cubicBezTo>
                  <a:cubicBezTo>
                    <a:pt x="77" y="75"/>
                    <a:pt x="79" y="73"/>
                    <a:pt x="81" y="71"/>
                  </a:cubicBezTo>
                  <a:cubicBezTo>
                    <a:pt x="98" y="88"/>
                    <a:pt x="98" y="88"/>
                    <a:pt x="98" y="88"/>
                  </a:cubicBezTo>
                  <a:cubicBezTo>
                    <a:pt x="95" y="92"/>
                    <a:pt x="91" y="95"/>
                    <a:pt x="87" y="98"/>
                  </a:cubicBezTo>
                  <a:cubicBezTo>
                    <a:pt x="83" y="101"/>
                    <a:pt x="79" y="103"/>
                    <a:pt x="74" y="105"/>
                  </a:cubicBezTo>
                  <a:cubicBezTo>
                    <a:pt x="68" y="107"/>
                    <a:pt x="62" y="108"/>
                    <a:pt x="55" y="108"/>
                  </a:cubicBezTo>
                  <a:cubicBezTo>
                    <a:pt x="48" y="108"/>
                    <a:pt x="41" y="106"/>
                    <a:pt x="34" y="104"/>
                  </a:cubicBezTo>
                  <a:cubicBezTo>
                    <a:pt x="27" y="101"/>
                    <a:pt x="21" y="97"/>
                    <a:pt x="16" y="92"/>
                  </a:cubicBezTo>
                  <a:cubicBezTo>
                    <a:pt x="11" y="87"/>
                    <a:pt x="7" y="82"/>
                    <a:pt x="5" y="75"/>
                  </a:cubicBezTo>
                  <a:cubicBezTo>
                    <a:pt x="2" y="69"/>
                    <a:pt x="0" y="61"/>
                    <a:pt x="0" y="54"/>
                  </a:cubicBezTo>
                  <a:cubicBezTo>
                    <a:pt x="0" y="46"/>
                    <a:pt x="2" y="39"/>
                    <a:pt x="5" y="33"/>
                  </a:cubicBezTo>
                  <a:cubicBezTo>
                    <a:pt x="7" y="26"/>
                    <a:pt x="11" y="21"/>
                    <a:pt x="16" y="16"/>
                  </a:cubicBezTo>
                  <a:cubicBezTo>
                    <a:pt x="21" y="11"/>
                    <a:pt x="27" y="7"/>
                    <a:pt x="34" y="4"/>
                  </a:cubicBezTo>
                  <a:cubicBezTo>
                    <a:pt x="41" y="1"/>
                    <a:pt x="48" y="0"/>
                    <a:pt x="55" y="0"/>
                  </a:cubicBezTo>
                  <a:cubicBezTo>
                    <a:pt x="62" y="0"/>
                    <a:pt x="68" y="1"/>
                    <a:pt x="74" y="3"/>
                  </a:cubicBezTo>
                  <a:cubicBezTo>
                    <a:pt x="79" y="5"/>
                    <a:pt x="83" y="7"/>
                    <a:pt x="87" y="10"/>
                  </a:cubicBezTo>
                  <a:cubicBezTo>
                    <a:pt x="91" y="12"/>
                    <a:pt x="94" y="15"/>
                    <a:pt x="97" y="19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78" y="33"/>
                    <a:pt x="76" y="31"/>
                    <a:pt x="73" y="30"/>
                  </a:cubicBezTo>
                  <a:cubicBezTo>
                    <a:pt x="71" y="28"/>
                    <a:pt x="69" y="27"/>
                    <a:pt x="66" y="26"/>
                  </a:cubicBezTo>
                  <a:cubicBezTo>
                    <a:pt x="63" y="25"/>
                    <a:pt x="59" y="24"/>
                    <a:pt x="55" y="24"/>
                  </a:cubicBezTo>
                  <a:cubicBezTo>
                    <a:pt x="51" y="24"/>
                    <a:pt x="47" y="25"/>
                    <a:pt x="44" y="27"/>
                  </a:cubicBezTo>
                  <a:cubicBezTo>
                    <a:pt x="40" y="28"/>
                    <a:pt x="37" y="30"/>
                    <a:pt x="34" y="33"/>
                  </a:cubicBezTo>
                  <a:cubicBezTo>
                    <a:pt x="32" y="36"/>
                    <a:pt x="30" y="39"/>
                    <a:pt x="29" y="42"/>
                  </a:cubicBezTo>
                  <a:cubicBezTo>
                    <a:pt x="27" y="46"/>
                    <a:pt x="27" y="50"/>
                    <a:pt x="27" y="54"/>
                  </a:cubicBezTo>
                  <a:cubicBezTo>
                    <a:pt x="27" y="58"/>
                    <a:pt x="27" y="62"/>
                    <a:pt x="29" y="65"/>
                  </a:cubicBezTo>
                  <a:cubicBezTo>
                    <a:pt x="30" y="69"/>
                    <a:pt x="32" y="72"/>
                    <a:pt x="34" y="75"/>
                  </a:cubicBezTo>
                  <a:cubicBezTo>
                    <a:pt x="37" y="77"/>
                    <a:pt x="40" y="80"/>
                    <a:pt x="44" y="81"/>
                  </a:cubicBezTo>
                  <a:cubicBezTo>
                    <a:pt x="47" y="83"/>
                    <a:pt x="51" y="84"/>
                    <a:pt x="55" y="84"/>
                  </a:cubicBezTo>
                  <a:cubicBezTo>
                    <a:pt x="60" y="84"/>
                    <a:pt x="64" y="83"/>
                    <a:pt x="67" y="82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33">
              <a:extLst>
                <a:ext uri="{FF2B5EF4-FFF2-40B4-BE49-F238E27FC236}">
                  <a16:creationId xmlns:a16="http://schemas.microsoft.com/office/drawing/2014/main" id="{56A23D21-952A-4A1A-A157-96525208000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657726" y="1055688"/>
              <a:ext cx="111125" cy="114300"/>
            </a:xfrm>
            <a:custGeom>
              <a:avLst/>
              <a:gdLst>
                <a:gd name="T0" fmla="*/ 72 w 104"/>
                <a:gd name="T1" fmla="*/ 4 h 108"/>
                <a:gd name="T2" fmla="*/ 88 w 104"/>
                <a:gd name="T3" fmla="*/ 15 h 108"/>
                <a:gd name="T4" fmla="*/ 99 w 104"/>
                <a:gd name="T5" fmla="*/ 32 h 108"/>
                <a:gd name="T6" fmla="*/ 104 w 104"/>
                <a:gd name="T7" fmla="*/ 54 h 108"/>
                <a:gd name="T8" fmla="*/ 104 w 104"/>
                <a:gd name="T9" fmla="*/ 58 h 108"/>
                <a:gd name="T10" fmla="*/ 103 w 104"/>
                <a:gd name="T11" fmla="*/ 63 h 108"/>
                <a:gd name="T12" fmla="*/ 27 w 104"/>
                <a:gd name="T13" fmla="*/ 63 h 108"/>
                <a:gd name="T14" fmla="*/ 30 w 104"/>
                <a:gd name="T15" fmla="*/ 70 h 108"/>
                <a:gd name="T16" fmla="*/ 36 w 104"/>
                <a:gd name="T17" fmla="*/ 77 h 108"/>
                <a:gd name="T18" fmla="*/ 44 w 104"/>
                <a:gd name="T19" fmla="*/ 82 h 108"/>
                <a:gd name="T20" fmla="*/ 56 w 104"/>
                <a:gd name="T21" fmla="*/ 84 h 108"/>
                <a:gd name="T22" fmla="*/ 68 w 104"/>
                <a:gd name="T23" fmla="*/ 82 h 108"/>
                <a:gd name="T24" fmla="*/ 76 w 104"/>
                <a:gd name="T25" fmla="*/ 79 h 108"/>
                <a:gd name="T26" fmla="*/ 84 w 104"/>
                <a:gd name="T27" fmla="*/ 74 h 108"/>
                <a:gd name="T28" fmla="*/ 97 w 104"/>
                <a:gd name="T29" fmla="*/ 93 h 108"/>
                <a:gd name="T30" fmla="*/ 85 w 104"/>
                <a:gd name="T31" fmla="*/ 101 h 108"/>
                <a:gd name="T32" fmla="*/ 73 w 104"/>
                <a:gd name="T33" fmla="*/ 106 h 108"/>
                <a:gd name="T34" fmla="*/ 56 w 104"/>
                <a:gd name="T35" fmla="*/ 108 h 108"/>
                <a:gd name="T36" fmla="*/ 34 w 104"/>
                <a:gd name="T37" fmla="*/ 104 h 108"/>
                <a:gd name="T38" fmla="*/ 16 w 104"/>
                <a:gd name="T39" fmla="*/ 92 h 108"/>
                <a:gd name="T40" fmla="*/ 5 w 104"/>
                <a:gd name="T41" fmla="*/ 75 h 108"/>
                <a:gd name="T42" fmla="*/ 0 w 104"/>
                <a:gd name="T43" fmla="*/ 54 h 108"/>
                <a:gd name="T44" fmla="*/ 4 w 104"/>
                <a:gd name="T45" fmla="*/ 33 h 108"/>
                <a:gd name="T46" fmla="*/ 15 w 104"/>
                <a:gd name="T47" fmla="*/ 16 h 108"/>
                <a:gd name="T48" fmla="*/ 31 w 104"/>
                <a:gd name="T49" fmla="*/ 4 h 108"/>
                <a:gd name="T50" fmla="*/ 52 w 104"/>
                <a:gd name="T51" fmla="*/ 0 h 108"/>
                <a:gd name="T52" fmla="*/ 72 w 104"/>
                <a:gd name="T53" fmla="*/ 4 h 108"/>
                <a:gd name="T54" fmla="*/ 78 w 104"/>
                <a:gd name="T55" fmla="*/ 44 h 108"/>
                <a:gd name="T56" fmla="*/ 76 w 104"/>
                <a:gd name="T57" fmla="*/ 38 h 108"/>
                <a:gd name="T58" fmla="*/ 71 w 104"/>
                <a:gd name="T59" fmla="*/ 31 h 108"/>
                <a:gd name="T60" fmla="*/ 63 w 104"/>
                <a:gd name="T61" fmla="*/ 26 h 108"/>
                <a:gd name="T62" fmla="*/ 52 w 104"/>
                <a:gd name="T63" fmla="*/ 24 h 108"/>
                <a:gd name="T64" fmla="*/ 41 w 104"/>
                <a:gd name="T65" fmla="*/ 26 h 108"/>
                <a:gd name="T66" fmla="*/ 33 w 104"/>
                <a:gd name="T67" fmla="*/ 31 h 108"/>
                <a:gd name="T68" fmla="*/ 29 w 104"/>
                <a:gd name="T69" fmla="*/ 37 h 108"/>
                <a:gd name="T70" fmla="*/ 27 w 104"/>
                <a:gd name="T71" fmla="*/ 44 h 108"/>
                <a:gd name="T72" fmla="*/ 78 w 104"/>
                <a:gd name="T73" fmla="*/ 4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4" h="108">
                  <a:moveTo>
                    <a:pt x="72" y="4"/>
                  </a:moveTo>
                  <a:cubicBezTo>
                    <a:pt x="78" y="7"/>
                    <a:pt x="84" y="10"/>
                    <a:pt x="88" y="15"/>
                  </a:cubicBezTo>
                  <a:cubicBezTo>
                    <a:pt x="93" y="20"/>
                    <a:pt x="97" y="25"/>
                    <a:pt x="99" y="32"/>
                  </a:cubicBezTo>
                  <a:cubicBezTo>
                    <a:pt x="102" y="38"/>
                    <a:pt x="104" y="46"/>
                    <a:pt x="104" y="54"/>
                  </a:cubicBezTo>
                  <a:cubicBezTo>
                    <a:pt x="104" y="55"/>
                    <a:pt x="104" y="56"/>
                    <a:pt x="104" y="58"/>
                  </a:cubicBezTo>
                  <a:cubicBezTo>
                    <a:pt x="104" y="59"/>
                    <a:pt x="104" y="61"/>
                    <a:pt x="103" y="63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7" y="66"/>
                    <a:pt x="28" y="68"/>
                    <a:pt x="30" y="70"/>
                  </a:cubicBezTo>
                  <a:cubicBezTo>
                    <a:pt x="31" y="73"/>
                    <a:pt x="33" y="75"/>
                    <a:pt x="36" y="77"/>
                  </a:cubicBezTo>
                  <a:cubicBezTo>
                    <a:pt x="38" y="79"/>
                    <a:pt x="41" y="81"/>
                    <a:pt x="44" y="82"/>
                  </a:cubicBezTo>
                  <a:cubicBezTo>
                    <a:pt x="48" y="83"/>
                    <a:pt x="51" y="84"/>
                    <a:pt x="56" y="84"/>
                  </a:cubicBezTo>
                  <a:cubicBezTo>
                    <a:pt x="60" y="84"/>
                    <a:pt x="64" y="84"/>
                    <a:pt x="68" y="82"/>
                  </a:cubicBezTo>
                  <a:cubicBezTo>
                    <a:pt x="71" y="81"/>
                    <a:pt x="74" y="80"/>
                    <a:pt x="76" y="79"/>
                  </a:cubicBezTo>
                  <a:cubicBezTo>
                    <a:pt x="79" y="77"/>
                    <a:pt x="82" y="76"/>
                    <a:pt x="84" y="74"/>
                  </a:cubicBezTo>
                  <a:cubicBezTo>
                    <a:pt x="97" y="93"/>
                    <a:pt x="97" y="93"/>
                    <a:pt x="97" y="93"/>
                  </a:cubicBezTo>
                  <a:cubicBezTo>
                    <a:pt x="93" y="96"/>
                    <a:pt x="90" y="98"/>
                    <a:pt x="85" y="101"/>
                  </a:cubicBezTo>
                  <a:cubicBezTo>
                    <a:pt x="82" y="102"/>
                    <a:pt x="77" y="104"/>
                    <a:pt x="73" y="106"/>
                  </a:cubicBezTo>
                  <a:cubicBezTo>
                    <a:pt x="68" y="107"/>
                    <a:pt x="62" y="108"/>
                    <a:pt x="56" y="108"/>
                  </a:cubicBezTo>
                  <a:cubicBezTo>
                    <a:pt x="48" y="108"/>
                    <a:pt x="40" y="106"/>
                    <a:pt x="34" y="104"/>
                  </a:cubicBezTo>
                  <a:cubicBezTo>
                    <a:pt x="27" y="101"/>
                    <a:pt x="21" y="97"/>
                    <a:pt x="16" y="92"/>
                  </a:cubicBezTo>
                  <a:cubicBezTo>
                    <a:pt x="11" y="87"/>
                    <a:pt x="7" y="82"/>
                    <a:pt x="5" y="75"/>
                  </a:cubicBezTo>
                  <a:cubicBezTo>
                    <a:pt x="2" y="69"/>
                    <a:pt x="0" y="61"/>
                    <a:pt x="0" y="54"/>
                  </a:cubicBezTo>
                  <a:cubicBezTo>
                    <a:pt x="0" y="46"/>
                    <a:pt x="2" y="39"/>
                    <a:pt x="4" y="33"/>
                  </a:cubicBezTo>
                  <a:cubicBezTo>
                    <a:pt x="7" y="26"/>
                    <a:pt x="10" y="21"/>
                    <a:pt x="15" y="16"/>
                  </a:cubicBezTo>
                  <a:cubicBezTo>
                    <a:pt x="19" y="11"/>
                    <a:pt x="25" y="7"/>
                    <a:pt x="31" y="4"/>
                  </a:cubicBezTo>
                  <a:cubicBezTo>
                    <a:pt x="38" y="1"/>
                    <a:pt x="44" y="0"/>
                    <a:pt x="52" y="0"/>
                  </a:cubicBezTo>
                  <a:cubicBezTo>
                    <a:pt x="59" y="0"/>
                    <a:pt x="66" y="1"/>
                    <a:pt x="72" y="4"/>
                  </a:cubicBezTo>
                  <a:close/>
                  <a:moveTo>
                    <a:pt x="78" y="44"/>
                  </a:moveTo>
                  <a:cubicBezTo>
                    <a:pt x="77" y="42"/>
                    <a:pt x="77" y="40"/>
                    <a:pt x="76" y="38"/>
                  </a:cubicBezTo>
                  <a:cubicBezTo>
                    <a:pt x="75" y="35"/>
                    <a:pt x="73" y="33"/>
                    <a:pt x="71" y="31"/>
                  </a:cubicBezTo>
                  <a:cubicBezTo>
                    <a:pt x="69" y="29"/>
                    <a:pt x="66" y="27"/>
                    <a:pt x="63" y="26"/>
                  </a:cubicBezTo>
                  <a:cubicBezTo>
                    <a:pt x="60" y="24"/>
                    <a:pt x="56" y="24"/>
                    <a:pt x="52" y="24"/>
                  </a:cubicBezTo>
                  <a:cubicBezTo>
                    <a:pt x="48" y="24"/>
                    <a:pt x="44" y="24"/>
                    <a:pt x="41" y="26"/>
                  </a:cubicBezTo>
                  <a:cubicBezTo>
                    <a:pt x="38" y="27"/>
                    <a:pt x="35" y="29"/>
                    <a:pt x="33" y="31"/>
                  </a:cubicBezTo>
                  <a:cubicBezTo>
                    <a:pt x="31" y="33"/>
                    <a:pt x="30" y="35"/>
                    <a:pt x="29" y="37"/>
                  </a:cubicBezTo>
                  <a:cubicBezTo>
                    <a:pt x="28" y="40"/>
                    <a:pt x="27" y="42"/>
                    <a:pt x="27" y="44"/>
                  </a:cubicBezTo>
                  <a:lnTo>
                    <a:pt x="78" y="44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Freeform 34">
              <a:extLst>
                <a:ext uri="{FF2B5EF4-FFF2-40B4-BE49-F238E27FC236}">
                  <a16:creationId xmlns:a16="http://schemas.microsoft.com/office/drawing/2014/main" id="{CA19857A-A213-4A64-B52F-74AA41539F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1076" y="1055688"/>
              <a:ext cx="96838" cy="114300"/>
            </a:xfrm>
            <a:custGeom>
              <a:avLst/>
              <a:gdLst>
                <a:gd name="T0" fmla="*/ 15 w 91"/>
                <a:gd name="T1" fmla="*/ 70 h 108"/>
                <a:gd name="T2" fmla="*/ 24 w 91"/>
                <a:gd name="T3" fmla="*/ 78 h 108"/>
                <a:gd name="T4" fmla="*/ 33 w 91"/>
                <a:gd name="T5" fmla="*/ 83 h 108"/>
                <a:gd name="T6" fmla="*/ 46 w 91"/>
                <a:gd name="T7" fmla="*/ 85 h 108"/>
                <a:gd name="T8" fmla="*/ 59 w 91"/>
                <a:gd name="T9" fmla="*/ 83 h 108"/>
                <a:gd name="T10" fmla="*/ 65 w 91"/>
                <a:gd name="T11" fmla="*/ 76 h 108"/>
                <a:gd name="T12" fmla="*/ 61 w 91"/>
                <a:gd name="T13" fmla="*/ 69 h 108"/>
                <a:gd name="T14" fmla="*/ 45 w 91"/>
                <a:gd name="T15" fmla="*/ 65 h 108"/>
                <a:gd name="T16" fmla="*/ 30 w 91"/>
                <a:gd name="T17" fmla="*/ 60 h 108"/>
                <a:gd name="T18" fmla="*/ 18 w 91"/>
                <a:gd name="T19" fmla="*/ 54 h 108"/>
                <a:gd name="T20" fmla="*/ 10 w 91"/>
                <a:gd name="T21" fmla="*/ 45 h 108"/>
                <a:gd name="T22" fmla="*/ 7 w 91"/>
                <a:gd name="T23" fmla="*/ 32 h 108"/>
                <a:gd name="T24" fmla="*/ 10 w 91"/>
                <a:gd name="T25" fmla="*/ 20 h 108"/>
                <a:gd name="T26" fmla="*/ 18 w 91"/>
                <a:gd name="T27" fmla="*/ 10 h 108"/>
                <a:gd name="T28" fmla="*/ 32 w 91"/>
                <a:gd name="T29" fmla="*/ 3 h 108"/>
                <a:gd name="T30" fmla="*/ 51 w 91"/>
                <a:gd name="T31" fmla="*/ 0 h 108"/>
                <a:gd name="T32" fmla="*/ 67 w 91"/>
                <a:gd name="T33" fmla="*/ 2 h 108"/>
                <a:gd name="T34" fmla="*/ 79 w 91"/>
                <a:gd name="T35" fmla="*/ 6 h 108"/>
                <a:gd name="T36" fmla="*/ 89 w 91"/>
                <a:gd name="T37" fmla="*/ 13 h 108"/>
                <a:gd name="T38" fmla="*/ 76 w 91"/>
                <a:gd name="T39" fmla="*/ 32 h 108"/>
                <a:gd name="T40" fmla="*/ 69 w 91"/>
                <a:gd name="T41" fmla="*/ 27 h 108"/>
                <a:gd name="T42" fmla="*/ 61 w 91"/>
                <a:gd name="T43" fmla="*/ 24 h 108"/>
                <a:gd name="T44" fmla="*/ 51 w 91"/>
                <a:gd name="T45" fmla="*/ 23 h 108"/>
                <a:gd name="T46" fmla="*/ 38 w 91"/>
                <a:gd name="T47" fmla="*/ 25 h 108"/>
                <a:gd name="T48" fmla="*/ 32 w 91"/>
                <a:gd name="T49" fmla="*/ 33 h 108"/>
                <a:gd name="T50" fmla="*/ 38 w 91"/>
                <a:gd name="T51" fmla="*/ 39 h 108"/>
                <a:gd name="T52" fmla="*/ 56 w 91"/>
                <a:gd name="T53" fmla="*/ 44 h 108"/>
                <a:gd name="T54" fmla="*/ 70 w 91"/>
                <a:gd name="T55" fmla="*/ 48 h 108"/>
                <a:gd name="T56" fmla="*/ 81 w 91"/>
                <a:gd name="T57" fmla="*/ 54 h 108"/>
                <a:gd name="T58" fmla="*/ 89 w 91"/>
                <a:gd name="T59" fmla="*/ 63 h 108"/>
                <a:gd name="T60" fmla="*/ 91 w 91"/>
                <a:gd name="T61" fmla="*/ 76 h 108"/>
                <a:gd name="T62" fmla="*/ 88 w 91"/>
                <a:gd name="T63" fmla="*/ 89 h 108"/>
                <a:gd name="T64" fmla="*/ 79 w 91"/>
                <a:gd name="T65" fmla="*/ 99 h 108"/>
                <a:gd name="T66" fmla="*/ 64 w 91"/>
                <a:gd name="T67" fmla="*/ 105 h 108"/>
                <a:gd name="T68" fmla="*/ 46 w 91"/>
                <a:gd name="T69" fmla="*/ 108 h 108"/>
                <a:gd name="T70" fmla="*/ 27 w 91"/>
                <a:gd name="T71" fmla="*/ 105 h 108"/>
                <a:gd name="T72" fmla="*/ 12 w 91"/>
                <a:gd name="T73" fmla="*/ 99 h 108"/>
                <a:gd name="T74" fmla="*/ 0 w 91"/>
                <a:gd name="T75" fmla="*/ 89 h 108"/>
                <a:gd name="T76" fmla="*/ 15 w 91"/>
                <a:gd name="T77" fmla="*/ 7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1" h="108">
                  <a:moveTo>
                    <a:pt x="15" y="70"/>
                  </a:moveTo>
                  <a:cubicBezTo>
                    <a:pt x="17" y="73"/>
                    <a:pt x="20" y="76"/>
                    <a:pt x="24" y="78"/>
                  </a:cubicBezTo>
                  <a:cubicBezTo>
                    <a:pt x="26" y="80"/>
                    <a:pt x="30" y="81"/>
                    <a:pt x="33" y="83"/>
                  </a:cubicBezTo>
                  <a:cubicBezTo>
                    <a:pt x="37" y="84"/>
                    <a:pt x="41" y="85"/>
                    <a:pt x="46" y="85"/>
                  </a:cubicBezTo>
                  <a:cubicBezTo>
                    <a:pt x="51" y="85"/>
                    <a:pt x="56" y="84"/>
                    <a:pt x="59" y="83"/>
                  </a:cubicBezTo>
                  <a:cubicBezTo>
                    <a:pt x="63" y="81"/>
                    <a:pt x="65" y="79"/>
                    <a:pt x="65" y="76"/>
                  </a:cubicBezTo>
                  <a:cubicBezTo>
                    <a:pt x="65" y="73"/>
                    <a:pt x="64" y="70"/>
                    <a:pt x="61" y="69"/>
                  </a:cubicBezTo>
                  <a:cubicBezTo>
                    <a:pt x="58" y="68"/>
                    <a:pt x="53" y="66"/>
                    <a:pt x="45" y="65"/>
                  </a:cubicBezTo>
                  <a:cubicBezTo>
                    <a:pt x="40" y="63"/>
                    <a:pt x="35" y="62"/>
                    <a:pt x="30" y="60"/>
                  </a:cubicBezTo>
                  <a:cubicBezTo>
                    <a:pt x="26" y="59"/>
                    <a:pt x="22" y="57"/>
                    <a:pt x="18" y="54"/>
                  </a:cubicBezTo>
                  <a:cubicBezTo>
                    <a:pt x="15" y="51"/>
                    <a:pt x="12" y="48"/>
                    <a:pt x="10" y="45"/>
                  </a:cubicBezTo>
                  <a:cubicBezTo>
                    <a:pt x="8" y="41"/>
                    <a:pt x="7" y="37"/>
                    <a:pt x="7" y="32"/>
                  </a:cubicBezTo>
                  <a:cubicBezTo>
                    <a:pt x="7" y="28"/>
                    <a:pt x="8" y="24"/>
                    <a:pt x="10" y="20"/>
                  </a:cubicBezTo>
                  <a:cubicBezTo>
                    <a:pt x="11" y="16"/>
                    <a:pt x="14" y="13"/>
                    <a:pt x="18" y="10"/>
                  </a:cubicBezTo>
                  <a:cubicBezTo>
                    <a:pt x="22" y="7"/>
                    <a:pt x="26" y="5"/>
                    <a:pt x="32" y="3"/>
                  </a:cubicBezTo>
                  <a:cubicBezTo>
                    <a:pt x="37" y="1"/>
                    <a:pt x="44" y="0"/>
                    <a:pt x="51" y="0"/>
                  </a:cubicBezTo>
                  <a:cubicBezTo>
                    <a:pt x="57" y="0"/>
                    <a:pt x="62" y="1"/>
                    <a:pt x="67" y="2"/>
                  </a:cubicBezTo>
                  <a:cubicBezTo>
                    <a:pt x="71" y="3"/>
                    <a:pt x="75" y="5"/>
                    <a:pt x="79" y="6"/>
                  </a:cubicBezTo>
                  <a:cubicBezTo>
                    <a:pt x="83" y="8"/>
                    <a:pt x="86" y="10"/>
                    <a:pt x="89" y="13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74" y="30"/>
                    <a:pt x="72" y="29"/>
                    <a:pt x="69" y="27"/>
                  </a:cubicBezTo>
                  <a:cubicBezTo>
                    <a:pt x="66" y="26"/>
                    <a:pt x="64" y="25"/>
                    <a:pt x="61" y="24"/>
                  </a:cubicBezTo>
                  <a:cubicBezTo>
                    <a:pt x="58" y="23"/>
                    <a:pt x="54" y="23"/>
                    <a:pt x="51" y="23"/>
                  </a:cubicBezTo>
                  <a:cubicBezTo>
                    <a:pt x="46" y="23"/>
                    <a:pt x="42" y="24"/>
                    <a:pt x="38" y="25"/>
                  </a:cubicBezTo>
                  <a:cubicBezTo>
                    <a:pt x="34" y="27"/>
                    <a:pt x="32" y="29"/>
                    <a:pt x="32" y="33"/>
                  </a:cubicBezTo>
                  <a:cubicBezTo>
                    <a:pt x="32" y="36"/>
                    <a:pt x="34" y="38"/>
                    <a:pt x="38" y="39"/>
                  </a:cubicBezTo>
                  <a:cubicBezTo>
                    <a:pt x="42" y="41"/>
                    <a:pt x="48" y="42"/>
                    <a:pt x="56" y="44"/>
                  </a:cubicBezTo>
                  <a:cubicBezTo>
                    <a:pt x="61" y="45"/>
                    <a:pt x="66" y="46"/>
                    <a:pt x="70" y="48"/>
                  </a:cubicBezTo>
                  <a:cubicBezTo>
                    <a:pt x="75" y="49"/>
                    <a:pt x="78" y="51"/>
                    <a:pt x="81" y="54"/>
                  </a:cubicBezTo>
                  <a:cubicBezTo>
                    <a:pt x="85" y="56"/>
                    <a:pt x="87" y="59"/>
                    <a:pt x="89" y="63"/>
                  </a:cubicBezTo>
                  <a:cubicBezTo>
                    <a:pt x="90" y="66"/>
                    <a:pt x="91" y="71"/>
                    <a:pt x="91" y="76"/>
                  </a:cubicBezTo>
                  <a:cubicBezTo>
                    <a:pt x="91" y="81"/>
                    <a:pt x="90" y="85"/>
                    <a:pt x="88" y="89"/>
                  </a:cubicBezTo>
                  <a:cubicBezTo>
                    <a:pt x="86" y="93"/>
                    <a:pt x="83" y="96"/>
                    <a:pt x="79" y="99"/>
                  </a:cubicBezTo>
                  <a:cubicBezTo>
                    <a:pt x="75" y="101"/>
                    <a:pt x="70" y="104"/>
                    <a:pt x="64" y="105"/>
                  </a:cubicBezTo>
                  <a:cubicBezTo>
                    <a:pt x="59" y="107"/>
                    <a:pt x="53" y="108"/>
                    <a:pt x="46" y="108"/>
                  </a:cubicBezTo>
                  <a:cubicBezTo>
                    <a:pt x="39" y="108"/>
                    <a:pt x="32" y="107"/>
                    <a:pt x="27" y="105"/>
                  </a:cubicBezTo>
                  <a:cubicBezTo>
                    <a:pt x="21" y="103"/>
                    <a:pt x="16" y="101"/>
                    <a:pt x="12" y="99"/>
                  </a:cubicBezTo>
                  <a:cubicBezTo>
                    <a:pt x="7" y="96"/>
                    <a:pt x="3" y="93"/>
                    <a:pt x="0" y="89"/>
                  </a:cubicBezTo>
                  <a:lnTo>
                    <a:pt x="15" y="70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Freeform 35">
              <a:extLst>
                <a:ext uri="{FF2B5EF4-FFF2-40B4-BE49-F238E27FC236}">
                  <a16:creationId xmlns:a16="http://schemas.microsoft.com/office/drawing/2014/main" id="{518C9716-235D-46E0-A70C-E68E93DD62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13313" y="1055688"/>
              <a:ext cx="96838" cy="114300"/>
            </a:xfrm>
            <a:custGeom>
              <a:avLst/>
              <a:gdLst>
                <a:gd name="T0" fmla="*/ 14 w 91"/>
                <a:gd name="T1" fmla="*/ 70 h 108"/>
                <a:gd name="T2" fmla="*/ 23 w 91"/>
                <a:gd name="T3" fmla="*/ 78 h 108"/>
                <a:gd name="T4" fmla="*/ 33 w 91"/>
                <a:gd name="T5" fmla="*/ 83 h 108"/>
                <a:gd name="T6" fmla="*/ 45 w 91"/>
                <a:gd name="T7" fmla="*/ 85 h 108"/>
                <a:gd name="T8" fmla="*/ 59 w 91"/>
                <a:gd name="T9" fmla="*/ 83 h 108"/>
                <a:gd name="T10" fmla="*/ 65 w 91"/>
                <a:gd name="T11" fmla="*/ 76 h 108"/>
                <a:gd name="T12" fmla="*/ 60 w 91"/>
                <a:gd name="T13" fmla="*/ 69 h 108"/>
                <a:gd name="T14" fmla="*/ 44 w 91"/>
                <a:gd name="T15" fmla="*/ 65 h 108"/>
                <a:gd name="T16" fmla="*/ 30 w 91"/>
                <a:gd name="T17" fmla="*/ 60 h 108"/>
                <a:gd name="T18" fmla="*/ 18 w 91"/>
                <a:gd name="T19" fmla="*/ 54 h 108"/>
                <a:gd name="T20" fmla="*/ 9 w 91"/>
                <a:gd name="T21" fmla="*/ 45 h 108"/>
                <a:gd name="T22" fmla="*/ 6 w 91"/>
                <a:gd name="T23" fmla="*/ 32 h 108"/>
                <a:gd name="T24" fmla="*/ 9 w 91"/>
                <a:gd name="T25" fmla="*/ 20 h 108"/>
                <a:gd name="T26" fmla="*/ 18 w 91"/>
                <a:gd name="T27" fmla="*/ 10 h 108"/>
                <a:gd name="T28" fmla="*/ 31 w 91"/>
                <a:gd name="T29" fmla="*/ 3 h 108"/>
                <a:gd name="T30" fmla="*/ 50 w 91"/>
                <a:gd name="T31" fmla="*/ 0 h 108"/>
                <a:gd name="T32" fmla="*/ 66 w 91"/>
                <a:gd name="T33" fmla="*/ 2 h 108"/>
                <a:gd name="T34" fmla="*/ 78 w 91"/>
                <a:gd name="T35" fmla="*/ 6 h 108"/>
                <a:gd name="T36" fmla="*/ 89 w 91"/>
                <a:gd name="T37" fmla="*/ 13 h 108"/>
                <a:gd name="T38" fmla="*/ 76 w 91"/>
                <a:gd name="T39" fmla="*/ 32 h 108"/>
                <a:gd name="T40" fmla="*/ 68 w 91"/>
                <a:gd name="T41" fmla="*/ 27 h 108"/>
                <a:gd name="T42" fmla="*/ 60 w 91"/>
                <a:gd name="T43" fmla="*/ 24 h 108"/>
                <a:gd name="T44" fmla="*/ 50 w 91"/>
                <a:gd name="T45" fmla="*/ 23 h 108"/>
                <a:gd name="T46" fmla="*/ 37 w 91"/>
                <a:gd name="T47" fmla="*/ 25 h 108"/>
                <a:gd name="T48" fmla="*/ 32 w 91"/>
                <a:gd name="T49" fmla="*/ 33 h 108"/>
                <a:gd name="T50" fmla="*/ 37 w 91"/>
                <a:gd name="T51" fmla="*/ 39 h 108"/>
                <a:gd name="T52" fmla="*/ 56 w 91"/>
                <a:gd name="T53" fmla="*/ 44 h 108"/>
                <a:gd name="T54" fmla="*/ 70 w 91"/>
                <a:gd name="T55" fmla="*/ 48 h 108"/>
                <a:gd name="T56" fmla="*/ 81 w 91"/>
                <a:gd name="T57" fmla="*/ 54 h 108"/>
                <a:gd name="T58" fmla="*/ 88 w 91"/>
                <a:gd name="T59" fmla="*/ 63 h 108"/>
                <a:gd name="T60" fmla="*/ 91 w 91"/>
                <a:gd name="T61" fmla="*/ 76 h 108"/>
                <a:gd name="T62" fmla="*/ 87 w 91"/>
                <a:gd name="T63" fmla="*/ 89 h 108"/>
                <a:gd name="T64" fmla="*/ 78 w 91"/>
                <a:gd name="T65" fmla="*/ 99 h 108"/>
                <a:gd name="T66" fmla="*/ 64 w 91"/>
                <a:gd name="T67" fmla="*/ 105 h 108"/>
                <a:gd name="T68" fmla="*/ 46 w 91"/>
                <a:gd name="T69" fmla="*/ 108 h 108"/>
                <a:gd name="T70" fmla="*/ 26 w 91"/>
                <a:gd name="T71" fmla="*/ 105 h 108"/>
                <a:gd name="T72" fmla="*/ 12 w 91"/>
                <a:gd name="T73" fmla="*/ 99 h 108"/>
                <a:gd name="T74" fmla="*/ 0 w 91"/>
                <a:gd name="T75" fmla="*/ 89 h 108"/>
                <a:gd name="T76" fmla="*/ 14 w 91"/>
                <a:gd name="T77" fmla="*/ 7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1" h="108">
                  <a:moveTo>
                    <a:pt x="14" y="70"/>
                  </a:moveTo>
                  <a:cubicBezTo>
                    <a:pt x="17" y="73"/>
                    <a:pt x="20" y="76"/>
                    <a:pt x="23" y="78"/>
                  </a:cubicBezTo>
                  <a:cubicBezTo>
                    <a:pt x="26" y="80"/>
                    <a:pt x="29" y="81"/>
                    <a:pt x="33" y="83"/>
                  </a:cubicBezTo>
                  <a:cubicBezTo>
                    <a:pt x="37" y="84"/>
                    <a:pt x="41" y="85"/>
                    <a:pt x="45" y="85"/>
                  </a:cubicBezTo>
                  <a:cubicBezTo>
                    <a:pt x="50" y="85"/>
                    <a:pt x="55" y="84"/>
                    <a:pt x="59" y="83"/>
                  </a:cubicBezTo>
                  <a:cubicBezTo>
                    <a:pt x="63" y="81"/>
                    <a:pt x="65" y="79"/>
                    <a:pt x="65" y="76"/>
                  </a:cubicBezTo>
                  <a:cubicBezTo>
                    <a:pt x="65" y="73"/>
                    <a:pt x="63" y="70"/>
                    <a:pt x="60" y="69"/>
                  </a:cubicBezTo>
                  <a:cubicBezTo>
                    <a:pt x="57" y="68"/>
                    <a:pt x="52" y="66"/>
                    <a:pt x="44" y="65"/>
                  </a:cubicBezTo>
                  <a:cubicBezTo>
                    <a:pt x="39" y="63"/>
                    <a:pt x="34" y="62"/>
                    <a:pt x="30" y="60"/>
                  </a:cubicBezTo>
                  <a:cubicBezTo>
                    <a:pt x="25" y="59"/>
                    <a:pt x="21" y="57"/>
                    <a:pt x="18" y="54"/>
                  </a:cubicBezTo>
                  <a:cubicBezTo>
                    <a:pt x="14" y="51"/>
                    <a:pt x="11" y="48"/>
                    <a:pt x="9" y="45"/>
                  </a:cubicBezTo>
                  <a:cubicBezTo>
                    <a:pt x="7" y="41"/>
                    <a:pt x="6" y="37"/>
                    <a:pt x="6" y="32"/>
                  </a:cubicBezTo>
                  <a:cubicBezTo>
                    <a:pt x="6" y="28"/>
                    <a:pt x="7" y="24"/>
                    <a:pt x="9" y="20"/>
                  </a:cubicBezTo>
                  <a:cubicBezTo>
                    <a:pt x="11" y="16"/>
                    <a:pt x="14" y="13"/>
                    <a:pt x="18" y="10"/>
                  </a:cubicBezTo>
                  <a:cubicBezTo>
                    <a:pt x="21" y="7"/>
                    <a:pt x="26" y="5"/>
                    <a:pt x="31" y="3"/>
                  </a:cubicBezTo>
                  <a:cubicBezTo>
                    <a:pt x="37" y="1"/>
                    <a:pt x="43" y="0"/>
                    <a:pt x="50" y="0"/>
                  </a:cubicBezTo>
                  <a:cubicBezTo>
                    <a:pt x="56" y="0"/>
                    <a:pt x="62" y="1"/>
                    <a:pt x="66" y="2"/>
                  </a:cubicBezTo>
                  <a:cubicBezTo>
                    <a:pt x="71" y="3"/>
                    <a:pt x="75" y="5"/>
                    <a:pt x="78" y="6"/>
                  </a:cubicBezTo>
                  <a:cubicBezTo>
                    <a:pt x="82" y="8"/>
                    <a:pt x="86" y="10"/>
                    <a:pt x="89" y="13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74" y="30"/>
                    <a:pt x="71" y="29"/>
                    <a:pt x="68" y="27"/>
                  </a:cubicBezTo>
                  <a:cubicBezTo>
                    <a:pt x="66" y="26"/>
                    <a:pt x="63" y="25"/>
                    <a:pt x="60" y="24"/>
                  </a:cubicBezTo>
                  <a:cubicBezTo>
                    <a:pt x="57" y="23"/>
                    <a:pt x="54" y="23"/>
                    <a:pt x="50" y="23"/>
                  </a:cubicBezTo>
                  <a:cubicBezTo>
                    <a:pt x="45" y="23"/>
                    <a:pt x="41" y="24"/>
                    <a:pt x="37" y="25"/>
                  </a:cubicBezTo>
                  <a:cubicBezTo>
                    <a:pt x="34" y="27"/>
                    <a:pt x="32" y="29"/>
                    <a:pt x="32" y="33"/>
                  </a:cubicBezTo>
                  <a:cubicBezTo>
                    <a:pt x="32" y="36"/>
                    <a:pt x="34" y="38"/>
                    <a:pt x="37" y="39"/>
                  </a:cubicBezTo>
                  <a:cubicBezTo>
                    <a:pt x="41" y="41"/>
                    <a:pt x="47" y="42"/>
                    <a:pt x="56" y="44"/>
                  </a:cubicBezTo>
                  <a:cubicBezTo>
                    <a:pt x="61" y="45"/>
                    <a:pt x="66" y="46"/>
                    <a:pt x="70" y="48"/>
                  </a:cubicBezTo>
                  <a:cubicBezTo>
                    <a:pt x="74" y="49"/>
                    <a:pt x="78" y="51"/>
                    <a:pt x="81" y="54"/>
                  </a:cubicBezTo>
                  <a:cubicBezTo>
                    <a:pt x="84" y="56"/>
                    <a:pt x="86" y="59"/>
                    <a:pt x="88" y="63"/>
                  </a:cubicBezTo>
                  <a:cubicBezTo>
                    <a:pt x="90" y="66"/>
                    <a:pt x="91" y="71"/>
                    <a:pt x="91" y="76"/>
                  </a:cubicBezTo>
                  <a:cubicBezTo>
                    <a:pt x="91" y="81"/>
                    <a:pt x="90" y="85"/>
                    <a:pt x="87" y="89"/>
                  </a:cubicBezTo>
                  <a:cubicBezTo>
                    <a:pt x="85" y="93"/>
                    <a:pt x="82" y="96"/>
                    <a:pt x="78" y="99"/>
                  </a:cubicBezTo>
                  <a:cubicBezTo>
                    <a:pt x="74" y="101"/>
                    <a:pt x="69" y="104"/>
                    <a:pt x="64" y="105"/>
                  </a:cubicBezTo>
                  <a:cubicBezTo>
                    <a:pt x="58" y="107"/>
                    <a:pt x="52" y="108"/>
                    <a:pt x="46" y="108"/>
                  </a:cubicBezTo>
                  <a:cubicBezTo>
                    <a:pt x="38" y="108"/>
                    <a:pt x="32" y="107"/>
                    <a:pt x="26" y="105"/>
                  </a:cubicBezTo>
                  <a:cubicBezTo>
                    <a:pt x="20" y="103"/>
                    <a:pt x="15" y="101"/>
                    <a:pt x="12" y="99"/>
                  </a:cubicBezTo>
                  <a:cubicBezTo>
                    <a:pt x="7" y="96"/>
                    <a:pt x="3" y="93"/>
                    <a:pt x="0" y="89"/>
                  </a:cubicBezTo>
                  <a:lnTo>
                    <a:pt x="14" y="70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Freeform 36">
              <a:extLst>
                <a:ext uri="{FF2B5EF4-FFF2-40B4-BE49-F238E27FC236}">
                  <a16:creationId xmlns:a16="http://schemas.microsoft.com/office/drawing/2014/main" id="{FA4DAB51-C7DA-483D-BDF7-F3103C8509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94288" y="1025525"/>
              <a:ext cx="85725" cy="144463"/>
            </a:xfrm>
            <a:custGeom>
              <a:avLst/>
              <a:gdLst>
                <a:gd name="T0" fmla="*/ 0 w 80"/>
                <a:gd name="T1" fmla="*/ 31 h 136"/>
                <a:gd name="T2" fmla="*/ 20 w 80"/>
                <a:gd name="T3" fmla="*/ 31 h 136"/>
                <a:gd name="T4" fmla="*/ 20 w 80"/>
                <a:gd name="T5" fmla="*/ 0 h 136"/>
                <a:gd name="T6" fmla="*/ 46 w 80"/>
                <a:gd name="T7" fmla="*/ 0 h 136"/>
                <a:gd name="T8" fmla="*/ 46 w 80"/>
                <a:gd name="T9" fmla="*/ 31 h 136"/>
                <a:gd name="T10" fmla="*/ 77 w 80"/>
                <a:gd name="T11" fmla="*/ 31 h 136"/>
                <a:gd name="T12" fmla="*/ 77 w 80"/>
                <a:gd name="T13" fmla="*/ 54 h 136"/>
                <a:gd name="T14" fmla="*/ 46 w 80"/>
                <a:gd name="T15" fmla="*/ 54 h 136"/>
                <a:gd name="T16" fmla="*/ 46 w 80"/>
                <a:gd name="T17" fmla="*/ 95 h 136"/>
                <a:gd name="T18" fmla="*/ 50 w 80"/>
                <a:gd name="T19" fmla="*/ 108 h 136"/>
                <a:gd name="T20" fmla="*/ 59 w 80"/>
                <a:gd name="T21" fmla="*/ 112 h 136"/>
                <a:gd name="T22" fmla="*/ 64 w 80"/>
                <a:gd name="T23" fmla="*/ 111 h 136"/>
                <a:gd name="T24" fmla="*/ 67 w 80"/>
                <a:gd name="T25" fmla="*/ 110 h 136"/>
                <a:gd name="T26" fmla="*/ 70 w 80"/>
                <a:gd name="T27" fmla="*/ 108 h 136"/>
                <a:gd name="T28" fmla="*/ 80 w 80"/>
                <a:gd name="T29" fmla="*/ 129 h 136"/>
                <a:gd name="T30" fmla="*/ 73 w 80"/>
                <a:gd name="T31" fmla="*/ 132 h 136"/>
                <a:gd name="T32" fmla="*/ 65 w 80"/>
                <a:gd name="T33" fmla="*/ 135 h 136"/>
                <a:gd name="T34" fmla="*/ 55 w 80"/>
                <a:gd name="T35" fmla="*/ 136 h 136"/>
                <a:gd name="T36" fmla="*/ 41 w 80"/>
                <a:gd name="T37" fmla="*/ 133 h 136"/>
                <a:gd name="T38" fmla="*/ 30 w 80"/>
                <a:gd name="T39" fmla="*/ 126 h 136"/>
                <a:gd name="T40" fmla="*/ 23 w 80"/>
                <a:gd name="T41" fmla="*/ 114 h 136"/>
                <a:gd name="T42" fmla="*/ 20 w 80"/>
                <a:gd name="T43" fmla="*/ 100 h 136"/>
                <a:gd name="T44" fmla="*/ 20 w 80"/>
                <a:gd name="T45" fmla="*/ 54 h 136"/>
                <a:gd name="T46" fmla="*/ 0 w 80"/>
                <a:gd name="T47" fmla="*/ 54 h 136"/>
                <a:gd name="T48" fmla="*/ 0 w 80"/>
                <a:gd name="T49" fmla="*/ 31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0" h="136">
                  <a:moveTo>
                    <a:pt x="0" y="31"/>
                  </a:moveTo>
                  <a:cubicBezTo>
                    <a:pt x="20" y="31"/>
                    <a:pt x="20" y="31"/>
                    <a:pt x="20" y="31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77" y="31"/>
                    <a:pt x="77" y="31"/>
                    <a:pt x="77" y="31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46" y="54"/>
                    <a:pt x="46" y="54"/>
                    <a:pt x="46" y="54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6" y="102"/>
                    <a:pt x="47" y="106"/>
                    <a:pt x="50" y="108"/>
                  </a:cubicBezTo>
                  <a:cubicBezTo>
                    <a:pt x="53" y="110"/>
                    <a:pt x="56" y="112"/>
                    <a:pt x="59" y="112"/>
                  </a:cubicBezTo>
                  <a:cubicBezTo>
                    <a:pt x="61" y="112"/>
                    <a:pt x="62" y="111"/>
                    <a:pt x="64" y="111"/>
                  </a:cubicBezTo>
                  <a:cubicBezTo>
                    <a:pt x="65" y="111"/>
                    <a:pt x="66" y="110"/>
                    <a:pt x="67" y="110"/>
                  </a:cubicBezTo>
                  <a:cubicBezTo>
                    <a:pt x="68" y="109"/>
                    <a:pt x="69" y="109"/>
                    <a:pt x="70" y="108"/>
                  </a:cubicBezTo>
                  <a:cubicBezTo>
                    <a:pt x="80" y="129"/>
                    <a:pt x="80" y="129"/>
                    <a:pt x="80" y="129"/>
                  </a:cubicBezTo>
                  <a:cubicBezTo>
                    <a:pt x="78" y="130"/>
                    <a:pt x="76" y="132"/>
                    <a:pt x="73" y="132"/>
                  </a:cubicBezTo>
                  <a:cubicBezTo>
                    <a:pt x="71" y="133"/>
                    <a:pt x="68" y="134"/>
                    <a:pt x="65" y="135"/>
                  </a:cubicBezTo>
                  <a:cubicBezTo>
                    <a:pt x="62" y="136"/>
                    <a:pt x="59" y="136"/>
                    <a:pt x="55" y="136"/>
                  </a:cubicBezTo>
                  <a:cubicBezTo>
                    <a:pt x="50" y="136"/>
                    <a:pt x="46" y="135"/>
                    <a:pt x="41" y="133"/>
                  </a:cubicBezTo>
                  <a:cubicBezTo>
                    <a:pt x="37" y="132"/>
                    <a:pt x="33" y="129"/>
                    <a:pt x="30" y="126"/>
                  </a:cubicBezTo>
                  <a:cubicBezTo>
                    <a:pt x="27" y="123"/>
                    <a:pt x="24" y="119"/>
                    <a:pt x="23" y="114"/>
                  </a:cubicBezTo>
                  <a:cubicBezTo>
                    <a:pt x="21" y="110"/>
                    <a:pt x="20" y="105"/>
                    <a:pt x="20" y="100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0" y="54"/>
                    <a:pt x="0" y="54"/>
                    <a:pt x="0" y="54"/>
                  </a:cubicBezTo>
                  <a:lnTo>
                    <a:pt x="0" y="31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Freeform 37">
              <a:extLst>
                <a:ext uri="{FF2B5EF4-FFF2-40B4-BE49-F238E27FC236}">
                  <a16:creationId xmlns:a16="http://schemas.microsoft.com/office/drawing/2014/main" id="{58995B45-611D-4FC6-9BF1-9514A767C5B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00651" y="1055688"/>
              <a:ext cx="115888" cy="114300"/>
            </a:xfrm>
            <a:custGeom>
              <a:avLst/>
              <a:gdLst>
                <a:gd name="T0" fmla="*/ 76 w 109"/>
                <a:gd name="T1" fmla="*/ 4 h 108"/>
                <a:gd name="T2" fmla="*/ 93 w 109"/>
                <a:gd name="T3" fmla="*/ 16 h 108"/>
                <a:gd name="T4" fmla="*/ 105 w 109"/>
                <a:gd name="T5" fmla="*/ 33 h 108"/>
                <a:gd name="T6" fmla="*/ 109 w 109"/>
                <a:gd name="T7" fmla="*/ 54 h 108"/>
                <a:gd name="T8" fmla="*/ 105 w 109"/>
                <a:gd name="T9" fmla="*/ 75 h 108"/>
                <a:gd name="T10" fmla="*/ 93 w 109"/>
                <a:gd name="T11" fmla="*/ 92 h 108"/>
                <a:gd name="T12" fmla="*/ 76 w 109"/>
                <a:gd name="T13" fmla="*/ 104 h 108"/>
                <a:gd name="T14" fmla="*/ 55 w 109"/>
                <a:gd name="T15" fmla="*/ 108 h 108"/>
                <a:gd name="T16" fmla="*/ 33 w 109"/>
                <a:gd name="T17" fmla="*/ 104 h 108"/>
                <a:gd name="T18" fmla="*/ 16 w 109"/>
                <a:gd name="T19" fmla="*/ 92 h 108"/>
                <a:gd name="T20" fmla="*/ 4 w 109"/>
                <a:gd name="T21" fmla="*/ 75 h 108"/>
                <a:gd name="T22" fmla="*/ 0 w 109"/>
                <a:gd name="T23" fmla="*/ 54 h 108"/>
                <a:gd name="T24" fmla="*/ 4 w 109"/>
                <a:gd name="T25" fmla="*/ 33 h 108"/>
                <a:gd name="T26" fmla="*/ 16 w 109"/>
                <a:gd name="T27" fmla="*/ 16 h 108"/>
                <a:gd name="T28" fmla="*/ 33 w 109"/>
                <a:gd name="T29" fmla="*/ 4 h 108"/>
                <a:gd name="T30" fmla="*/ 55 w 109"/>
                <a:gd name="T31" fmla="*/ 0 h 108"/>
                <a:gd name="T32" fmla="*/ 76 w 109"/>
                <a:gd name="T33" fmla="*/ 4 h 108"/>
                <a:gd name="T34" fmla="*/ 66 w 109"/>
                <a:gd name="T35" fmla="*/ 81 h 108"/>
                <a:gd name="T36" fmla="*/ 75 w 109"/>
                <a:gd name="T37" fmla="*/ 75 h 108"/>
                <a:gd name="T38" fmla="*/ 81 w 109"/>
                <a:gd name="T39" fmla="*/ 65 h 108"/>
                <a:gd name="T40" fmla="*/ 83 w 109"/>
                <a:gd name="T41" fmla="*/ 54 h 108"/>
                <a:gd name="T42" fmla="*/ 81 w 109"/>
                <a:gd name="T43" fmla="*/ 42 h 108"/>
                <a:gd name="T44" fmla="*/ 75 w 109"/>
                <a:gd name="T45" fmla="*/ 33 h 108"/>
                <a:gd name="T46" fmla="*/ 66 w 109"/>
                <a:gd name="T47" fmla="*/ 27 h 108"/>
                <a:gd name="T48" fmla="*/ 55 w 109"/>
                <a:gd name="T49" fmla="*/ 24 h 108"/>
                <a:gd name="T50" fmla="*/ 43 w 109"/>
                <a:gd name="T51" fmla="*/ 27 h 108"/>
                <a:gd name="T52" fmla="*/ 34 w 109"/>
                <a:gd name="T53" fmla="*/ 33 h 108"/>
                <a:gd name="T54" fmla="*/ 28 w 109"/>
                <a:gd name="T55" fmla="*/ 42 h 108"/>
                <a:gd name="T56" fmla="*/ 26 w 109"/>
                <a:gd name="T57" fmla="*/ 54 h 108"/>
                <a:gd name="T58" fmla="*/ 28 w 109"/>
                <a:gd name="T59" fmla="*/ 65 h 108"/>
                <a:gd name="T60" fmla="*/ 34 w 109"/>
                <a:gd name="T61" fmla="*/ 75 h 108"/>
                <a:gd name="T62" fmla="*/ 43 w 109"/>
                <a:gd name="T63" fmla="*/ 81 h 108"/>
                <a:gd name="T64" fmla="*/ 55 w 109"/>
                <a:gd name="T65" fmla="*/ 84 h 108"/>
                <a:gd name="T66" fmla="*/ 66 w 109"/>
                <a:gd name="T67" fmla="*/ 8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" h="108">
                  <a:moveTo>
                    <a:pt x="76" y="4"/>
                  </a:moveTo>
                  <a:cubicBezTo>
                    <a:pt x="83" y="7"/>
                    <a:pt x="88" y="11"/>
                    <a:pt x="93" y="16"/>
                  </a:cubicBezTo>
                  <a:cubicBezTo>
                    <a:pt x="98" y="21"/>
                    <a:pt x="102" y="26"/>
                    <a:pt x="105" y="33"/>
                  </a:cubicBezTo>
                  <a:cubicBezTo>
                    <a:pt x="108" y="39"/>
                    <a:pt x="109" y="46"/>
                    <a:pt x="109" y="54"/>
                  </a:cubicBezTo>
                  <a:cubicBezTo>
                    <a:pt x="109" y="61"/>
                    <a:pt x="108" y="69"/>
                    <a:pt x="105" y="75"/>
                  </a:cubicBezTo>
                  <a:cubicBezTo>
                    <a:pt x="102" y="82"/>
                    <a:pt x="98" y="87"/>
                    <a:pt x="93" y="92"/>
                  </a:cubicBezTo>
                  <a:cubicBezTo>
                    <a:pt x="88" y="97"/>
                    <a:pt x="83" y="101"/>
                    <a:pt x="76" y="104"/>
                  </a:cubicBezTo>
                  <a:cubicBezTo>
                    <a:pt x="69" y="106"/>
                    <a:pt x="62" y="108"/>
                    <a:pt x="55" y="108"/>
                  </a:cubicBezTo>
                  <a:cubicBezTo>
                    <a:pt x="47" y="108"/>
                    <a:pt x="40" y="106"/>
                    <a:pt x="33" y="104"/>
                  </a:cubicBezTo>
                  <a:cubicBezTo>
                    <a:pt x="26" y="101"/>
                    <a:pt x="21" y="97"/>
                    <a:pt x="16" y="92"/>
                  </a:cubicBezTo>
                  <a:cubicBezTo>
                    <a:pt x="11" y="87"/>
                    <a:pt x="7" y="82"/>
                    <a:pt x="4" y="75"/>
                  </a:cubicBezTo>
                  <a:cubicBezTo>
                    <a:pt x="1" y="69"/>
                    <a:pt x="0" y="61"/>
                    <a:pt x="0" y="54"/>
                  </a:cubicBezTo>
                  <a:cubicBezTo>
                    <a:pt x="0" y="46"/>
                    <a:pt x="1" y="39"/>
                    <a:pt x="4" y="33"/>
                  </a:cubicBezTo>
                  <a:cubicBezTo>
                    <a:pt x="7" y="26"/>
                    <a:pt x="11" y="21"/>
                    <a:pt x="16" y="16"/>
                  </a:cubicBezTo>
                  <a:cubicBezTo>
                    <a:pt x="21" y="11"/>
                    <a:pt x="26" y="7"/>
                    <a:pt x="33" y="4"/>
                  </a:cubicBezTo>
                  <a:cubicBezTo>
                    <a:pt x="40" y="1"/>
                    <a:pt x="47" y="0"/>
                    <a:pt x="55" y="0"/>
                  </a:cubicBezTo>
                  <a:cubicBezTo>
                    <a:pt x="62" y="0"/>
                    <a:pt x="69" y="1"/>
                    <a:pt x="76" y="4"/>
                  </a:cubicBezTo>
                  <a:close/>
                  <a:moveTo>
                    <a:pt x="66" y="81"/>
                  </a:moveTo>
                  <a:cubicBezTo>
                    <a:pt x="70" y="80"/>
                    <a:pt x="73" y="77"/>
                    <a:pt x="75" y="75"/>
                  </a:cubicBezTo>
                  <a:cubicBezTo>
                    <a:pt x="78" y="72"/>
                    <a:pt x="80" y="69"/>
                    <a:pt x="81" y="65"/>
                  </a:cubicBezTo>
                  <a:cubicBezTo>
                    <a:pt x="82" y="62"/>
                    <a:pt x="83" y="58"/>
                    <a:pt x="83" y="54"/>
                  </a:cubicBezTo>
                  <a:cubicBezTo>
                    <a:pt x="83" y="50"/>
                    <a:pt x="82" y="46"/>
                    <a:pt x="81" y="42"/>
                  </a:cubicBezTo>
                  <a:cubicBezTo>
                    <a:pt x="80" y="39"/>
                    <a:pt x="78" y="36"/>
                    <a:pt x="75" y="33"/>
                  </a:cubicBezTo>
                  <a:cubicBezTo>
                    <a:pt x="73" y="30"/>
                    <a:pt x="70" y="28"/>
                    <a:pt x="66" y="27"/>
                  </a:cubicBezTo>
                  <a:cubicBezTo>
                    <a:pt x="63" y="25"/>
                    <a:pt x="59" y="24"/>
                    <a:pt x="55" y="24"/>
                  </a:cubicBezTo>
                  <a:cubicBezTo>
                    <a:pt x="50" y="24"/>
                    <a:pt x="46" y="25"/>
                    <a:pt x="43" y="27"/>
                  </a:cubicBezTo>
                  <a:cubicBezTo>
                    <a:pt x="39" y="28"/>
                    <a:pt x="36" y="30"/>
                    <a:pt x="34" y="33"/>
                  </a:cubicBezTo>
                  <a:cubicBezTo>
                    <a:pt x="31" y="36"/>
                    <a:pt x="29" y="39"/>
                    <a:pt x="28" y="42"/>
                  </a:cubicBezTo>
                  <a:cubicBezTo>
                    <a:pt x="27" y="46"/>
                    <a:pt x="26" y="50"/>
                    <a:pt x="26" y="54"/>
                  </a:cubicBezTo>
                  <a:cubicBezTo>
                    <a:pt x="26" y="58"/>
                    <a:pt x="27" y="62"/>
                    <a:pt x="28" y="65"/>
                  </a:cubicBezTo>
                  <a:cubicBezTo>
                    <a:pt x="29" y="69"/>
                    <a:pt x="31" y="72"/>
                    <a:pt x="34" y="75"/>
                  </a:cubicBezTo>
                  <a:cubicBezTo>
                    <a:pt x="36" y="77"/>
                    <a:pt x="39" y="80"/>
                    <a:pt x="43" y="81"/>
                  </a:cubicBezTo>
                  <a:cubicBezTo>
                    <a:pt x="46" y="83"/>
                    <a:pt x="50" y="84"/>
                    <a:pt x="55" y="84"/>
                  </a:cubicBezTo>
                  <a:cubicBezTo>
                    <a:pt x="59" y="84"/>
                    <a:pt x="63" y="83"/>
                    <a:pt x="66" y="81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Freeform 38">
              <a:extLst>
                <a:ext uri="{FF2B5EF4-FFF2-40B4-BE49-F238E27FC236}">
                  <a16:creationId xmlns:a16="http://schemas.microsoft.com/office/drawing/2014/main" id="{F7C5BF45-0B1F-4E53-8168-1441ED38A9B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81626" y="1006475"/>
              <a:ext cx="153988" cy="160338"/>
            </a:xfrm>
            <a:custGeom>
              <a:avLst/>
              <a:gdLst>
                <a:gd name="T0" fmla="*/ 18 w 97"/>
                <a:gd name="T1" fmla="*/ 101 h 101"/>
                <a:gd name="T2" fmla="*/ 0 w 97"/>
                <a:gd name="T3" fmla="*/ 101 h 101"/>
                <a:gd name="T4" fmla="*/ 40 w 97"/>
                <a:gd name="T5" fmla="*/ 0 h 101"/>
                <a:gd name="T6" fmla="*/ 57 w 97"/>
                <a:gd name="T7" fmla="*/ 0 h 101"/>
                <a:gd name="T8" fmla="*/ 97 w 97"/>
                <a:gd name="T9" fmla="*/ 101 h 101"/>
                <a:gd name="T10" fmla="*/ 79 w 97"/>
                <a:gd name="T11" fmla="*/ 101 h 101"/>
                <a:gd name="T12" fmla="*/ 70 w 97"/>
                <a:gd name="T13" fmla="*/ 77 h 101"/>
                <a:gd name="T14" fmla="*/ 27 w 97"/>
                <a:gd name="T15" fmla="*/ 77 h 101"/>
                <a:gd name="T16" fmla="*/ 18 w 97"/>
                <a:gd name="T17" fmla="*/ 101 h 101"/>
                <a:gd name="T18" fmla="*/ 64 w 97"/>
                <a:gd name="T19" fmla="*/ 62 h 101"/>
                <a:gd name="T20" fmla="*/ 49 w 97"/>
                <a:gd name="T21" fmla="*/ 21 h 101"/>
                <a:gd name="T22" fmla="*/ 33 w 97"/>
                <a:gd name="T23" fmla="*/ 62 h 101"/>
                <a:gd name="T24" fmla="*/ 64 w 97"/>
                <a:gd name="T25" fmla="*/ 62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7" h="101">
                  <a:moveTo>
                    <a:pt x="18" y="101"/>
                  </a:moveTo>
                  <a:lnTo>
                    <a:pt x="0" y="101"/>
                  </a:lnTo>
                  <a:lnTo>
                    <a:pt x="40" y="0"/>
                  </a:lnTo>
                  <a:lnTo>
                    <a:pt x="57" y="0"/>
                  </a:lnTo>
                  <a:lnTo>
                    <a:pt x="97" y="101"/>
                  </a:lnTo>
                  <a:lnTo>
                    <a:pt x="79" y="101"/>
                  </a:lnTo>
                  <a:lnTo>
                    <a:pt x="70" y="77"/>
                  </a:lnTo>
                  <a:lnTo>
                    <a:pt x="27" y="77"/>
                  </a:lnTo>
                  <a:lnTo>
                    <a:pt x="18" y="101"/>
                  </a:lnTo>
                  <a:close/>
                  <a:moveTo>
                    <a:pt x="64" y="62"/>
                  </a:moveTo>
                  <a:lnTo>
                    <a:pt x="49" y="21"/>
                  </a:lnTo>
                  <a:lnTo>
                    <a:pt x="33" y="62"/>
                  </a:lnTo>
                  <a:lnTo>
                    <a:pt x="64" y="62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Freeform 39">
              <a:extLst>
                <a:ext uri="{FF2B5EF4-FFF2-40B4-BE49-F238E27FC236}">
                  <a16:creationId xmlns:a16="http://schemas.microsoft.com/office/drawing/2014/main" id="{767F1B17-5AC2-4C7D-971B-E11790DCC1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59426" y="1058863"/>
              <a:ext cx="100013" cy="111125"/>
            </a:xfrm>
            <a:custGeom>
              <a:avLst/>
              <a:gdLst>
                <a:gd name="T0" fmla="*/ 24 w 93"/>
                <a:gd name="T1" fmla="*/ 102 h 105"/>
                <a:gd name="T2" fmla="*/ 12 w 93"/>
                <a:gd name="T3" fmla="*/ 95 h 105"/>
                <a:gd name="T4" fmla="*/ 3 w 93"/>
                <a:gd name="T5" fmla="*/ 83 h 105"/>
                <a:gd name="T6" fmla="*/ 0 w 93"/>
                <a:gd name="T7" fmla="*/ 66 h 105"/>
                <a:gd name="T8" fmla="*/ 0 w 93"/>
                <a:gd name="T9" fmla="*/ 0 h 105"/>
                <a:gd name="T10" fmla="*/ 26 w 93"/>
                <a:gd name="T11" fmla="*/ 0 h 105"/>
                <a:gd name="T12" fmla="*/ 26 w 93"/>
                <a:gd name="T13" fmla="*/ 59 h 105"/>
                <a:gd name="T14" fmla="*/ 31 w 93"/>
                <a:gd name="T15" fmla="*/ 76 h 105"/>
                <a:gd name="T16" fmla="*/ 47 w 93"/>
                <a:gd name="T17" fmla="*/ 81 h 105"/>
                <a:gd name="T18" fmla="*/ 56 w 93"/>
                <a:gd name="T19" fmla="*/ 79 h 105"/>
                <a:gd name="T20" fmla="*/ 62 w 93"/>
                <a:gd name="T21" fmla="*/ 74 h 105"/>
                <a:gd name="T22" fmla="*/ 67 w 93"/>
                <a:gd name="T23" fmla="*/ 68 h 105"/>
                <a:gd name="T24" fmla="*/ 67 w 93"/>
                <a:gd name="T25" fmla="*/ 0 h 105"/>
                <a:gd name="T26" fmla="*/ 93 w 93"/>
                <a:gd name="T27" fmla="*/ 0 h 105"/>
                <a:gd name="T28" fmla="*/ 93 w 93"/>
                <a:gd name="T29" fmla="*/ 102 h 105"/>
                <a:gd name="T30" fmla="*/ 69 w 93"/>
                <a:gd name="T31" fmla="*/ 102 h 105"/>
                <a:gd name="T32" fmla="*/ 69 w 93"/>
                <a:gd name="T33" fmla="*/ 87 h 105"/>
                <a:gd name="T34" fmla="*/ 61 w 93"/>
                <a:gd name="T35" fmla="*/ 96 h 105"/>
                <a:gd name="T36" fmla="*/ 52 w 93"/>
                <a:gd name="T37" fmla="*/ 102 h 105"/>
                <a:gd name="T38" fmla="*/ 38 w 93"/>
                <a:gd name="T39" fmla="*/ 105 h 105"/>
                <a:gd name="T40" fmla="*/ 24 w 93"/>
                <a:gd name="T41" fmla="*/ 102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" h="105">
                  <a:moveTo>
                    <a:pt x="24" y="102"/>
                  </a:moveTo>
                  <a:cubicBezTo>
                    <a:pt x="19" y="101"/>
                    <a:pt x="15" y="98"/>
                    <a:pt x="12" y="95"/>
                  </a:cubicBezTo>
                  <a:cubicBezTo>
                    <a:pt x="8" y="91"/>
                    <a:pt x="6" y="87"/>
                    <a:pt x="3" y="83"/>
                  </a:cubicBezTo>
                  <a:cubicBezTo>
                    <a:pt x="1" y="78"/>
                    <a:pt x="0" y="72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7"/>
                    <a:pt x="28" y="72"/>
                    <a:pt x="31" y="76"/>
                  </a:cubicBezTo>
                  <a:cubicBezTo>
                    <a:pt x="35" y="79"/>
                    <a:pt x="40" y="81"/>
                    <a:pt x="47" y="81"/>
                  </a:cubicBezTo>
                  <a:cubicBezTo>
                    <a:pt x="50" y="81"/>
                    <a:pt x="53" y="80"/>
                    <a:pt x="56" y="79"/>
                  </a:cubicBezTo>
                  <a:cubicBezTo>
                    <a:pt x="58" y="77"/>
                    <a:pt x="60" y="76"/>
                    <a:pt x="62" y="74"/>
                  </a:cubicBezTo>
                  <a:cubicBezTo>
                    <a:pt x="64" y="72"/>
                    <a:pt x="66" y="70"/>
                    <a:pt x="67" y="68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69" y="102"/>
                    <a:pt x="69" y="102"/>
                    <a:pt x="69" y="102"/>
                  </a:cubicBezTo>
                  <a:cubicBezTo>
                    <a:pt x="69" y="87"/>
                    <a:pt x="69" y="87"/>
                    <a:pt x="69" y="87"/>
                  </a:cubicBezTo>
                  <a:cubicBezTo>
                    <a:pt x="67" y="91"/>
                    <a:pt x="64" y="94"/>
                    <a:pt x="61" y="96"/>
                  </a:cubicBezTo>
                  <a:cubicBezTo>
                    <a:pt x="59" y="98"/>
                    <a:pt x="56" y="100"/>
                    <a:pt x="52" y="102"/>
                  </a:cubicBezTo>
                  <a:cubicBezTo>
                    <a:pt x="48" y="104"/>
                    <a:pt x="43" y="105"/>
                    <a:pt x="38" y="105"/>
                  </a:cubicBezTo>
                  <a:cubicBezTo>
                    <a:pt x="33" y="105"/>
                    <a:pt x="28" y="104"/>
                    <a:pt x="24" y="102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Freeform 40">
              <a:extLst>
                <a:ext uri="{FF2B5EF4-FFF2-40B4-BE49-F238E27FC236}">
                  <a16:creationId xmlns:a16="http://schemas.microsoft.com/office/drawing/2014/main" id="{4763BC45-BB15-4154-B84B-587968F445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89601" y="1055688"/>
              <a:ext cx="98425" cy="114300"/>
            </a:xfrm>
            <a:custGeom>
              <a:avLst/>
              <a:gdLst>
                <a:gd name="T0" fmla="*/ 15 w 92"/>
                <a:gd name="T1" fmla="*/ 70 h 108"/>
                <a:gd name="T2" fmla="*/ 24 w 92"/>
                <a:gd name="T3" fmla="*/ 78 h 108"/>
                <a:gd name="T4" fmla="*/ 34 w 92"/>
                <a:gd name="T5" fmla="*/ 83 h 108"/>
                <a:gd name="T6" fmla="*/ 46 w 92"/>
                <a:gd name="T7" fmla="*/ 85 h 108"/>
                <a:gd name="T8" fmla="*/ 60 w 92"/>
                <a:gd name="T9" fmla="*/ 83 h 108"/>
                <a:gd name="T10" fmla="*/ 65 w 92"/>
                <a:gd name="T11" fmla="*/ 76 h 108"/>
                <a:gd name="T12" fmla="*/ 61 w 92"/>
                <a:gd name="T13" fmla="*/ 69 h 108"/>
                <a:gd name="T14" fmla="*/ 45 w 92"/>
                <a:gd name="T15" fmla="*/ 65 h 108"/>
                <a:gd name="T16" fmla="*/ 30 w 92"/>
                <a:gd name="T17" fmla="*/ 60 h 108"/>
                <a:gd name="T18" fmla="*/ 18 w 92"/>
                <a:gd name="T19" fmla="*/ 54 h 108"/>
                <a:gd name="T20" fmla="*/ 10 w 92"/>
                <a:gd name="T21" fmla="*/ 45 h 108"/>
                <a:gd name="T22" fmla="*/ 7 w 92"/>
                <a:gd name="T23" fmla="*/ 32 h 108"/>
                <a:gd name="T24" fmla="*/ 10 w 92"/>
                <a:gd name="T25" fmla="*/ 20 h 108"/>
                <a:gd name="T26" fmla="*/ 18 w 92"/>
                <a:gd name="T27" fmla="*/ 10 h 108"/>
                <a:gd name="T28" fmla="*/ 32 w 92"/>
                <a:gd name="T29" fmla="*/ 3 h 108"/>
                <a:gd name="T30" fmla="*/ 51 w 92"/>
                <a:gd name="T31" fmla="*/ 0 h 108"/>
                <a:gd name="T32" fmla="*/ 67 w 92"/>
                <a:gd name="T33" fmla="*/ 2 h 108"/>
                <a:gd name="T34" fmla="*/ 79 w 92"/>
                <a:gd name="T35" fmla="*/ 6 h 108"/>
                <a:gd name="T36" fmla="*/ 90 w 92"/>
                <a:gd name="T37" fmla="*/ 13 h 108"/>
                <a:gd name="T38" fmla="*/ 77 w 92"/>
                <a:gd name="T39" fmla="*/ 32 h 108"/>
                <a:gd name="T40" fmla="*/ 69 w 92"/>
                <a:gd name="T41" fmla="*/ 27 h 108"/>
                <a:gd name="T42" fmla="*/ 61 w 92"/>
                <a:gd name="T43" fmla="*/ 24 h 108"/>
                <a:gd name="T44" fmla="*/ 51 w 92"/>
                <a:gd name="T45" fmla="*/ 23 h 108"/>
                <a:gd name="T46" fmla="*/ 38 w 92"/>
                <a:gd name="T47" fmla="*/ 25 h 108"/>
                <a:gd name="T48" fmla="*/ 32 w 92"/>
                <a:gd name="T49" fmla="*/ 33 h 108"/>
                <a:gd name="T50" fmla="*/ 38 w 92"/>
                <a:gd name="T51" fmla="*/ 39 h 108"/>
                <a:gd name="T52" fmla="*/ 57 w 92"/>
                <a:gd name="T53" fmla="*/ 44 h 108"/>
                <a:gd name="T54" fmla="*/ 71 w 92"/>
                <a:gd name="T55" fmla="*/ 48 h 108"/>
                <a:gd name="T56" fmla="*/ 82 w 92"/>
                <a:gd name="T57" fmla="*/ 54 h 108"/>
                <a:gd name="T58" fmla="*/ 89 w 92"/>
                <a:gd name="T59" fmla="*/ 63 h 108"/>
                <a:gd name="T60" fmla="*/ 92 w 92"/>
                <a:gd name="T61" fmla="*/ 76 h 108"/>
                <a:gd name="T62" fmla="*/ 88 w 92"/>
                <a:gd name="T63" fmla="*/ 89 h 108"/>
                <a:gd name="T64" fmla="*/ 79 w 92"/>
                <a:gd name="T65" fmla="*/ 99 h 108"/>
                <a:gd name="T66" fmla="*/ 65 w 92"/>
                <a:gd name="T67" fmla="*/ 105 h 108"/>
                <a:gd name="T68" fmla="*/ 47 w 92"/>
                <a:gd name="T69" fmla="*/ 108 h 108"/>
                <a:gd name="T70" fmla="*/ 27 w 92"/>
                <a:gd name="T71" fmla="*/ 105 h 108"/>
                <a:gd name="T72" fmla="*/ 12 w 92"/>
                <a:gd name="T73" fmla="*/ 99 h 108"/>
                <a:gd name="T74" fmla="*/ 0 w 92"/>
                <a:gd name="T75" fmla="*/ 89 h 108"/>
                <a:gd name="T76" fmla="*/ 15 w 92"/>
                <a:gd name="T77" fmla="*/ 7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2" h="108">
                  <a:moveTo>
                    <a:pt x="15" y="70"/>
                  </a:moveTo>
                  <a:cubicBezTo>
                    <a:pt x="18" y="73"/>
                    <a:pt x="21" y="76"/>
                    <a:pt x="24" y="78"/>
                  </a:cubicBezTo>
                  <a:cubicBezTo>
                    <a:pt x="27" y="80"/>
                    <a:pt x="30" y="81"/>
                    <a:pt x="34" y="83"/>
                  </a:cubicBezTo>
                  <a:cubicBezTo>
                    <a:pt x="37" y="84"/>
                    <a:pt x="41" y="85"/>
                    <a:pt x="46" y="85"/>
                  </a:cubicBezTo>
                  <a:cubicBezTo>
                    <a:pt x="51" y="85"/>
                    <a:pt x="56" y="84"/>
                    <a:pt x="60" y="83"/>
                  </a:cubicBezTo>
                  <a:cubicBezTo>
                    <a:pt x="63" y="81"/>
                    <a:pt x="65" y="79"/>
                    <a:pt x="65" y="76"/>
                  </a:cubicBezTo>
                  <a:cubicBezTo>
                    <a:pt x="65" y="73"/>
                    <a:pt x="64" y="70"/>
                    <a:pt x="61" y="69"/>
                  </a:cubicBezTo>
                  <a:cubicBezTo>
                    <a:pt x="58" y="68"/>
                    <a:pt x="53" y="66"/>
                    <a:pt x="45" y="65"/>
                  </a:cubicBezTo>
                  <a:cubicBezTo>
                    <a:pt x="40" y="63"/>
                    <a:pt x="35" y="62"/>
                    <a:pt x="30" y="60"/>
                  </a:cubicBezTo>
                  <a:cubicBezTo>
                    <a:pt x="26" y="59"/>
                    <a:pt x="22" y="57"/>
                    <a:pt x="18" y="54"/>
                  </a:cubicBezTo>
                  <a:cubicBezTo>
                    <a:pt x="15" y="51"/>
                    <a:pt x="12" y="48"/>
                    <a:pt x="10" y="45"/>
                  </a:cubicBezTo>
                  <a:cubicBezTo>
                    <a:pt x="8" y="41"/>
                    <a:pt x="7" y="37"/>
                    <a:pt x="7" y="32"/>
                  </a:cubicBezTo>
                  <a:cubicBezTo>
                    <a:pt x="7" y="28"/>
                    <a:pt x="8" y="24"/>
                    <a:pt x="10" y="20"/>
                  </a:cubicBezTo>
                  <a:cubicBezTo>
                    <a:pt x="12" y="16"/>
                    <a:pt x="15" y="13"/>
                    <a:pt x="18" y="10"/>
                  </a:cubicBezTo>
                  <a:cubicBezTo>
                    <a:pt x="22" y="7"/>
                    <a:pt x="27" y="5"/>
                    <a:pt x="32" y="3"/>
                  </a:cubicBezTo>
                  <a:cubicBezTo>
                    <a:pt x="38" y="1"/>
                    <a:pt x="44" y="0"/>
                    <a:pt x="51" y="0"/>
                  </a:cubicBezTo>
                  <a:cubicBezTo>
                    <a:pt x="57" y="0"/>
                    <a:pt x="62" y="1"/>
                    <a:pt x="67" y="2"/>
                  </a:cubicBezTo>
                  <a:cubicBezTo>
                    <a:pt x="72" y="3"/>
                    <a:pt x="76" y="5"/>
                    <a:pt x="79" y="6"/>
                  </a:cubicBezTo>
                  <a:cubicBezTo>
                    <a:pt x="83" y="8"/>
                    <a:pt x="87" y="10"/>
                    <a:pt x="90" y="13"/>
                  </a:cubicBezTo>
                  <a:cubicBezTo>
                    <a:pt x="77" y="32"/>
                    <a:pt x="77" y="32"/>
                    <a:pt x="77" y="32"/>
                  </a:cubicBezTo>
                  <a:cubicBezTo>
                    <a:pt x="74" y="30"/>
                    <a:pt x="72" y="29"/>
                    <a:pt x="69" y="27"/>
                  </a:cubicBezTo>
                  <a:cubicBezTo>
                    <a:pt x="67" y="26"/>
                    <a:pt x="64" y="25"/>
                    <a:pt x="61" y="24"/>
                  </a:cubicBezTo>
                  <a:cubicBezTo>
                    <a:pt x="58" y="23"/>
                    <a:pt x="54" y="23"/>
                    <a:pt x="51" y="23"/>
                  </a:cubicBezTo>
                  <a:cubicBezTo>
                    <a:pt x="46" y="23"/>
                    <a:pt x="42" y="24"/>
                    <a:pt x="38" y="25"/>
                  </a:cubicBezTo>
                  <a:cubicBezTo>
                    <a:pt x="34" y="27"/>
                    <a:pt x="32" y="29"/>
                    <a:pt x="32" y="33"/>
                  </a:cubicBezTo>
                  <a:cubicBezTo>
                    <a:pt x="32" y="36"/>
                    <a:pt x="34" y="38"/>
                    <a:pt x="38" y="39"/>
                  </a:cubicBezTo>
                  <a:cubicBezTo>
                    <a:pt x="42" y="41"/>
                    <a:pt x="48" y="42"/>
                    <a:pt x="57" y="44"/>
                  </a:cubicBezTo>
                  <a:cubicBezTo>
                    <a:pt x="62" y="45"/>
                    <a:pt x="66" y="46"/>
                    <a:pt x="71" y="48"/>
                  </a:cubicBezTo>
                  <a:cubicBezTo>
                    <a:pt x="75" y="49"/>
                    <a:pt x="79" y="51"/>
                    <a:pt x="82" y="54"/>
                  </a:cubicBezTo>
                  <a:cubicBezTo>
                    <a:pt x="85" y="56"/>
                    <a:pt x="87" y="59"/>
                    <a:pt x="89" y="63"/>
                  </a:cubicBezTo>
                  <a:cubicBezTo>
                    <a:pt x="91" y="66"/>
                    <a:pt x="92" y="71"/>
                    <a:pt x="92" y="76"/>
                  </a:cubicBezTo>
                  <a:cubicBezTo>
                    <a:pt x="92" y="81"/>
                    <a:pt x="90" y="85"/>
                    <a:pt x="88" y="89"/>
                  </a:cubicBezTo>
                  <a:cubicBezTo>
                    <a:pt x="86" y="93"/>
                    <a:pt x="83" y="96"/>
                    <a:pt x="79" y="99"/>
                  </a:cubicBezTo>
                  <a:cubicBezTo>
                    <a:pt x="75" y="101"/>
                    <a:pt x="70" y="104"/>
                    <a:pt x="65" y="105"/>
                  </a:cubicBezTo>
                  <a:cubicBezTo>
                    <a:pt x="59" y="107"/>
                    <a:pt x="53" y="108"/>
                    <a:pt x="47" y="108"/>
                  </a:cubicBezTo>
                  <a:cubicBezTo>
                    <a:pt x="39" y="108"/>
                    <a:pt x="33" y="107"/>
                    <a:pt x="27" y="105"/>
                  </a:cubicBezTo>
                  <a:cubicBezTo>
                    <a:pt x="21" y="103"/>
                    <a:pt x="16" y="101"/>
                    <a:pt x="12" y="99"/>
                  </a:cubicBezTo>
                  <a:cubicBezTo>
                    <a:pt x="8" y="96"/>
                    <a:pt x="4" y="93"/>
                    <a:pt x="0" y="89"/>
                  </a:cubicBezTo>
                  <a:lnTo>
                    <a:pt x="15" y="70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Freeform 41">
              <a:extLst>
                <a:ext uri="{FF2B5EF4-FFF2-40B4-BE49-F238E27FC236}">
                  <a16:creationId xmlns:a16="http://schemas.microsoft.com/office/drawing/2014/main" id="{CF423C5F-6CB0-4072-B978-3D0C263B55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10251" y="1025525"/>
              <a:ext cx="85725" cy="144463"/>
            </a:xfrm>
            <a:custGeom>
              <a:avLst/>
              <a:gdLst>
                <a:gd name="T0" fmla="*/ 0 w 80"/>
                <a:gd name="T1" fmla="*/ 31 h 136"/>
                <a:gd name="T2" fmla="*/ 20 w 80"/>
                <a:gd name="T3" fmla="*/ 31 h 136"/>
                <a:gd name="T4" fmla="*/ 20 w 80"/>
                <a:gd name="T5" fmla="*/ 0 h 136"/>
                <a:gd name="T6" fmla="*/ 46 w 80"/>
                <a:gd name="T7" fmla="*/ 0 h 136"/>
                <a:gd name="T8" fmla="*/ 46 w 80"/>
                <a:gd name="T9" fmla="*/ 31 h 136"/>
                <a:gd name="T10" fmla="*/ 77 w 80"/>
                <a:gd name="T11" fmla="*/ 31 h 136"/>
                <a:gd name="T12" fmla="*/ 77 w 80"/>
                <a:gd name="T13" fmla="*/ 54 h 136"/>
                <a:gd name="T14" fmla="*/ 46 w 80"/>
                <a:gd name="T15" fmla="*/ 54 h 136"/>
                <a:gd name="T16" fmla="*/ 46 w 80"/>
                <a:gd name="T17" fmla="*/ 95 h 136"/>
                <a:gd name="T18" fmla="*/ 50 w 80"/>
                <a:gd name="T19" fmla="*/ 108 h 136"/>
                <a:gd name="T20" fmla="*/ 60 w 80"/>
                <a:gd name="T21" fmla="*/ 112 h 136"/>
                <a:gd name="T22" fmla="*/ 64 w 80"/>
                <a:gd name="T23" fmla="*/ 111 h 136"/>
                <a:gd name="T24" fmla="*/ 67 w 80"/>
                <a:gd name="T25" fmla="*/ 110 h 136"/>
                <a:gd name="T26" fmla="*/ 71 w 80"/>
                <a:gd name="T27" fmla="*/ 108 h 136"/>
                <a:gd name="T28" fmla="*/ 80 w 80"/>
                <a:gd name="T29" fmla="*/ 129 h 136"/>
                <a:gd name="T30" fmla="*/ 73 w 80"/>
                <a:gd name="T31" fmla="*/ 132 h 136"/>
                <a:gd name="T32" fmla="*/ 66 w 80"/>
                <a:gd name="T33" fmla="*/ 135 h 136"/>
                <a:gd name="T34" fmla="*/ 55 w 80"/>
                <a:gd name="T35" fmla="*/ 136 h 136"/>
                <a:gd name="T36" fmla="*/ 42 w 80"/>
                <a:gd name="T37" fmla="*/ 133 h 136"/>
                <a:gd name="T38" fmla="*/ 30 w 80"/>
                <a:gd name="T39" fmla="*/ 126 h 136"/>
                <a:gd name="T40" fmla="*/ 23 w 80"/>
                <a:gd name="T41" fmla="*/ 114 h 136"/>
                <a:gd name="T42" fmla="*/ 20 w 80"/>
                <a:gd name="T43" fmla="*/ 100 h 136"/>
                <a:gd name="T44" fmla="*/ 20 w 80"/>
                <a:gd name="T45" fmla="*/ 54 h 136"/>
                <a:gd name="T46" fmla="*/ 0 w 80"/>
                <a:gd name="T47" fmla="*/ 54 h 136"/>
                <a:gd name="T48" fmla="*/ 0 w 80"/>
                <a:gd name="T49" fmla="*/ 31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0" h="136">
                  <a:moveTo>
                    <a:pt x="0" y="31"/>
                  </a:moveTo>
                  <a:cubicBezTo>
                    <a:pt x="20" y="31"/>
                    <a:pt x="20" y="31"/>
                    <a:pt x="20" y="31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77" y="31"/>
                    <a:pt x="77" y="31"/>
                    <a:pt x="77" y="31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46" y="54"/>
                    <a:pt x="46" y="54"/>
                    <a:pt x="46" y="54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6" y="102"/>
                    <a:pt x="48" y="106"/>
                    <a:pt x="50" y="108"/>
                  </a:cubicBezTo>
                  <a:cubicBezTo>
                    <a:pt x="53" y="110"/>
                    <a:pt x="56" y="112"/>
                    <a:pt x="60" y="112"/>
                  </a:cubicBezTo>
                  <a:cubicBezTo>
                    <a:pt x="61" y="112"/>
                    <a:pt x="63" y="111"/>
                    <a:pt x="64" y="111"/>
                  </a:cubicBezTo>
                  <a:cubicBezTo>
                    <a:pt x="65" y="111"/>
                    <a:pt x="66" y="110"/>
                    <a:pt x="67" y="110"/>
                  </a:cubicBezTo>
                  <a:cubicBezTo>
                    <a:pt x="68" y="109"/>
                    <a:pt x="70" y="109"/>
                    <a:pt x="71" y="108"/>
                  </a:cubicBezTo>
                  <a:cubicBezTo>
                    <a:pt x="80" y="129"/>
                    <a:pt x="80" y="129"/>
                    <a:pt x="80" y="129"/>
                  </a:cubicBezTo>
                  <a:cubicBezTo>
                    <a:pt x="78" y="130"/>
                    <a:pt x="76" y="132"/>
                    <a:pt x="73" y="132"/>
                  </a:cubicBezTo>
                  <a:cubicBezTo>
                    <a:pt x="71" y="133"/>
                    <a:pt x="69" y="134"/>
                    <a:pt x="66" y="135"/>
                  </a:cubicBezTo>
                  <a:cubicBezTo>
                    <a:pt x="63" y="136"/>
                    <a:pt x="59" y="136"/>
                    <a:pt x="55" y="136"/>
                  </a:cubicBezTo>
                  <a:cubicBezTo>
                    <a:pt x="51" y="136"/>
                    <a:pt x="46" y="135"/>
                    <a:pt x="42" y="133"/>
                  </a:cubicBezTo>
                  <a:cubicBezTo>
                    <a:pt x="37" y="132"/>
                    <a:pt x="34" y="129"/>
                    <a:pt x="30" y="126"/>
                  </a:cubicBezTo>
                  <a:cubicBezTo>
                    <a:pt x="27" y="123"/>
                    <a:pt x="25" y="119"/>
                    <a:pt x="23" y="114"/>
                  </a:cubicBezTo>
                  <a:cubicBezTo>
                    <a:pt x="21" y="110"/>
                    <a:pt x="20" y="105"/>
                    <a:pt x="20" y="100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0" y="54"/>
                    <a:pt x="0" y="54"/>
                    <a:pt x="0" y="54"/>
                  </a:cubicBezTo>
                  <a:lnTo>
                    <a:pt x="0" y="31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Freeform 42">
              <a:extLst>
                <a:ext uri="{FF2B5EF4-FFF2-40B4-BE49-F238E27FC236}">
                  <a16:creationId xmlns:a16="http://schemas.microsoft.com/office/drawing/2014/main" id="{07E65987-E8A4-44DC-A4BB-D452FCC939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26138" y="1055688"/>
              <a:ext cx="74613" cy="111125"/>
            </a:xfrm>
            <a:custGeom>
              <a:avLst/>
              <a:gdLst>
                <a:gd name="T0" fmla="*/ 59 w 70"/>
                <a:gd name="T1" fmla="*/ 1 h 105"/>
                <a:gd name="T2" fmla="*/ 65 w 70"/>
                <a:gd name="T3" fmla="*/ 2 h 105"/>
                <a:gd name="T4" fmla="*/ 70 w 70"/>
                <a:gd name="T5" fmla="*/ 3 h 105"/>
                <a:gd name="T6" fmla="*/ 61 w 70"/>
                <a:gd name="T7" fmla="*/ 27 h 105"/>
                <a:gd name="T8" fmla="*/ 58 w 70"/>
                <a:gd name="T9" fmla="*/ 25 h 105"/>
                <a:gd name="T10" fmla="*/ 54 w 70"/>
                <a:gd name="T11" fmla="*/ 25 h 105"/>
                <a:gd name="T12" fmla="*/ 49 w 70"/>
                <a:gd name="T13" fmla="*/ 24 h 105"/>
                <a:gd name="T14" fmla="*/ 39 w 70"/>
                <a:gd name="T15" fmla="*/ 26 h 105"/>
                <a:gd name="T16" fmla="*/ 32 w 70"/>
                <a:gd name="T17" fmla="*/ 31 h 105"/>
                <a:gd name="T18" fmla="*/ 26 w 70"/>
                <a:gd name="T19" fmla="*/ 38 h 105"/>
                <a:gd name="T20" fmla="*/ 26 w 70"/>
                <a:gd name="T21" fmla="*/ 105 h 105"/>
                <a:gd name="T22" fmla="*/ 0 w 70"/>
                <a:gd name="T23" fmla="*/ 105 h 105"/>
                <a:gd name="T24" fmla="*/ 0 w 70"/>
                <a:gd name="T25" fmla="*/ 3 h 105"/>
                <a:gd name="T26" fmla="*/ 25 w 70"/>
                <a:gd name="T27" fmla="*/ 3 h 105"/>
                <a:gd name="T28" fmla="*/ 25 w 70"/>
                <a:gd name="T29" fmla="*/ 18 h 105"/>
                <a:gd name="T30" fmla="*/ 32 w 70"/>
                <a:gd name="T31" fmla="*/ 9 h 105"/>
                <a:gd name="T32" fmla="*/ 40 w 70"/>
                <a:gd name="T33" fmla="*/ 3 h 105"/>
                <a:gd name="T34" fmla="*/ 53 w 70"/>
                <a:gd name="T35" fmla="*/ 0 h 105"/>
                <a:gd name="T36" fmla="*/ 59 w 70"/>
                <a:gd name="T37" fmla="*/ 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0" h="105">
                  <a:moveTo>
                    <a:pt x="59" y="1"/>
                  </a:moveTo>
                  <a:cubicBezTo>
                    <a:pt x="62" y="1"/>
                    <a:pt x="63" y="1"/>
                    <a:pt x="65" y="2"/>
                  </a:cubicBezTo>
                  <a:cubicBezTo>
                    <a:pt x="67" y="2"/>
                    <a:pt x="69" y="3"/>
                    <a:pt x="70" y="3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0" y="26"/>
                    <a:pt x="59" y="26"/>
                    <a:pt x="58" y="25"/>
                  </a:cubicBezTo>
                  <a:cubicBezTo>
                    <a:pt x="57" y="25"/>
                    <a:pt x="56" y="25"/>
                    <a:pt x="54" y="25"/>
                  </a:cubicBezTo>
                  <a:cubicBezTo>
                    <a:pt x="53" y="24"/>
                    <a:pt x="51" y="24"/>
                    <a:pt x="49" y="24"/>
                  </a:cubicBezTo>
                  <a:cubicBezTo>
                    <a:pt x="45" y="24"/>
                    <a:pt x="42" y="25"/>
                    <a:pt x="39" y="26"/>
                  </a:cubicBezTo>
                  <a:cubicBezTo>
                    <a:pt x="36" y="28"/>
                    <a:pt x="33" y="29"/>
                    <a:pt x="32" y="31"/>
                  </a:cubicBezTo>
                  <a:cubicBezTo>
                    <a:pt x="29" y="33"/>
                    <a:pt x="27" y="36"/>
                    <a:pt x="26" y="38"/>
                  </a:cubicBezTo>
                  <a:cubicBezTo>
                    <a:pt x="26" y="105"/>
                    <a:pt x="26" y="105"/>
                    <a:pt x="26" y="105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7" y="14"/>
                    <a:pt x="29" y="11"/>
                    <a:pt x="32" y="9"/>
                  </a:cubicBezTo>
                  <a:cubicBezTo>
                    <a:pt x="34" y="7"/>
                    <a:pt x="37" y="5"/>
                    <a:pt x="40" y="3"/>
                  </a:cubicBezTo>
                  <a:cubicBezTo>
                    <a:pt x="44" y="1"/>
                    <a:pt x="48" y="0"/>
                    <a:pt x="53" y="0"/>
                  </a:cubicBezTo>
                  <a:cubicBezTo>
                    <a:pt x="55" y="0"/>
                    <a:pt x="57" y="0"/>
                    <a:pt x="59" y="1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Freeform 43">
              <a:extLst>
                <a:ext uri="{FF2B5EF4-FFF2-40B4-BE49-F238E27FC236}">
                  <a16:creationId xmlns:a16="http://schemas.microsoft.com/office/drawing/2014/main" id="{03292961-08C2-493A-8574-389794E2DF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024563" y="1004888"/>
              <a:ext cx="36513" cy="161925"/>
            </a:xfrm>
            <a:custGeom>
              <a:avLst/>
              <a:gdLst>
                <a:gd name="T0" fmla="*/ 5 w 34"/>
                <a:gd name="T1" fmla="*/ 5 h 153"/>
                <a:gd name="T2" fmla="*/ 17 w 34"/>
                <a:gd name="T3" fmla="*/ 0 h 153"/>
                <a:gd name="T4" fmla="*/ 29 w 34"/>
                <a:gd name="T5" fmla="*/ 5 h 153"/>
                <a:gd name="T6" fmla="*/ 34 w 34"/>
                <a:gd name="T7" fmla="*/ 17 h 153"/>
                <a:gd name="T8" fmla="*/ 29 w 34"/>
                <a:gd name="T9" fmla="*/ 30 h 153"/>
                <a:gd name="T10" fmla="*/ 17 w 34"/>
                <a:gd name="T11" fmla="*/ 35 h 153"/>
                <a:gd name="T12" fmla="*/ 5 w 34"/>
                <a:gd name="T13" fmla="*/ 30 h 153"/>
                <a:gd name="T14" fmla="*/ 0 w 34"/>
                <a:gd name="T15" fmla="*/ 17 h 153"/>
                <a:gd name="T16" fmla="*/ 5 w 34"/>
                <a:gd name="T17" fmla="*/ 5 h 153"/>
                <a:gd name="T18" fmla="*/ 4 w 34"/>
                <a:gd name="T19" fmla="*/ 51 h 153"/>
                <a:gd name="T20" fmla="*/ 30 w 34"/>
                <a:gd name="T21" fmla="*/ 51 h 153"/>
                <a:gd name="T22" fmla="*/ 30 w 34"/>
                <a:gd name="T23" fmla="*/ 153 h 153"/>
                <a:gd name="T24" fmla="*/ 4 w 34"/>
                <a:gd name="T25" fmla="*/ 153 h 153"/>
                <a:gd name="T26" fmla="*/ 4 w 34"/>
                <a:gd name="T27" fmla="*/ 5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153">
                  <a:moveTo>
                    <a:pt x="5" y="5"/>
                  </a:moveTo>
                  <a:cubicBezTo>
                    <a:pt x="8" y="2"/>
                    <a:pt x="12" y="0"/>
                    <a:pt x="17" y="0"/>
                  </a:cubicBezTo>
                  <a:cubicBezTo>
                    <a:pt x="22" y="0"/>
                    <a:pt x="26" y="2"/>
                    <a:pt x="29" y="5"/>
                  </a:cubicBezTo>
                  <a:cubicBezTo>
                    <a:pt x="32" y="9"/>
                    <a:pt x="34" y="13"/>
                    <a:pt x="34" y="17"/>
                  </a:cubicBezTo>
                  <a:cubicBezTo>
                    <a:pt x="34" y="22"/>
                    <a:pt x="32" y="26"/>
                    <a:pt x="29" y="30"/>
                  </a:cubicBezTo>
                  <a:cubicBezTo>
                    <a:pt x="26" y="33"/>
                    <a:pt x="22" y="35"/>
                    <a:pt x="17" y="35"/>
                  </a:cubicBezTo>
                  <a:cubicBezTo>
                    <a:pt x="12" y="35"/>
                    <a:pt x="8" y="33"/>
                    <a:pt x="5" y="30"/>
                  </a:cubicBezTo>
                  <a:cubicBezTo>
                    <a:pt x="1" y="26"/>
                    <a:pt x="0" y="22"/>
                    <a:pt x="0" y="17"/>
                  </a:cubicBezTo>
                  <a:cubicBezTo>
                    <a:pt x="0" y="13"/>
                    <a:pt x="1" y="9"/>
                    <a:pt x="5" y="5"/>
                  </a:cubicBezTo>
                  <a:close/>
                  <a:moveTo>
                    <a:pt x="4" y="51"/>
                  </a:moveTo>
                  <a:cubicBezTo>
                    <a:pt x="30" y="51"/>
                    <a:pt x="30" y="51"/>
                    <a:pt x="30" y="51"/>
                  </a:cubicBezTo>
                  <a:cubicBezTo>
                    <a:pt x="30" y="153"/>
                    <a:pt x="30" y="153"/>
                    <a:pt x="30" y="153"/>
                  </a:cubicBezTo>
                  <a:cubicBezTo>
                    <a:pt x="4" y="153"/>
                    <a:pt x="4" y="153"/>
                    <a:pt x="4" y="153"/>
                  </a:cubicBezTo>
                  <a:lnTo>
                    <a:pt x="4" y="51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44">
              <a:extLst>
                <a:ext uri="{FF2B5EF4-FFF2-40B4-BE49-F238E27FC236}">
                  <a16:creationId xmlns:a16="http://schemas.microsoft.com/office/drawing/2014/main" id="{5BFA12EB-95E1-4F3A-BB32-1C36BAF6DDC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091238" y="1055688"/>
              <a:ext cx="100013" cy="114300"/>
            </a:xfrm>
            <a:custGeom>
              <a:avLst/>
              <a:gdLst>
                <a:gd name="T0" fmla="*/ 83 w 95"/>
                <a:gd name="T1" fmla="*/ 10 h 108"/>
                <a:gd name="T2" fmla="*/ 95 w 95"/>
                <a:gd name="T3" fmla="*/ 38 h 108"/>
                <a:gd name="T4" fmla="*/ 95 w 95"/>
                <a:gd name="T5" fmla="*/ 105 h 108"/>
                <a:gd name="T6" fmla="*/ 71 w 95"/>
                <a:gd name="T7" fmla="*/ 105 h 108"/>
                <a:gd name="T8" fmla="*/ 71 w 95"/>
                <a:gd name="T9" fmla="*/ 92 h 108"/>
                <a:gd name="T10" fmla="*/ 63 w 95"/>
                <a:gd name="T11" fmla="*/ 100 h 108"/>
                <a:gd name="T12" fmla="*/ 53 w 95"/>
                <a:gd name="T13" fmla="*/ 106 h 108"/>
                <a:gd name="T14" fmla="*/ 38 w 95"/>
                <a:gd name="T15" fmla="*/ 108 h 108"/>
                <a:gd name="T16" fmla="*/ 24 w 95"/>
                <a:gd name="T17" fmla="*/ 106 h 108"/>
                <a:gd name="T18" fmla="*/ 12 w 95"/>
                <a:gd name="T19" fmla="*/ 99 h 108"/>
                <a:gd name="T20" fmla="*/ 4 w 95"/>
                <a:gd name="T21" fmla="*/ 88 h 108"/>
                <a:gd name="T22" fmla="*/ 0 w 95"/>
                <a:gd name="T23" fmla="*/ 73 h 108"/>
                <a:gd name="T24" fmla="*/ 4 w 95"/>
                <a:gd name="T25" fmla="*/ 60 h 108"/>
                <a:gd name="T26" fmla="*/ 12 w 95"/>
                <a:gd name="T27" fmla="*/ 49 h 108"/>
                <a:gd name="T28" fmla="*/ 25 w 95"/>
                <a:gd name="T29" fmla="*/ 42 h 108"/>
                <a:gd name="T30" fmla="*/ 41 w 95"/>
                <a:gd name="T31" fmla="*/ 39 h 108"/>
                <a:gd name="T32" fmla="*/ 53 w 95"/>
                <a:gd name="T33" fmla="*/ 41 h 108"/>
                <a:gd name="T34" fmla="*/ 62 w 95"/>
                <a:gd name="T35" fmla="*/ 43 h 108"/>
                <a:gd name="T36" fmla="*/ 69 w 95"/>
                <a:gd name="T37" fmla="*/ 47 h 108"/>
                <a:gd name="T38" fmla="*/ 69 w 95"/>
                <a:gd name="T39" fmla="*/ 41 h 108"/>
                <a:gd name="T40" fmla="*/ 67 w 95"/>
                <a:gd name="T41" fmla="*/ 33 h 108"/>
                <a:gd name="T42" fmla="*/ 62 w 95"/>
                <a:gd name="T43" fmla="*/ 27 h 108"/>
                <a:gd name="T44" fmla="*/ 55 w 95"/>
                <a:gd name="T45" fmla="*/ 24 h 108"/>
                <a:gd name="T46" fmla="*/ 47 w 95"/>
                <a:gd name="T47" fmla="*/ 23 h 108"/>
                <a:gd name="T48" fmla="*/ 36 w 95"/>
                <a:gd name="T49" fmla="*/ 24 h 108"/>
                <a:gd name="T50" fmla="*/ 26 w 95"/>
                <a:gd name="T51" fmla="*/ 27 h 108"/>
                <a:gd name="T52" fmla="*/ 17 w 95"/>
                <a:gd name="T53" fmla="*/ 31 h 108"/>
                <a:gd name="T54" fmla="*/ 8 w 95"/>
                <a:gd name="T55" fmla="*/ 9 h 108"/>
                <a:gd name="T56" fmla="*/ 20 w 95"/>
                <a:gd name="T57" fmla="*/ 5 h 108"/>
                <a:gd name="T58" fmla="*/ 33 w 95"/>
                <a:gd name="T59" fmla="*/ 1 h 108"/>
                <a:gd name="T60" fmla="*/ 49 w 95"/>
                <a:gd name="T61" fmla="*/ 0 h 108"/>
                <a:gd name="T62" fmla="*/ 83 w 95"/>
                <a:gd name="T63" fmla="*/ 10 h 108"/>
                <a:gd name="T64" fmla="*/ 56 w 95"/>
                <a:gd name="T65" fmla="*/ 84 h 108"/>
                <a:gd name="T66" fmla="*/ 63 w 95"/>
                <a:gd name="T67" fmla="*/ 80 h 108"/>
                <a:gd name="T68" fmla="*/ 69 w 95"/>
                <a:gd name="T69" fmla="*/ 74 h 108"/>
                <a:gd name="T70" fmla="*/ 69 w 95"/>
                <a:gd name="T71" fmla="*/ 64 h 108"/>
                <a:gd name="T72" fmla="*/ 63 w 95"/>
                <a:gd name="T73" fmla="*/ 61 h 108"/>
                <a:gd name="T74" fmla="*/ 56 w 95"/>
                <a:gd name="T75" fmla="*/ 59 h 108"/>
                <a:gd name="T76" fmla="*/ 46 w 95"/>
                <a:gd name="T77" fmla="*/ 59 h 108"/>
                <a:gd name="T78" fmla="*/ 40 w 95"/>
                <a:gd name="T79" fmla="*/ 59 h 108"/>
                <a:gd name="T80" fmla="*/ 33 w 95"/>
                <a:gd name="T81" fmla="*/ 62 h 108"/>
                <a:gd name="T82" fmla="*/ 29 w 95"/>
                <a:gd name="T83" fmla="*/ 66 h 108"/>
                <a:gd name="T84" fmla="*/ 27 w 95"/>
                <a:gd name="T85" fmla="*/ 73 h 108"/>
                <a:gd name="T86" fmla="*/ 29 w 95"/>
                <a:gd name="T87" fmla="*/ 80 h 108"/>
                <a:gd name="T88" fmla="*/ 33 w 95"/>
                <a:gd name="T89" fmla="*/ 84 h 108"/>
                <a:gd name="T90" fmla="*/ 39 w 95"/>
                <a:gd name="T91" fmla="*/ 86 h 108"/>
                <a:gd name="T92" fmla="*/ 46 w 95"/>
                <a:gd name="T93" fmla="*/ 86 h 108"/>
                <a:gd name="T94" fmla="*/ 56 w 95"/>
                <a:gd name="T95" fmla="*/ 8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5" h="108">
                  <a:moveTo>
                    <a:pt x="83" y="10"/>
                  </a:moveTo>
                  <a:cubicBezTo>
                    <a:pt x="91" y="17"/>
                    <a:pt x="95" y="27"/>
                    <a:pt x="95" y="38"/>
                  </a:cubicBezTo>
                  <a:cubicBezTo>
                    <a:pt x="95" y="105"/>
                    <a:pt x="95" y="105"/>
                    <a:pt x="95" y="105"/>
                  </a:cubicBezTo>
                  <a:cubicBezTo>
                    <a:pt x="71" y="105"/>
                    <a:pt x="71" y="105"/>
                    <a:pt x="71" y="105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9" y="95"/>
                    <a:pt x="66" y="98"/>
                    <a:pt x="63" y="100"/>
                  </a:cubicBezTo>
                  <a:cubicBezTo>
                    <a:pt x="60" y="102"/>
                    <a:pt x="57" y="104"/>
                    <a:pt x="53" y="106"/>
                  </a:cubicBezTo>
                  <a:cubicBezTo>
                    <a:pt x="48" y="107"/>
                    <a:pt x="43" y="108"/>
                    <a:pt x="38" y="108"/>
                  </a:cubicBezTo>
                  <a:cubicBezTo>
                    <a:pt x="33" y="108"/>
                    <a:pt x="28" y="107"/>
                    <a:pt x="24" y="106"/>
                  </a:cubicBezTo>
                  <a:cubicBezTo>
                    <a:pt x="19" y="104"/>
                    <a:pt x="15" y="102"/>
                    <a:pt x="12" y="99"/>
                  </a:cubicBezTo>
                  <a:cubicBezTo>
                    <a:pt x="8" y="96"/>
                    <a:pt x="6" y="92"/>
                    <a:pt x="4" y="88"/>
                  </a:cubicBezTo>
                  <a:cubicBezTo>
                    <a:pt x="1" y="84"/>
                    <a:pt x="0" y="79"/>
                    <a:pt x="0" y="73"/>
                  </a:cubicBezTo>
                  <a:cubicBezTo>
                    <a:pt x="0" y="69"/>
                    <a:pt x="2" y="64"/>
                    <a:pt x="4" y="60"/>
                  </a:cubicBezTo>
                  <a:cubicBezTo>
                    <a:pt x="6" y="56"/>
                    <a:pt x="9" y="52"/>
                    <a:pt x="12" y="49"/>
                  </a:cubicBezTo>
                  <a:cubicBezTo>
                    <a:pt x="16" y="46"/>
                    <a:pt x="20" y="44"/>
                    <a:pt x="25" y="42"/>
                  </a:cubicBezTo>
                  <a:cubicBezTo>
                    <a:pt x="30" y="40"/>
                    <a:pt x="35" y="39"/>
                    <a:pt x="41" y="39"/>
                  </a:cubicBezTo>
                  <a:cubicBezTo>
                    <a:pt x="46" y="39"/>
                    <a:pt x="50" y="40"/>
                    <a:pt x="53" y="41"/>
                  </a:cubicBezTo>
                  <a:cubicBezTo>
                    <a:pt x="57" y="41"/>
                    <a:pt x="60" y="42"/>
                    <a:pt x="62" y="43"/>
                  </a:cubicBezTo>
                  <a:cubicBezTo>
                    <a:pt x="65" y="44"/>
                    <a:pt x="67" y="45"/>
                    <a:pt x="69" y="47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38"/>
                    <a:pt x="69" y="35"/>
                    <a:pt x="67" y="33"/>
                  </a:cubicBezTo>
                  <a:cubicBezTo>
                    <a:pt x="66" y="30"/>
                    <a:pt x="64" y="28"/>
                    <a:pt x="62" y="27"/>
                  </a:cubicBezTo>
                  <a:cubicBezTo>
                    <a:pt x="60" y="26"/>
                    <a:pt x="57" y="25"/>
                    <a:pt x="55" y="24"/>
                  </a:cubicBezTo>
                  <a:cubicBezTo>
                    <a:pt x="52" y="23"/>
                    <a:pt x="50" y="23"/>
                    <a:pt x="47" y="23"/>
                  </a:cubicBezTo>
                  <a:cubicBezTo>
                    <a:pt x="43" y="23"/>
                    <a:pt x="40" y="24"/>
                    <a:pt x="36" y="24"/>
                  </a:cubicBezTo>
                  <a:cubicBezTo>
                    <a:pt x="32" y="25"/>
                    <a:pt x="29" y="26"/>
                    <a:pt x="26" y="27"/>
                  </a:cubicBezTo>
                  <a:cubicBezTo>
                    <a:pt x="23" y="28"/>
                    <a:pt x="20" y="29"/>
                    <a:pt x="17" y="31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2" y="8"/>
                    <a:pt x="16" y="6"/>
                    <a:pt x="20" y="5"/>
                  </a:cubicBezTo>
                  <a:cubicBezTo>
                    <a:pt x="24" y="3"/>
                    <a:pt x="28" y="2"/>
                    <a:pt x="33" y="1"/>
                  </a:cubicBezTo>
                  <a:cubicBezTo>
                    <a:pt x="38" y="1"/>
                    <a:pt x="43" y="0"/>
                    <a:pt x="49" y="0"/>
                  </a:cubicBezTo>
                  <a:cubicBezTo>
                    <a:pt x="63" y="0"/>
                    <a:pt x="75" y="3"/>
                    <a:pt x="83" y="10"/>
                  </a:cubicBezTo>
                  <a:close/>
                  <a:moveTo>
                    <a:pt x="56" y="84"/>
                  </a:moveTo>
                  <a:cubicBezTo>
                    <a:pt x="59" y="83"/>
                    <a:pt x="61" y="82"/>
                    <a:pt x="63" y="80"/>
                  </a:cubicBezTo>
                  <a:cubicBezTo>
                    <a:pt x="66" y="78"/>
                    <a:pt x="68" y="76"/>
                    <a:pt x="69" y="7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7" y="63"/>
                    <a:pt x="65" y="62"/>
                    <a:pt x="63" y="61"/>
                  </a:cubicBezTo>
                  <a:cubicBezTo>
                    <a:pt x="61" y="60"/>
                    <a:pt x="58" y="60"/>
                    <a:pt x="56" y="59"/>
                  </a:cubicBezTo>
                  <a:cubicBezTo>
                    <a:pt x="53" y="59"/>
                    <a:pt x="50" y="59"/>
                    <a:pt x="46" y="59"/>
                  </a:cubicBezTo>
                  <a:cubicBezTo>
                    <a:pt x="44" y="59"/>
                    <a:pt x="42" y="59"/>
                    <a:pt x="40" y="59"/>
                  </a:cubicBezTo>
                  <a:cubicBezTo>
                    <a:pt x="37" y="60"/>
                    <a:pt x="35" y="61"/>
                    <a:pt x="33" y="62"/>
                  </a:cubicBezTo>
                  <a:cubicBezTo>
                    <a:pt x="32" y="63"/>
                    <a:pt x="30" y="64"/>
                    <a:pt x="29" y="66"/>
                  </a:cubicBezTo>
                  <a:cubicBezTo>
                    <a:pt x="28" y="68"/>
                    <a:pt x="27" y="70"/>
                    <a:pt x="27" y="73"/>
                  </a:cubicBezTo>
                  <a:cubicBezTo>
                    <a:pt x="27" y="76"/>
                    <a:pt x="27" y="78"/>
                    <a:pt x="29" y="80"/>
                  </a:cubicBezTo>
                  <a:cubicBezTo>
                    <a:pt x="30" y="81"/>
                    <a:pt x="31" y="83"/>
                    <a:pt x="33" y="84"/>
                  </a:cubicBezTo>
                  <a:cubicBezTo>
                    <a:pt x="35" y="85"/>
                    <a:pt x="37" y="85"/>
                    <a:pt x="39" y="86"/>
                  </a:cubicBezTo>
                  <a:cubicBezTo>
                    <a:pt x="41" y="86"/>
                    <a:pt x="43" y="86"/>
                    <a:pt x="46" y="86"/>
                  </a:cubicBezTo>
                  <a:cubicBezTo>
                    <a:pt x="49" y="86"/>
                    <a:pt x="53" y="86"/>
                    <a:pt x="56" y="84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841080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A Trennblat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6CF0DE6-BD34-412D-94AB-7924E43881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4061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6CF0DE6-BD34-412D-94AB-7924E4388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F55117D-FE50-4AFA-A92A-60B9795FDC5E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rgbClr val="E6320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600" b="0" dirty="0" err="1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9C33C06-B7BC-4474-8A51-CD345406F80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9018" y="6114644"/>
            <a:ext cx="2022620" cy="423013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B58C32-5D6D-4977-A4AE-56A05D190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1225" y="1052513"/>
            <a:ext cx="8631238" cy="1895475"/>
          </a:xfrm>
        </p:spPr>
        <p:txBody>
          <a:bodyPr anchor="t"/>
          <a:lstStyle>
            <a:lvl1pPr>
              <a:defRPr sz="40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BE62068C-EF41-4211-81D0-7364324E989A}"/>
              </a:ext>
            </a:extLst>
          </p:cNvPr>
          <p:cNvSpPr/>
          <p:nvPr userDrawn="1"/>
        </p:nvSpPr>
        <p:spPr>
          <a:xfrm>
            <a:off x="9204" y="4559"/>
            <a:ext cx="655813" cy="840582"/>
          </a:xfrm>
          <a:custGeom>
            <a:avLst/>
            <a:gdLst/>
            <a:ahLst/>
            <a:cxnLst/>
            <a:rect l="l" t="t" r="r" b="b"/>
            <a:pathLst>
              <a:path w="1005205" h="1288415">
                <a:moveTo>
                  <a:pt x="0" y="0"/>
                </a:moveTo>
                <a:lnTo>
                  <a:pt x="0" y="335068"/>
                </a:lnTo>
                <a:lnTo>
                  <a:pt x="609552" y="640462"/>
                </a:lnTo>
                <a:lnTo>
                  <a:pt x="0" y="952850"/>
                </a:lnTo>
                <a:lnTo>
                  <a:pt x="0" y="1287918"/>
                </a:lnTo>
                <a:lnTo>
                  <a:pt x="1005204" y="793253"/>
                </a:lnTo>
                <a:lnTo>
                  <a:pt x="1005204" y="49601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 anchor="ctr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97920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Sä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1A2DEE5-844F-40BD-847C-AD9181795C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8878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1A2DEE5-844F-40BD-847C-AD9181795C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87596ED-8270-4BD9-9069-84F474882F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9537" y="209407"/>
            <a:ext cx="8631785" cy="430887"/>
          </a:xfrm>
        </p:spPr>
        <p:txBody>
          <a:bodyPr vert="horz"/>
          <a:lstStyle>
            <a:lvl1pPr>
              <a:defRPr sz="3600"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ACA3A6B-089A-48DA-907F-9446B12760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873D13-8BEF-4470-A16D-19EDE6E7A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01F0EAC-DF03-4553-8D22-C26B163DC97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11224" y="1052513"/>
            <a:ext cx="8631240" cy="4708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7978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Säule +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0EC113F-F3DE-4EF1-AA24-564936C5ED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6549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0EC113F-F3DE-4EF1-AA24-564936C5ED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D0B7F44-1A9D-43CE-8B94-70E892BCC6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0F0CD56-CDEF-4F99-82E9-F8344BA7D8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F17232-4933-4B44-AB0A-14F7352465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4A8CE99-0AD9-4D9C-9C09-47545620E9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226" y="1052513"/>
            <a:ext cx="8630940" cy="604800"/>
          </a:xfrm>
        </p:spPr>
        <p:txBody>
          <a:bodyPr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8CF1398-AEAE-44BE-B05F-E03B17EB921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260" y="1726825"/>
            <a:ext cx="8631749" cy="40342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8689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äulen +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F84AA5-90AF-4944-A33D-CCA60F0CDA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1356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F84AA5-90AF-4944-A33D-CCA60F0CDA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B707A87-9762-46A5-A1BF-60907C2C37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9537" y="209407"/>
            <a:ext cx="8631785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EE70F8-6350-4489-8BF1-B1E111BCAB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0CCAD9-3BB6-43FD-8F71-48FD588090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60E6D9E-AC7D-4CD8-9A1B-DC502AAB0B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225" y="1052513"/>
            <a:ext cx="4200555" cy="604800"/>
          </a:xfrm>
        </p:spPr>
        <p:txBody>
          <a:bodyPr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F252CF9-0987-4CBA-8CC7-B6582ECA239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225" y="1726825"/>
            <a:ext cx="4200555" cy="40433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86BDC7C-1DCC-488B-89D7-620778CE86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41908" y="1052513"/>
            <a:ext cx="4200555" cy="604800"/>
          </a:xfrm>
        </p:spPr>
        <p:txBody>
          <a:bodyPr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4" name="Content Placeholder 7">
            <a:extLst>
              <a:ext uri="{FF2B5EF4-FFF2-40B4-BE49-F238E27FC236}">
                <a16:creationId xmlns:a16="http://schemas.microsoft.com/office/drawing/2014/main" id="{40CF3282-EE3F-4A8C-9194-FB798F942DA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341908" y="1726825"/>
            <a:ext cx="4200555" cy="40433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2118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äulen +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45B2A81-20D5-4DCD-B2D5-0DD68492C0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873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45B2A81-20D5-4DCD-B2D5-0DD68492C0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AA155B-CCB9-45EF-83E7-A4F386C3D5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46BAB9-04B4-4317-A1F0-FDDB9A1286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56EE890-29E0-44E4-9668-F68CDE7A61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9538" y="208338"/>
            <a:ext cx="8631786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3C71988F-E327-4F96-8306-B27881356B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225" y="1052513"/>
            <a:ext cx="3469957" cy="604800"/>
          </a:xfrm>
        </p:spPr>
        <p:txBody>
          <a:bodyPr/>
          <a:lstStyle>
            <a:lvl1pPr>
              <a:defRPr sz="2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9" name="Content Placeholder 7">
            <a:extLst>
              <a:ext uri="{FF2B5EF4-FFF2-40B4-BE49-F238E27FC236}">
                <a16:creationId xmlns:a16="http://schemas.microsoft.com/office/drawing/2014/main" id="{4E46B802-7A11-4132-902C-6A8E73CAE6F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225" y="1726825"/>
            <a:ext cx="3469957" cy="4043397"/>
          </a:xfrm>
        </p:spPr>
        <p:txBody>
          <a:bodyPr/>
          <a:lstStyle>
            <a:lvl1pPr>
              <a:defRPr sz="240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251A676-9663-42CA-9166-26C677E3B2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30896" y="1052513"/>
            <a:ext cx="3469957" cy="604800"/>
          </a:xfrm>
        </p:spPr>
        <p:txBody>
          <a:bodyPr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1" name="Content Placeholder 7">
            <a:extLst>
              <a:ext uri="{FF2B5EF4-FFF2-40B4-BE49-F238E27FC236}">
                <a16:creationId xmlns:a16="http://schemas.microsoft.com/office/drawing/2014/main" id="{8C88EDB6-B166-4ABB-BA7D-0E492F4665A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30896" y="1726825"/>
            <a:ext cx="3469957" cy="4043397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400">
                <a:solidFill>
                  <a:schemeClr val="tx1"/>
                </a:solidFill>
              </a:defRPr>
            </a:lvl4pPr>
            <a:lvl5pP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20E0FD11-0513-4797-8CB2-3E0D24F23D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50568" y="1052513"/>
            <a:ext cx="3469957" cy="604800"/>
          </a:xfrm>
        </p:spPr>
        <p:txBody>
          <a:bodyPr/>
          <a:lstStyle>
            <a:lvl1pPr>
              <a:defRPr sz="28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3" name="Content Placeholder 7">
            <a:extLst>
              <a:ext uri="{FF2B5EF4-FFF2-40B4-BE49-F238E27FC236}">
                <a16:creationId xmlns:a16="http://schemas.microsoft.com/office/drawing/2014/main" id="{61D25E78-0AEF-4E09-8B9A-9996BEE68EE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350568" y="1726825"/>
            <a:ext cx="3469957" cy="4043397"/>
          </a:xfrm>
        </p:spPr>
        <p:txBody>
          <a:bodyPr/>
          <a:lstStyle>
            <a:lvl1pPr>
              <a:defRPr sz="2400">
                <a:solidFill>
                  <a:schemeClr val="accent4"/>
                </a:solidFill>
              </a:defRPr>
            </a:lvl1pPr>
            <a:lvl2pPr>
              <a:defRPr sz="2400">
                <a:solidFill>
                  <a:schemeClr val="accent4"/>
                </a:solidFill>
              </a:defRPr>
            </a:lvl2pPr>
            <a:lvl3pPr>
              <a:defRPr sz="2400">
                <a:solidFill>
                  <a:schemeClr val="accent4"/>
                </a:solidFill>
              </a:defRPr>
            </a:lvl3pPr>
            <a:lvl4pPr>
              <a:defRPr sz="2400">
                <a:solidFill>
                  <a:schemeClr val="accent4"/>
                </a:solidFill>
              </a:defRPr>
            </a:lvl4pPr>
            <a:lvl5pPr>
              <a:defRPr sz="2400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1676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44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A Trennblat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6CF0DE6-BD34-412D-94AB-7924E43881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6432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6CF0DE6-BD34-412D-94AB-7924E4388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F55117D-FE50-4AFA-A92A-60B9795FDC5E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rgbClr val="E6320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600" b="0" dirty="0" err="1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9C33C06-B7BC-4474-8A51-CD345406F80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9018" y="6114644"/>
            <a:ext cx="2022620" cy="423013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B58C32-5D6D-4977-A4AE-56A05D190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1225" y="1052513"/>
            <a:ext cx="8631238" cy="1895475"/>
          </a:xfrm>
        </p:spPr>
        <p:txBody>
          <a:bodyPr anchor="t"/>
          <a:lstStyle>
            <a:lvl1pPr>
              <a:defRPr sz="40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BE62068C-EF41-4211-81D0-7364324E989A}"/>
              </a:ext>
            </a:extLst>
          </p:cNvPr>
          <p:cNvSpPr/>
          <p:nvPr userDrawn="1"/>
        </p:nvSpPr>
        <p:spPr>
          <a:xfrm>
            <a:off x="9204" y="4559"/>
            <a:ext cx="655813" cy="840582"/>
          </a:xfrm>
          <a:custGeom>
            <a:avLst/>
            <a:gdLst/>
            <a:ahLst/>
            <a:cxnLst/>
            <a:rect l="l" t="t" r="r" b="b"/>
            <a:pathLst>
              <a:path w="1005205" h="1288415">
                <a:moveTo>
                  <a:pt x="0" y="0"/>
                </a:moveTo>
                <a:lnTo>
                  <a:pt x="0" y="335068"/>
                </a:lnTo>
                <a:lnTo>
                  <a:pt x="609552" y="640462"/>
                </a:lnTo>
                <a:lnTo>
                  <a:pt x="0" y="952850"/>
                </a:lnTo>
                <a:lnTo>
                  <a:pt x="0" y="1287918"/>
                </a:lnTo>
                <a:lnTo>
                  <a:pt x="1005204" y="793253"/>
                </a:lnTo>
                <a:lnTo>
                  <a:pt x="1005204" y="49601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 anchor="ctr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55708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äulen +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2EF57EA-F45E-48DD-BB02-9CCBBD67DA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4710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2EF57EA-F45E-48DD-BB02-9CCBBD67DA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DCA3869-0626-4D7E-A07F-ED2B248D28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9845BF-B227-4307-81B9-E7C8FC57CD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B569F239-1A61-4E82-9B98-BB2D6F6CB5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3032" y="210212"/>
            <a:ext cx="8619431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2F2B9473-033B-41B3-A154-3B1336EE8A1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226" y="1052513"/>
            <a:ext cx="2533010" cy="604800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2" name="Content Placeholder 7">
            <a:extLst>
              <a:ext uri="{FF2B5EF4-FFF2-40B4-BE49-F238E27FC236}">
                <a16:creationId xmlns:a16="http://schemas.microsoft.com/office/drawing/2014/main" id="{C9427F82-503C-463A-BF79-F5A5EA2D69B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226" y="1726825"/>
            <a:ext cx="2533010" cy="40433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5237C118-A019-4D33-964B-D13E6747EE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03322" y="1052513"/>
            <a:ext cx="2533010" cy="604800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4" name="Content Placeholder 7">
            <a:extLst>
              <a:ext uri="{FF2B5EF4-FFF2-40B4-BE49-F238E27FC236}">
                <a16:creationId xmlns:a16="http://schemas.microsoft.com/office/drawing/2014/main" id="{05DA6DA1-355B-4AFA-9B21-A336D734899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703322" y="1726825"/>
            <a:ext cx="2533010" cy="40433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B04C321E-06CD-460E-9A0C-1FB1F64465C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95418" y="1052513"/>
            <a:ext cx="2533010" cy="604800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6" name="Content Placeholder 7">
            <a:extLst>
              <a:ext uri="{FF2B5EF4-FFF2-40B4-BE49-F238E27FC236}">
                <a16:creationId xmlns:a16="http://schemas.microsoft.com/office/drawing/2014/main" id="{C2329C79-5F90-40E8-BB19-5B2B9787D50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95418" y="1726825"/>
            <a:ext cx="2533010" cy="40433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24F5421-6FED-4A33-932C-CE3DA5044FA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87515" y="1052513"/>
            <a:ext cx="2533010" cy="604800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8" name="Content Placeholder 7">
            <a:extLst>
              <a:ext uri="{FF2B5EF4-FFF2-40B4-BE49-F238E27FC236}">
                <a16:creationId xmlns:a16="http://schemas.microsoft.com/office/drawing/2014/main" id="{AF9CA067-2ED3-4831-B812-20849029EFC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287515" y="1726825"/>
            <a:ext cx="2533010" cy="40433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6357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44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inks + Foto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48EF813-7050-4CFA-A5BF-35F2ECAAC8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0051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48EF813-7050-4CFA-A5BF-35F2ECAAC8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90BAE0-3503-40B7-97FF-3BBA5C4DD7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42D4FE-2A34-4C36-A765-CE00B9912A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DA4AB55-A4CD-400A-831B-870876DFDD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3031" y="210211"/>
            <a:ext cx="8631786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927D2A2D-8CE5-4B25-A24E-D55EB0EAF10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225" y="1052513"/>
            <a:ext cx="3469957" cy="471770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25B827B4-7226-45B7-803F-EFCCFD8A354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30896" y="1052513"/>
            <a:ext cx="7561104" cy="471770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571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44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links +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48EF813-7050-4CFA-A5BF-35F2ECAAC8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9417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48EF813-7050-4CFA-A5BF-35F2ECAAC8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90BAE0-3503-40B7-97FF-3BBA5C4DD7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42D4FE-2A34-4C36-A765-CE00B9912A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DA4AB55-A4CD-400A-831B-870876DFDD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3032" y="210210"/>
            <a:ext cx="8631786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30B366EE-35A0-4779-A5D6-6B35B8697D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50568" y="1052513"/>
            <a:ext cx="3469957" cy="471770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Content Placeholder 7">
            <a:extLst>
              <a:ext uri="{FF2B5EF4-FFF2-40B4-BE49-F238E27FC236}">
                <a16:creationId xmlns:a16="http://schemas.microsoft.com/office/drawing/2014/main" id="{214ABF5A-147C-4980-B700-3A8C64606DC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0" y="1052513"/>
            <a:ext cx="8112661" cy="471770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576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44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äulen + F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45B2A81-20D5-4DCD-B2D5-0DD68492C0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3740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45B2A81-20D5-4DCD-B2D5-0DD68492C0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AA155B-CCB9-45EF-83E7-A4F386C3D5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46BAB9-04B4-4317-A1F0-FDDB9A1286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56EE890-29E0-44E4-9668-F68CDE7A61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9538" y="208338"/>
            <a:ext cx="8631786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9" name="Content Placeholder 7">
            <a:extLst>
              <a:ext uri="{FF2B5EF4-FFF2-40B4-BE49-F238E27FC236}">
                <a16:creationId xmlns:a16="http://schemas.microsoft.com/office/drawing/2014/main" id="{4E46B802-7A11-4132-902C-6A8E73CAE6F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225" y="4696691"/>
            <a:ext cx="2387743" cy="1073531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Content Placeholder 7">
            <a:extLst>
              <a:ext uri="{FF2B5EF4-FFF2-40B4-BE49-F238E27FC236}">
                <a16:creationId xmlns:a16="http://schemas.microsoft.com/office/drawing/2014/main" id="{8C88EDB6-B166-4ABB-BA7D-0E492F4665A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985646" y="4696691"/>
            <a:ext cx="2387743" cy="1073531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Content Placeholder 7">
            <a:extLst>
              <a:ext uri="{FF2B5EF4-FFF2-40B4-BE49-F238E27FC236}">
                <a16:creationId xmlns:a16="http://schemas.microsoft.com/office/drawing/2014/main" id="{61D25E78-0AEF-4E09-8B9A-9996BEE68EE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9060067" y="4696691"/>
            <a:ext cx="2387743" cy="1073531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1C5F30F-C9B7-4000-8B2D-22FCB12B188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1" y="1052513"/>
            <a:ext cx="4043159" cy="3461298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A4924A90-45F3-47AB-9B15-4F778FBE223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74420" y="1052513"/>
            <a:ext cx="4043159" cy="3461298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EE7A4228-1859-43D7-A855-F6BF17DA22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48841" y="1052513"/>
            <a:ext cx="4043159" cy="3461298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448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mi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11817AE-51ED-41E3-A690-ED26CAEA9D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4273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11817AE-51ED-41E3-A690-ED26CAEA9D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EC5787D-011E-416D-94DD-7B499E6E75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052513"/>
            <a:ext cx="12192000" cy="5805487"/>
          </a:xfrm>
          <a:solidFill>
            <a:schemeClr val="tx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A194230-98A5-4312-912D-7CAE3A9610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3033" y="210209"/>
            <a:ext cx="8619430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E5B1355D-DD05-472A-9160-73E5F49FBB8B}"/>
              </a:ext>
            </a:extLst>
          </p:cNvPr>
          <p:cNvGrpSpPr/>
          <p:nvPr userDrawn="1"/>
        </p:nvGrpSpPr>
        <p:grpSpPr>
          <a:xfrm>
            <a:off x="9809018" y="6114397"/>
            <a:ext cx="2022620" cy="422928"/>
            <a:chOff x="9809018" y="6114397"/>
            <a:chExt cx="2022620" cy="422928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BA0A10D1-360F-45ED-BB02-7489FB5422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66356" y="6115872"/>
              <a:ext cx="510226" cy="421453"/>
            </a:xfrm>
            <a:custGeom>
              <a:avLst/>
              <a:gdLst>
                <a:gd name="T0" fmla="*/ 318 w 1730"/>
                <a:gd name="T1" fmla="*/ 1429 h 1429"/>
                <a:gd name="T2" fmla="*/ 0 w 1730"/>
                <a:gd name="T3" fmla="*/ 1429 h 1429"/>
                <a:gd name="T4" fmla="*/ 721 w 1730"/>
                <a:gd name="T5" fmla="*/ 0 h 1429"/>
                <a:gd name="T6" fmla="*/ 1009 w 1730"/>
                <a:gd name="T7" fmla="*/ 0 h 1429"/>
                <a:gd name="T8" fmla="*/ 1730 w 1730"/>
                <a:gd name="T9" fmla="*/ 1429 h 1429"/>
                <a:gd name="T10" fmla="*/ 1405 w 1730"/>
                <a:gd name="T11" fmla="*/ 1429 h 1429"/>
                <a:gd name="T12" fmla="*/ 861 w 1730"/>
                <a:gd name="T13" fmla="*/ 376 h 1429"/>
                <a:gd name="T14" fmla="*/ 318 w 1730"/>
                <a:gd name="T15" fmla="*/ 1429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0" h="1429">
                  <a:moveTo>
                    <a:pt x="318" y="1429"/>
                  </a:moveTo>
                  <a:lnTo>
                    <a:pt x="0" y="1429"/>
                  </a:lnTo>
                  <a:lnTo>
                    <a:pt x="721" y="0"/>
                  </a:lnTo>
                  <a:lnTo>
                    <a:pt x="1009" y="0"/>
                  </a:lnTo>
                  <a:lnTo>
                    <a:pt x="1730" y="1429"/>
                  </a:lnTo>
                  <a:lnTo>
                    <a:pt x="1405" y="1429"/>
                  </a:lnTo>
                  <a:lnTo>
                    <a:pt x="861" y="376"/>
                  </a:lnTo>
                  <a:lnTo>
                    <a:pt x="318" y="14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Rectangle 6">
              <a:extLst>
                <a:ext uri="{FF2B5EF4-FFF2-40B4-BE49-F238E27FC236}">
                  <a16:creationId xmlns:a16="http://schemas.microsoft.com/office/drawing/2014/main" id="{1EAC1829-369D-48DB-A45E-C4A1D6F8F57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273043" y="6115872"/>
              <a:ext cx="14746" cy="11325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514FC642-3668-45C5-9273-50FCCA2586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0822" y="6115872"/>
              <a:ext cx="94967" cy="113253"/>
            </a:xfrm>
            <a:custGeom>
              <a:avLst/>
              <a:gdLst>
                <a:gd name="T0" fmla="*/ 0 w 136"/>
                <a:gd name="T1" fmla="*/ 161 h 161"/>
                <a:gd name="T2" fmla="*/ 0 w 136"/>
                <a:gd name="T3" fmla="*/ 0 h 161"/>
                <a:gd name="T4" fmla="*/ 20 w 136"/>
                <a:gd name="T5" fmla="*/ 0 h 161"/>
                <a:gd name="T6" fmla="*/ 88 w 136"/>
                <a:gd name="T7" fmla="*/ 90 h 161"/>
                <a:gd name="T8" fmla="*/ 116 w 136"/>
                <a:gd name="T9" fmla="*/ 127 h 161"/>
                <a:gd name="T10" fmla="*/ 116 w 136"/>
                <a:gd name="T11" fmla="*/ 127 h 161"/>
                <a:gd name="T12" fmla="*/ 116 w 136"/>
                <a:gd name="T13" fmla="*/ 81 h 161"/>
                <a:gd name="T14" fmla="*/ 116 w 136"/>
                <a:gd name="T15" fmla="*/ 0 h 161"/>
                <a:gd name="T16" fmla="*/ 136 w 136"/>
                <a:gd name="T17" fmla="*/ 0 h 161"/>
                <a:gd name="T18" fmla="*/ 136 w 136"/>
                <a:gd name="T19" fmla="*/ 161 h 161"/>
                <a:gd name="T20" fmla="*/ 116 w 136"/>
                <a:gd name="T21" fmla="*/ 161 h 161"/>
                <a:gd name="T22" fmla="*/ 49 w 136"/>
                <a:gd name="T23" fmla="*/ 72 h 161"/>
                <a:gd name="T24" fmla="*/ 21 w 136"/>
                <a:gd name="T25" fmla="*/ 34 h 161"/>
                <a:gd name="T26" fmla="*/ 20 w 136"/>
                <a:gd name="T27" fmla="*/ 34 h 161"/>
                <a:gd name="T28" fmla="*/ 21 w 136"/>
                <a:gd name="T29" fmla="*/ 80 h 161"/>
                <a:gd name="T30" fmla="*/ 21 w 136"/>
                <a:gd name="T31" fmla="*/ 161 h 161"/>
                <a:gd name="T32" fmla="*/ 0 w 136"/>
                <a:gd name="T33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61">
                  <a:moveTo>
                    <a:pt x="0" y="16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88" y="90"/>
                    <a:pt x="88" y="90"/>
                    <a:pt x="88" y="90"/>
                  </a:cubicBezTo>
                  <a:cubicBezTo>
                    <a:pt x="97" y="102"/>
                    <a:pt x="106" y="114"/>
                    <a:pt x="116" y="127"/>
                  </a:cubicBezTo>
                  <a:cubicBezTo>
                    <a:pt x="116" y="127"/>
                    <a:pt x="116" y="127"/>
                    <a:pt x="116" y="127"/>
                  </a:cubicBezTo>
                  <a:cubicBezTo>
                    <a:pt x="116" y="113"/>
                    <a:pt x="116" y="97"/>
                    <a:pt x="116" y="81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161"/>
                    <a:pt x="136" y="161"/>
                    <a:pt x="136" y="161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39" y="60"/>
                    <a:pt x="30" y="47"/>
                    <a:pt x="21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1" y="48"/>
                    <a:pt x="21" y="65"/>
                    <a:pt x="21" y="80"/>
                  </a:cubicBezTo>
                  <a:cubicBezTo>
                    <a:pt x="21" y="161"/>
                    <a:pt x="21" y="161"/>
                    <a:pt x="21" y="161"/>
                  </a:cubicBezTo>
                  <a:lnTo>
                    <a:pt x="0" y="16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614C5C17-9731-4A21-BE20-2AE052E5F0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6729" y="6115872"/>
              <a:ext cx="101750" cy="113253"/>
            </a:xfrm>
            <a:custGeom>
              <a:avLst/>
              <a:gdLst>
                <a:gd name="T0" fmla="*/ 0 w 145"/>
                <a:gd name="T1" fmla="*/ 0 h 161"/>
                <a:gd name="T2" fmla="*/ 23 w 145"/>
                <a:gd name="T3" fmla="*/ 0 h 161"/>
                <a:gd name="T4" fmla="*/ 57 w 145"/>
                <a:gd name="T5" fmla="*/ 90 h 161"/>
                <a:gd name="T6" fmla="*/ 73 w 145"/>
                <a:gd name="T7" fmla="*/ 133 h 161"/>
                <a:gd name="T8" fmla="*/ 73 w 145"/>
                <a:gd name="T9" fmla="*/ 133 h 161"/>
                <a:gd name="T10" fmla="*/ 89 w 145"/>
                <a:gd name="T11" fmla="*/ 90 h 161"/>
                <a:gd name="T12" fmla="*/ 124 w 145"/>
                <a:gd name="T13" fmla="*/ 0 h 161"/>
                <a:gd name="T14" fmla="*/ 145 w 145"/>
                <a:gd name="T15" fmla="*/ 0 h 161"/>
                <a:gd name="T16" fmla="*/ 84 w 145"/>
                <a:gd name="T17" fmla="*/ 161 h 161"/>
                <a:gd name="T18" fmla="*/ 62 w 145"/>
                <a:gd name="T19" fmla="*/ 161 h 161"/>
                <a:gd name="T20" fmla="*/ 0 w 145"/>
                <a:gd name="T21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5" h="161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62" y="104"/>
                    <a:pt x="67" y="118"/>
                    <a:pt x="73" y="133"/>
                  </a:cubicBezTo>
                  <a:cubicBezTo>
                    <a:pt x="73" y="133"/>
                    <a:pt x="73" y="133"/>
                    <a:pt x="73" y="133"/>
                  </a:cubicBezTo>
                  <a:cubicBezTo>
                    <a:pt x="79" y="118"/>
                    <a:pt x="84" y="104"/>
                    <a:pt x="89" y="9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84" y="161"/>
                    <a:pt x="84" y="161"/>
                    <a:pt x="84" y="161"/>
                  </a:cubicBezTo>
                  <a:cubicBezTo>
                    <a:pt x="62" y="161"/>
                    <a:pt x="62" y="161"/>
                    <a:pt x="62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875D6CEE-8A5C-4632-968D-932A5901A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60009" y="6115872"/>
              <a:ext cx="66654" cy="113253"/>
            </a:xfrm>
            <a:custGeom>
              <a:avLst/>
              <a:gdLst>
                <a:gd name="T0" fmla="*/ 0 w 226"/>
                <a:gd name="T1" fmla="*/ 0 h 384"/>
                <a:gd name="T2" fmla="*/ 221 w 226"/>
                <a:gd name="T3" fmla="*/ 0 h 384"/>
                <a:gd name="T4" fmla="*/ 221 w 226"/>
                <a:gd name="T5" fmla="*/ 45 h 384"/>
                <a:gd name="T6" fmla="*/ 50 w 226"/>
                <a:gd name="T7" fmla="*/ 45 h 384"/>
                <a:gd name="T8" fmla="*/ 50 w 226"/>
                <a:gd name="T9" fmla="*/ 162 h 384"/>
                <a:gd name="T10" fmla="*/ 199 w 226"/>
                <a:gd name="T11" fmla="*/ 162 h 384"/>
                <a:gd name="T12" fmla="*/ 199 w 226"/>
                <a:gd name="T13" fmla="*/ 207 h 384"/>
                <a:gd name="T14" fmla="*/ 50 w 226"/>
                <a:gd name="T15" fmla="*/ 207 h 384"/>
                <a:gd name="T16" fmla="*/ 50 w 226"/>
                <a:gd name="T17" fmla="*/ 338 h 384"/>
                <a:gd name="T18" fmla="*/ 226 w 226"/>
                <a:gd name="T19" fmla="*/ 338 h 384"/>
                <a:gd name="T20" fmla="*/ 226 w 226"/>
                <a:gd name="T21" fmla="*/ 384 h 384"/>
                <a:gd name="T22" fmla="*/ 0 w 226"/>
                <a:gd name="T23" fmla="*/ 384 h 384"/>
                <a:gd name="T24" fmla="*/ 0 w 226"/>
                <a:gd name="T25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" h="384">
                  <a:moveTo>
                    <a:pt x="0" y="0"/>
                  </a:moveTo>
                  <a:lnTo>
                    <a:pt x="221" y="0"/>
                  </a:lnTo>
                  <a:lnTo>
                    <a:pt x="221" y="45"/>
                  </a:lnTo>
                  <a:lnTo>
                    <a:pt x="50" y="45"/>
                  </a:lnTo>
                  <a:lnTo>
                    <a:pt x="50" y="162"/>
                  </a:lnTo>
                  <a:lnTo>
                    <a:pt x="199" y="162"/>
                  </a:lnTo>
                  <a:lnTo>
                    <a:pt x="199" y="207"/>
                  </a:lnTo>
                  <a:lnTo>
                    <a:pt x="50" y="207"/>
                  </a:lnTo>
                  <a:lnTo>
                    <a:pt x="50" y="338"/>
                  </a:lnTo>
                  <a:lnTo>
                    <a:pt x="226" y="338"/>
                  </a:lnTo>
                  <a:lnTo>
                    <a:pt x="226" y="384"/>
                  </a:lnTo>
                  <a:lnTo>
                    <a:pt x="0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A6DD66C5-B79D-4239-B301-865EE3CC39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50257" y="6114397"/>
              <a:ext cx="74322" cy="116792"/>
            </a:xfrm>
            <a:custGeom>
              <a:avLst/>
              <a:gdLst>
                <a:gd name="T0" fmla="*/ 4 w 106"/>
                <a:gd name="T1" fmla="*/ 130 h 166"/>
                <a:gd name="T2" fmla="*/ 52 w 106"/>
                <a:gd name="T3" fmla="*/ 146 h 166"/>
                <a:gd name="T4" fmla="*/ 85 w 106"/>
                <a:gd name="T5" fmla="*/ 120 h 166"/>
                <a:gd name="T6" fmla="*/ 45 w 106"/>
                <a:gd name="T7" fmla="*/ 90 h 166"/>
                <a:gd name="T8" fmla="*/ 0 w 106"/>
                <a:gd name="T9" fmla="*/ 45 h 166"/>
                <a:gd name="T10" fmla="*/ 52 w 106"/>
                <a:gd name="T11" fmla="*/ 0 h 166"/>
                <a:gd name="T12" fmla="*/ 99 w 106"/>
                <a:gd name="T13" fmla="*/ 12 h 166"/>
                <a:gd name="T14" fmla="*/ 99 w 106"/>
                <a:gd name="T15" fmla="*/ 34 h 166"/>
                <a:gd name="T16" fmla="*/ 52 w 106"/>
                <a:gd name="T17" fmla="*/ 19 h 166"/>
                <a:gd name="T18" fmla="*/ 21 w 106"/>
                <a:gd name="T19" fmla="*/ 43 h 166"/>
                <a:gd name="T20" fmla="*/ 59 w 106"/>
                <a:gd name="T21" fmla="*/ 72 h 166"/>
                <a:gd name="T22" fmla="*/ 106 w 106"/>
                <a:gd name="T23" fmla="*/ 119 h 166"/>
                <a:gd name="T24" fmla="*/ 52 w 106"/>
                <a:gd name="T25" fmla="*/ 166 h 166"/>
                <a:gd name="T26" fmla="*/ 4 w 106"/>
                <a:gd name="T27" fmla="*/ 153 h 166"/>
                <a:gd name="T28" fmla="*/ 4 w 106"/>
                <a:gd name="T29" fmla="*/ 13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6" h="166">
                  <a:moveTo>
                    <a:pt x="4" y="130"/>
                  </a:moveTo>
                  <a:cubicBezTo>
                    <a:pt x="19" y="141"/>
                    <a:pt x="38" y="146"/>
                    <a:pt x="52" y="146"/>
                  </a:cubicBezTo>
                  <a:cubicBezTo>
                    <a:pt x="71" y="146"/>
                    <a:pt x="85" y="138"/>
                    <a:pt x="85" y="120"/>
                  </a:cubicBezTo>
                  <a:cubicBezTo>
                    <a:pt x="85" y="99"/>
                    <a:pt x="66" y="96"/>
                    <a:pt x="45" y="90"/>
                  </a:cubicBezTo>
                  <a:cubicBezTo>
                    <a:pt x="22" y="83"/>
                    <a:pt x="0" y="74"/>
                    <a:pt x="0" y="45"/>
                  </a:cubicBezTo>
                  <a:cubicBezTo>
                    <a:pt x="0" y="16"/>
                    <a:pt x="21" y="0"/>
                    <a:pt x="52" y="0"/>
                  </a:cubicBezTo>
                  <a:cubicBezTo>
                    <a:pt x="67" y="0"/>
                    <a:pt x="86" y="4"/>
                    <a:pt x="99" y="12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84" y="24"/>
                    <a:pt x="66" y="19"/>
                    <a:pt x="52" y="19"/>
                  </a:cubicBezTo>
                  <a:cubicBezTo>
                    <a:pt x="34" y="19"/>
                    <a:pt x="21" y="27"/>
                    <a:pt x="21" y="43"/>
                  </a:cubicBezTo>
                  <a:cubicBezTo>
                    <a:pt x="21" y="63"/>
                    <a:pt x="40" y="67"/>
                    <a:pt x="59" y="72"/>
                  </a:cubicBezTo>
                  <a:cubicBezTo>
                    <a:pt x="83" y="79"/>
                    <a:pt x="106" y="88"/>
                    <a:pt x="106" y="119"/>
                  </a:cubicBezTo>
                  <a:cubicBezTo>
                    <a:pt x="106" y="148"/>
                    <a:pt x="84" y="166"/>
                    <a:pt x="52" y="166"/>
                  </a:cubicBezTo>
                  <a:cubicBezTo>
                    <a:pt x="37" y="166"/>
                    <a:pt x="18" y="161"/>
                    <a:pt x="4" y="153"/>
                  </a:cubicBezTo>
                  <a:lnTo>
                    <a:pt x="4" y="13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C62E8015-31FC-40BB-BF70-FCA99B5D17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35786" y="6115872"/>
              <a:ext cx="90248" cy="113253"/>
            </a:xfrm>
            <a:custGeom>
              <a:avLst/>
              <a:gdLst>
                <a:gd name="T0" fmla="*/ 128 w 306"/>
                <a:gd name="T1" fmla="*/ 45 h 384"/>
                <a:gd name="T2" fmla="*/ 0 w 306"/>
                <a:gd name="T3" fmla="*/ 45 h 384"/>
                <a:gd name="T4" fmla="*/ 0 w 306"/>
                <a:gd name="T5" fmla="*/ 0 h 384"/>
                <a:gd name="T6" fmla="*/ 306 w 306"/>
                <a:gd name="T7" fmla="*/ 0 h 384"/>
                <a:gd name="T8" fmla="*/ 306 w 306"/>
                <a:gd name="T9" fmla="*/ 45 h 384"/>
                <a:gd name="T10" fmla="*/ 178 w 306"/>
                <a:gd name="T11" fmla="*/ 45 h 384"/>
                <a:gd name="T12" fmla="*/ 178 w 306"/>
                <a:gd name="T13" fmla="*/ 384 h 384"/>
                <a:gd name="T14" fmla="*/ 128 w 306"/>
                <a:gd name="T15" fmla="*/ 384 h 384"/>
                <a:gd name="T16" fmla="*/ 128 w 306"/>
                <a:gd name="T17" fmla="*/ 45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6" h="384">
                  <a:moveTo>
                    <a:pt x="128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306" y="0"/>
                  </a:lnTo>
                  <a:lnTo>
                    <a:pt x="306" y="45"/>
                  </a:lnTo>
                  <a:lnTo>
                    <a:pt x="178" y="45"/>
                  </a:lnTo>
                  <a:lnTo>
                    <a:pt x="178" y="384"/>
                  </a:lnTo>
                  <a:lnTo>
                    <a:pt x="128" y="384"/>
                  </a:lnTo>
                  <a:lnTo>
                    <a:pt x="128" y="4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270D0C29-CCCB-4467-B960-D9AC772097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4066" y="6270414"/>
              <a:ext cx="153953" cy="113253"/>
            </a:xfrm>
            <a:custGeom>
              <a:avLst/>
              <a:gdLst>
                <a:gd name="T0" fmla="*/ 0 w 220"/>
                <a:gd name="T1" fmla="*/ 0 h 161"/>
                <a:gd name="T2" fmla="*/ 22 w 220"/>
                <a:gd name="T3" fmla="*/ 0 h 161"/>
                <a:gd name="T4" fmla="*/ 49 w 220"/>
                <a:gd name="T5" fmla="*/ 87 h 161"/>
                <a:gd name="T6" fmla="*/ 62 w 220"/>
                <a:gd name="T7" fmla="*/ 129 h 161"/>
                <a:gd name="T8" fmla="*/ 62 w 220"/>
                <a:gd name="T9" fmla="*/ 129 h 161"/>
                <a:gd name="T10" fmla="*/ 75 w 220"/>
                <a:gd name="T11" fmla="*/ 87 h 161"/>
                <a:gd name="T12" fmla="*/ 103 w 220"/>
                <a:gd name="T13" fmla="*/ 0 h 161"/>
                <a:gd name="T14" fmla="*/ 118 w 220"/>
                <a:gd name="T15" fmla="*/ 0 h 161"/>
                <a:gd name="T16" fmla="*/ 145 w 220"/>
                <a:gd name="T17" fmla="*/ 87 h 161"/>
                <a:gd name="T18" fmla="*/ 158 w 220"/>
                <a:gd name="T19" fmla="*/ 129 h 161"/>
                <a:gd name="T20" fmla="*/ 159 w 220"/>
                <a:gd name="T21" fmla="*/ 129 h 161"/>
                <a:gd name="T22" fmla="*/ 171 w 220"/>
                <a:gd name="T23" fmla="*/ 87 h 161"/>
                <a:gd name="T24" fmla="*/ 198 w 220"/>
                <a:gd name="T25" fmla="*/ 0 h 161"/>
                <a:gd name="T26" fmla="*/ 220 w 220"/>
                <a:gd name="T27" fmla="*/ 0 h 161"/>
                <a:gd name="T28" fmla="*/ 170 w 220"/>
                <a:gd name="T29" fmla="*/ 161 h 161"/>
                <a:gd name="T30" fmla="*/ 147 w 220"/>
                <a:gd name="T31" fmla="*/ 161 h 161"/>
                <a:gd name="T32" fmla="*/ 121 w 220"/>
                <a:gd name="T33" fmla="*/ 79 h 161"/>
                <a:gd name="T34" fmla="*/ 110 w 220"/>
                <a:gd name="T35" fmla="*/ 42 h 161"/>
                <a:gd name="T36" fmla="*/ 110 w 220"/>
                <a:gd name="T37" fmla="*/ 42 h 161"/>
                <a:gd name="T38" fmla="*/ 98 w 220"/>
                <a:gd name="T39" fmla="*/ 79 h 161"/>
                <a:gd name="T40" fmla="*/ 73 w 220"/>
                <a:gd name="T41" fmla="*/ 161 h 161"/>
                <a:gd name="T42" fmla="*/ 50 w 220"/>
                <a:gd name="T43" fmla="*/ 161 h 161"/>
                <a:gd name="T44" fmla="*/ 0 w 220"/>
                <a:gd name="T45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0" h="161">
                  <a:moveTo>
                    <a:pt x="0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54" y="101"/>
                    <a:pt x="58" y="115"/>
                    <a:pt x="62" y="129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66" y="115"/>
                    <a:pt x="71" y="101"/>
                    <a:pt x="75" y="87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45" y="87"/>
                    <a:pt x="145" y="87"/>
                    <a:pt x="145" y="87"/>
                  </a:cubicBezTo>
                  <a:cubicBezTo>
                    <a:pt x="150" y="101"/>
                    <a:pt x="154" y="115"/>
                    <a:pt x="158" y="129"/>
                  </a:cubicBezTo>
                  <a:cubicBezTo>
                    <a:pt x="159" y="129"/>
                    <a:pt x="159" y="129"/>
                    <a:pt x="159" y="129"/>
                  </a:cubicBezTo>
                  <a:cubicBezTo>
                    <a:pt x="163" y="115"/>
                    <a:pt x="167" y="101"/>
                    <a:pt x="171" y="87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170" y="161"/>
                    <a:pt x="170" y="161"/>
                    <a:pt x="170" y="161"/>
                  </a:cubicBezTo>
                  <a:cubicBezTo>
                    <a:pt x="147" y="161"/>
                    <a:pt x="147" y="161"/>
                    <a:pt x="147" y="161"/>
                  </a:cubicBezTo>
                  <a:cubicBezTo>
                    <a:pt x="121" y="79"/>
                    <a:pt x="121" y="79"/>
                    <a:pt x="121" y="79"/>
                  </a:cubicBezTo>
                  <a:cubicBezTo>
                    <a:pt x="117" y="66"/>
                    <a:pt x="114" y="54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06" y="54"/>
                    <a:pt x="102" y="67"/>
                    <a:pt x="98" y="79"/>
                  </a:cubicBezTo>
                  <a:cubicBezTo>
                    <a:pt x="73" y="161"/>
                    <a:pt x="73" y="161"/>
                    <a:pt x="73" y="161"/>
                  </a:cubicBezTo>
                  <a:cubicBezTo>
                    <a:pt x="50" y="161"/>
                    <a:pt x="50" y="161"/>
                    <a:pt x="50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5C85FB6A-2060-4D3C-ABA7-7A9AAF53A57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490111" y="6268940"/>
              <a:ext cx="114727" cy="115907"/>
            </a:xfrm>
            <a:custGeom>
              <a:avLst/>
              <a:gdLst>
                <a:gd name="T0" fmla="*/ 82 w 164"/>
                <a:gd name="T1" fmla="*/ 0 h 165"/>
                <a:gd name="T2" fmla="*/ 164 w 164"/>
                <a:gd name="T3" fmla="*/ 82 h 165"/>
                <a:gd name="T4" fmla="*/ 82 w 164"/>
                <a:gd name="T5" fmla="*/ 165 h 165"/>
                <a:gd name="T6" fmla="*/ 0 w 164"/>
                <a:gd name="T7" fmla="*/ 82 h 165"/>
                <a:gd name="T8" fmla="*/ 82 w 164"/>
                <a:gd name="T9" fmla="*/ 0 h 165"/>
                <a:gd name="T10" fmla="*/ 82 w 164"/>
                <a:gd name="T11" fmla="*/ 146 h 165"/>
                <a:gd name="T12" fmla="*/ 143 w 164"/>
                <a:gd name="T13" fmla="*/ 82 h 165"/>
                <a:gd name="T14" fmla="*/ 82 w 164"/>
                <a:gd name="T15" fmla="*/ 19 h 165"/>
                <a:gd name="T16" fmla="*/ 22 w 164"/>
                <a:gd name="T17" fmla="*/ 82 h 165"/>
                <a:gd name="T18" fmla="*/ 82 w 164"/>
                <a:gd name="T19" fmla="*/ 146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5">
                  <a:moveTo>
                    <a:pt x="82" y="0"/>
                  </a:moveTo>
                  <a:cubicBezTo>
                    <a:pt x="129" y="0"/>
                    <a:pt x="164" y="36"/>
                    <a:pt x="164" y="82"/>
                  </a:cubicBezTo>
                  <a:cubicBezTo>
                    <a:pt x="164" y="129"/>
                    <a:pt x="129" y="165"/>
                    <a:pt x="82" y="165"/>
                  </a:cubicBezTo>
                  <a:cubicBezTo>
                    <a:pt x="36" y="165"/>
                    <a:pt x="0" y="129"/>
                    <a:pt x="0" y="82"/>
                  </a:cubicBezTo>
                  <a:cubicBezTo>
                    <a:pt x="0" y="36"/>
                    <a:pt x="36" y="0"/>
                    <a:pt x="82" y="0"/>
                  </a:cubicBezTo>
                  <a:close/>
                  <a:moveTo>
                    <a:pt x="82" y="146"/>
                  </a:moveTo>
                  <a:cubicBezTo>
                    <a:pt x="117" y="146"/>
                    <a:pt x="143" y="118"/>
                    <a:pt x="143" y="82"/>
                  </a:cubicBezTo>
                  <a:cubicBezTo>
                    <a:pt x="143" y="47"/>
                    <a:pt x="117" y="19"/>
                    <a:pt x="82" y="19"/>
                  </a:cubicBezTo>
                  <a:cubicBezTo>
                    <a:pt x="47" y="19"/>
                    <a:pt x="22" y="47"/>
                    <a:pt x="22" y="82"/>
                  </a:cubicBezTo>
                  <a:cubicBezTo>
                    <a:pt x="22" y="118"/>
                    <a:pt x="47" y="146"/>
                    <a:pt x="82" y="14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3E341B19-7C32-4D70-9632-114537945E2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631382" y="6270414"/>
              <a:ext cx="86119" cy="113253"/>
            </a:xfrm>
            <a:custGeom>
              <a:avLst/>
              <a:gdLst>
                <a:gd name="T0" fmla="*/ 0 w 123"/>
                <a:gd name="T1" fmla="*/ 0 h 161"/>
                <a:gd name="T2" fmla="*/ 43 w 123"/>
                <a:gd name="T3" fmla="*/ 0 h 161"/>
                <a:gd name="T4" fmla="*/ 88 w 123"/>
                <a:gd name="T5" fmla="*/ 8 h 161"/>
                <a:gd name="T6" fmla="*/ 111 w 123"/>
                <a:gd name="T7" fmla="*/ 46 h 161"/>
                <a:gd name="T8" fmla="*/ 90 w 123"/>
                <a:gd name="T9" fmla="*/ 83 h 161"/>
                <a:gd name="T10" fmla="*/ 71 w 123"/>
                <a:gd name="T11" fmla="*/ 90 h 161"/>
                <a:gd name="T12" fmla="*/ 123 w 123"/>
                <a:gd name="T13" fmla="*/ 161 h 161"/>
                <a:gd name="T14" fmla="*/ 97 w 123"/>
                <a:gd name="T15" fmla="*/ 161 h 161"/>
                <a:gd name="T16" fmla="*/ 48 w 123"/>
                <a:gd name="T17" fmla="*/ 92 h 161"/>
                <a:gd name="T18" fmla="*/ 21 w 123"/>
                <a:gd name="T19" fmla="*/ 92 h 161"/>
                <a:gd name="T20" fmla="*/ 21 w 123"/>
                <a:gd name="T21" fmla="*/ 161 h 161"/>
                <a:gd name="T22" fmla="*/ 0 w 123"/>
                <a:gd name="T23" fmla="*/ 161 h 161"/>
                <a:gd name="T24" fmla="*/ 0 w 123"/>
                <a:gd name="T25" fmla="*/ 0 h 161"/>
                <a:gd name="T26" fmla="*/ 48 w 123"/>
                <a:gd name="T27" fmla="*/ 75 h 161"/>
                <a:gd name="T28" fmla="*/ 80 w 123"/>
                <a:gd name="T29" fmla="*/ 67 h 161"/>
                <a:gd name="T30" fmla="*/ 89 w 123"/>
                <a:gd name="T31" fmla="*/ 47 h 161"/>
                <a:gd name="T32" fmla="*/ 76 w 123"/>
                <a:gd name="T33" fmla="*/ 25 h 161"/>
                <a:gd name="T34" fmla="*/ 42 w 123"/>
                <a:gd name="T35" fmla="*/ 19 h 161"/>
                <a:gd name="T36" fmla="*/ 21 w 123"/>
                <a:gd name="T37" fmla="*/ 19 h 161"/>
                <a:gd name="T38" fmla="*/ 21 w 123"/>
                <a:gd name="T39" fmla="*/ 75 h 161"/>
                <a:gd name="T40" fmla="*/ 48 w 123"/>
                <a:gd name="T41" fmla="*/ 75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3" h="161">
                  <a:moveTo>
                    <a:pt x="0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60" y="0"/>
                    <a:pt x="75" y="1"/>
                    <a:pt x="88" y="8"/>
                  </a:cubicBezTo>
                  <a:cubicBezTo>
                    <a:pt x="102" y="15"/>
                    <a:pt x="111" y="28"/>
                    <a:pt x="111" y="46"/>
                  </a:cubicBezTo>
                  <a:cubicBezTo>
                    <a:pt x="111" y="63"/>
                    <a:pt x="102" y="76"/>
                    <a:pt x="90" y="83"/>
                  </a:cubicBezTo>
                  <a:cubicBezTo>
                    <a:pt x="84" y="87"/>
                    <a:pt x="78" y="89"/>
                    <a:pt x="71" y="90"/>
                  </a:cubicBezTo>
                  <a:cubicBezTo>
                    <a:pt x="123" y="161"/>
                    <a:pt x="123" y="161"/>
                    <a:pt x="123" y="161"/>
                  </a:cubicBezTo>
                  <a:cubicBezTo>
                    <a:pt x="97" y="161"/>
                    <a:pt x="97" y="161"/>
                    <a:pt x="97" y="161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0" y="161"/>
                    <a:pt x="0" y="161"/>
                    <a:pt x="0" y="161"/>
                  </a:cubicBezTo>
                  <a:lnTo>
                    <a:pt x="0" y="0"/>
                  </a:lnTo>
                  <a:close/>
                  <a:moveTo>
                    <a:pt x="48" y="75"/>
                  </a:moveTo>
                  <a:cubicBezTo>
                    <a:pt x="63" y="75"/>
                    <a:pt x="73" y="73"/>
                    <a:pt x="80" y="67"/>
                  </a:cubicBezTo>
                  <a:cubicBezTo>
                    <a:pt x="86" y="63"/>
                    <a:pt x="89" y="56"/>
                    <a:pt x="89" y="47"/>
                  </a:cubicBezTo>
                  <a:cubicBezTo>
                    <a:pt x="89" y="37"/>
                    <a:pt x="85" y="29"/>
                    <a:pt x="76" y="25"/>
                  </a:cubicBezTo>
                  <a:cubicBezTo>
                    <a:pt x="68" y="20"/>
                    <a:pt x="57" y="19"/>
                    <a:pt x="42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75"/>
                    <a:pt x="21" y="75"/>
                    <a:pt x="21" y="75"/>
                  </a:cubicBezTo>
                  <a:lnTo>
                    <a:pt x="48" y="7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15">
              <a:extLst>
                <a:ext uri="{FF2B5EF4-FFF2-40B4-BE49-F238E27FC236}">
                  <a16:creationId xmlns:a16="http://schemas.microsoft.com/office/drawing/2014/main" id="{42A3DF8E-CBD0-4160-8CA0-10BD54FA60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44929" y="6270414"/>
              <a:ext cx="86709" cy="113253"/>
            </a:xfrm>
            <a:custGeom>
              <a:avLst/>
              <a:gdLst>
                <a:gd name="T0" fmla="*/ 0 w 294"/>
                <a:gd name="T1" fmla="*/ 0 h 384"/>
                <a:gd name="T2" fmla="*/ 49 w 294"/>
                <a:gd name="T3" fmla="*/ 0 h 384"/>
                <a:gd name="T4" fmla="*/ 49 w 294"/>
                <a:gd name="T5" fmla="*/ 174 h 384"/>
                <a:gd name="T6" fmla="*/ 49 w 294"/>
                <a:gd name="T7" fmla="*/ 174 h 384"/>
                <a:gd name="T8" fmla="*/ 216 w 294"/>
                <a:gd name="T9" fmla="*/ 0 h 384"/>
                <a:gd name="T10" fmla="*/ 280 w 294"/>
                <a:gd name="T11" fmla="*/ 0 h 384"/>
                <a:gd name="T12" fmla="*/ 106 w 294"/>
                <a:gd name="T13" fmla="*/ 179 h 384"/>
                <a:gd name="T14" fmla="*/ 294 w 294"/>
                <a:gd name="T15" fmla="*/ 384 h 384"/>
                <a:gd name="T16" fmla="*/ 227 w 294"/>
                <a:gd name="T17" fmla="*/ 384 h 384"/>
                <a:gd name="T18" fmla="*/ 49 w 294"/>
                <a:gd name="T19" fmla="*/ 186 h 384"/>
                <a:gd name="T20" fmla="*/ 49 w 294"/>
                <a:gd name="T21" fmla="*/ 186 h 384"/>
                <a:gd name="T22" fmla="*/ 49 w 294"/>
                <a:gd name="T23" fmla="*/ 384 h 384"/>
                <a:gd name="T24" fmla="*/ 0 w 294"/>
                <a:gd name="T25" fmla="*/ 384 h 384"/>
                <a:gd name="T26" fmla="*/ 0 w 294"/>
                <a:gd name="T27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384">
                  <a:moveTo>
                    <a:pt x="0" y="0"/>
                  </a:moveTo>
                  <a:lnTo>
                    <a:pt x="49" y="0"/>
                  </a:lnTo>
                  <a:lnTo>
                    <a:pt x="49" y="174"/>
                  </a:lnTo>
                  <a:lnTo>
                    <a:pt x="49" y="174"/>
                  </a:lnTo>
                  <a:lnTo>
                    <a:pt x="216" y="0"/>
                  </a:lnTo>
                  <a:lnTo>
                    <a:pt x="280" y="0"/>
                  </a:lnTo>
                  <a:lnTo>
                    <a:pt x="106" y="179"/>
                  </a:lnTo>
                  <a:lnTo>
                    <a:pt x="294" y="384"/>
                  </a:lnTo>
                  <a:lnTo>
                    <a:pt x="227" y="384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384"/>
                  </a:lnTo>
                  <a:lnTo>
                    <a:pt x="0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16">
              <a:extLst>
                <a:ext uri="{FF2B5EF4-FFF2-40B4-BE49-F238E27FC236}">
                  <a16:creationId xmlns:a16="http://schemas.microsoft.com/office/drawing/2014/main" id="{A60C034D-DF67-477E-9F05-077DAEC6E2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67106" y="6424367"/>
              <a:ext cx="66359" cy="112958"/>
            </a:xfrm>
            <a:custGeom>
              <a:avLst/>
              <a:gdLst>
                <a:gd name="T0" fmla="*/ 0 w 225"/>
                <a:gd name="T1" fmla="*/ 0 h 383"/>
                <a:gd name="T2" fmla="*/ 225 w 225"/>
                <a:gd name="T3" fmla="*/ 0 h 383"/>
                <a:gd name="T4" fmla="*/ 225 w 225"/>
                <a:gd name="T5" fmla="*/ 45 h 383"/>
                <a:gd name="T6" fmla="*/ 49 w 225"/>
                <a:gd name="T7" fmla="*/ 45 h 383"/>
                <a:gd name="T8" fmla="*/ 49 w 225"/>
                <a:gd name="T9" fmla="*/ 169 h 383"/>
                <a:gd name="T10" fmla="*/ 204 w 225"/>
                <a:gd name="T11" fmla="*/ 169 h 383"/>
                <a:gd name="T12" fmla="*/ 204 w 225"/>
                <a:gd name="T13" fmla="*/ 214 h 383"/>
                <a:gd name="T14" fmla="*/ 49 w 225"/>
                <a:gd name="T15" fmla="*/ 214 h 383"/>
                <a:gd name="T16" fmla="*/ 49 w 225"/>
                <a:gd name="T17" fmla="*/ 383 h 383"/>
                <a:gd name="T18" fmla="*/ 0 w 225"/>
                <a:gd name="T19" fmla="*/ 383 h 383"/>
                <a:gd name="T20" fmla="*/ 0 w 225"/>
                <a:gd name="T21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5" h="383">
                  <a:moveTo>
                    <a:pt x="0" y="0"/>
                  </a:moveTo>
                  <a:lnTo>
                    <a:pt x="225" y="0"/>
                  </a:lnTo>
                  <a:lnTo>
                    <a:pt x="225" y="45"/>
                  </a:lnTo>
                  <a:lnTo>
                    <a:pt x="49" y="45"/>
                  </a:lnTo>
                  <a:lnTo>
                    <a:pt x="49" y="169"/>
                  </a:lnTo>
                  <a:lnTo>
                    <a:pt x="204" y="169"/>
                  </a:lnTo>
                  <a:lnTo>
                    <a:pt x="204" y="214"/>
                  </a:lnTo>
                  <a:lnTo>
                    <a:pt x="49" y="214"/>
                  </a:lnTo>
                  <a:lnTo>
                    <a:pt x="49" y="383"/>
                  </a:lnTo>
                  <a:lnTo>
                    <a:pt x="0" y="3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Rectangle 17">
              <a:extLst>
                <a:ext uri="{FF2B5EF4-FFF2-40B4-BE49-F238E27FC236}">
                  <a16:creationId xmlns:a16="http://schemas.microsoft.com/office/drawing/2014/main" id="{D61A07B3-BEDD-45ED-889D-F939DCA5D70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565023" y="6424367"/>
              <a:ext cx="14746" cy="11295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18">
              <a:extLst>
                <a:ext uri="{FF2B5EF4-FFF2-40B4-BE49-F238E27FC236}">
                  <a16:creationId xmlns:a16="http://schemas.microsoft.com/office/drawing/2014/main" id="{BB0A61BA-4742-4090-A0CE-F9A6537B11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15455" y="6424367"/>
              <a:ext cx="67834" cy="112958"/>
            </a:xfrm>
            <a:custGeom>
              <a:avLst/>
              <a:gdLst>
                <a:gd name="T0" fmla="*/ 0 w 230"/>
                <a:gd name="T1" fmla="*/ 0 h 383"/>
                <a:gd name="T2" fmla="*/ 49 w 230"/>
                <a:gd name="T3" fmla="*/ 0 h 383"/>
                <a:gd name="T4" fmla="*/ 49 w 230"/>
                <a:gd name="T5" fmla="*/ 338 h 383"/>
                <a:gd name="T6" fmla="*/ 230 w 230"/>
                <a:gd name="T7" fmla="*/ 338 h 383"/>
                <a:gd name="T8" fmla="*/ 230 w 230"/>
                <a:gd name="T9" fmla="*/ 383 h 383"/>
                <a:gd name="T10" fmla="*/ 0 w 230"/>
                <a:gd name="T11" fmla="*/ 383 h 383"/>
                <a:gd name="T12" fmla="*/ 0 w 230"/>
                <a:gd name="T13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0" h="383">
                  <a:moveTo>
                    <a:pt x="0" y="0"/>
                  </a:moveTo>
                  <a:lnTo>
                    <a:pt x="49" y="0"/>
                  </a:lnTo>
                  <a:lnTo>
                    <a:pt x="49" y="338"/>
                  </a:lnTo>
                  <a:lnTo>
                    <a:pt x="230" y="338"/>
                  </a:lnTo>
                  <a:lnTo>
                    <a:pt x="230" y="383"/>
                  </a:lnTo>
                  <a:lnTo>
                    <a:pt x="0" y="3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19">
              <a:extLst>
                <a:ext uri="{FF2B5EF4-FFF2-40B4-BE49-F238E27FC236}">
                  <a16:creationId xmlns:a16="http://schemas.microsoft.com/office/drawing/2014/main" id="{DC4A937F-B0EC-41AA-B2F9-149C9CDB35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08358" y="6424367"/>
              <a:ext cx="108534" cy="112958"/>
            </a:xfrm>
            <a:custGeom>
              <a:avLst/>
              <a:gdLst>
                <a:gd name="T0" fmla="*/ 42 w 155"/>
                <a:gd name="T1" fmla="*/ 67 h 161"/>
                <a:gd name="T2" fmla="*/ 20 w 155"/>
                <a:gd name="T3" fmla="*/ 35 h 161"/>
                <a:gd name="T4" fmla="*/ 20 w 155"/>
                <a:gd name="T5" fmla="*/ 36 h 161"/>
                <a:gd name="T6" fmla="*/ 20 w 155"/>
                <a:gd name="T7" fmla="*/ 71 h 161"/>
                <a:gd name="T8" fmla="*/ 20 w 155"/>
                <a:gd name="T9" fmla="*/ 161 h 161"/>
                <a:gd name="T10" fmla="*/ 0 w 155"/>
                <a:gd name="T11" fmla="*/ 161 h 161"/>
                <a:gd name="T12" fmla="*/ 0 w 155"/>
                <a:gd name="T13" fmla="*/ 0 h 161"/>
                <a:gd name="T14" fmla="*/ 20 w 155"/>
                <a:gd name="T15" fmla="*/ 0 h 161"/>
                <a:gd name="T16" fmla="*/ 78 w 155"/>
                <a:gd name="T17" fmla="*/ 82 h 161"/>
                <a:gd name="T18" fmla="*/ 135 w 155"/>
                <a:gd name="T19" fmla="*/ 0 h 161"/>
                <a:gd name="T20" fmla="*/ 155 w 155"/>
                <a:gd name="T21" fmla="*/ 0 h 161"/>
                <a:gd name="T22" fmla="*/ 155 w 155"/>
                <a:gd name="T23" fmla="*/ 161 h 161"/>
                <a:gd name="T24" fmla="*/ 134 w 155"/>
                <a:gd name="T25" fmla="*/ 161 h 161"/>
                <a:gd name="T26" fmla="*/ 134 w 155"/>
                <a:gd name="T27" fmla="*/ 71 h 161"/>
                <a:gd name="T28" fmla="*/ 134 w 155"/>
                <a:gd name="T29" fmla="*/ 36 h 161"/>
                <a:gd name="T30" fmla="*/ 134 w 155"/>
                <a:gd name="T31" fmla="*/ 35 h 161"/>
                <a:gd name="T32" fmla="*/ 112 w 155"/>
                <a:gd name="T33" fmla="*/ 67 h 161"/>
                <a:gd name="T34" fmla="*/ 77 w 155"/>
                <a:gd name="T35" fmla="*/ 117 h 161"/>
                <a:gd name="T36" fmla="*/ 42 w 155"/>
                <a:gd name="T37" fmla="*/ 6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61">
                  <a:moveTo>
                    <a:pt x="42" y="67"/>
                  </a:moveTo>
                  <a:cubicBezTo>
                    <a:pt x="35" y="57"/>
                    <a:pt x="28" y="46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45"/>
                    <a:pt x="20" y="57"/>
                    <a:pt x="20" y="71"/>
                  </a:cubicBezTo>
                  <a:cubicBezTo>
                    <a:pt x="20" y="161"/>
                    <a:pt x="20" y="161"/>
                    <a:pt x="2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5" y="161"/>
                    <a:pt x="155" y="161"/>
                    <a:pt x="155" y="161"/>
                  </a:cubicBezTo>
                  <a:cubicBezTo>
                    <a:pt x="134" y="161"/>
                    <a:pt x="134" y="161"/>
                    <a:pt x="134" y="161"/>
                  </a:cubicBezTo>
                  <a:cubicBezTo>
                    <a:pt x="134" y="71"/>
                    <a:pt x="134" y="71"/>
                    <a:pt x="134" y="71"/>
                  </a:cubicBezTo>
                  <a:cubicBezTo>
                    <a:pt x="134" y="57"/>
                    <a:pt x="134" y="45"/>
                    <a:pt x="134" y="36"/>
                  </a:cubicBezTo>
                  <a:cubicBezTo>
                    <a:pt x="134" y="35"/>
                    <a:pt x="134" y="35"/>
                    <a:pt x="134" y="35"/>
                  </a:cubicBezTo>
                  <a:cubicBezTo>
                    <a:pt x="127" y="46"/>
                    <a:pt x="120" y="57"/>
                    <a:pt x="112" y="67"/>
                  </a:cubicBezTo>
                  <a:cubicBezTo>
                    <a:pt x="77" y="117"/>
                    <a:pt x="77" y="117"/>
                    <a:pt x="77" y="117"/>
                  </a:cubicBezTo>
                  <a:lnTo>
                    <a:pt x="42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20">
              <a:extLst>
                <a:ext uri="{FF2B5EF4-FFF2-40B4-BE49-F238E27FC236}">
                  <a16:creationId xmlns:a16="http://schemas.microsoft.com/office/drawing/2014/main" id="{EACB37AB-5CE8-42A6-AC6B-0D64CC6B82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9018" y="6115872"/>
              <a:ext cx="510226" cy="421453"/>
            </a:xfrm>
            <a:custGeom>
              <a:avLst/>
              <a:gdLst>
                <a:gd name="T0" fmla="*/ 318 w 1730"/>
                <a:gd name="T1" fmla="*/ 1429 h 1429"/>
                <a:gd name="T2" fmla="*/ 0 w 1730"/>
                <a:gd name="T3" fmla="*/ 1429 h 1429"/>
                <a:gd name="T4" fmla="*/ 721 w 1730"/>
                <a:gd name="T5" fmla="*/ 0 h 1429"/>
                <a:gd name="T6" fmla="*/ 1008 w 1730"/>
                <a:gd name="T7" fmla="*/ 0 h 1429"/>
                <a:gd name="T8" fmla="*/ 1730 w 1730"/>
                <a:gd name="T9" fmla="*/ 1429 h 1429"/>
                <a:gd name="T10" fmla="*/ 1404 w 1730"/>
                <a:gd name="T11" fmla="*/ 1429 h 1429"/>
                <a:gd name="T12" fmla="*/ 861 w 1730"/>
                <a:gd name="T13" fmla="*/ 376 h 1429"/>
                <a:gd name="T14" fmla="*/ 318 w 1730"/>
                <a:gd name="T15" fmla="*/ 1429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0" h="1429">
                  <a:moveTo>
                    <a:pt x="318" y="1429"/>
                  </a:moveTo>
                  <a:lnTo>
                    <a:pt x="0" y="1429"/>
                  </a:lnTo>
                  <a:lnTo>
                    <a:pt x="721" y="0"/>
                  </a:lnTo>
                  <a:lnTo>
                    <a:pt x="1008" y="0"/>
                  </a:lnTo>
                  <a:lnTo>
                    <a:pt x="1730" y="1429"/>
                  </a:lnTo>
                  <a:lnTo>
                    <a:pt x="1404" y="1429"/>
                  </a:lnTo>
                  <a:lnTo>
                    <a:pt x="861" y="376"/>
                  </a:lnTo>
                  <a:lnTo>
                    <a:pt x="318" y="14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21">
              <a:extLst>
                <a:ext uri="{FF2B5EF4-FFF2-40B4-BE49-F238E27FC236}">
                  <a16:creationId xmlns:a16="http://schemas.microsoft.com/office/drawing/2014/main" id="{C8583E7B-E3FF-45F1-B456-440DDD8928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82949" y="6118821"/>
              <a:ext cx="353914" cy="418504"/>
            </a:xfrm>
            <a:custGeom>
              <a:avLst/>
              <a:gdLst>
                <a:gd name="T0" fmla="*/ 0 w 506"/>
                <a:gd name="T1" fmla="*/ 596 h 596"/>
                <a:gd name="T2" fmla="*/ 74 w 506"/>
                <a:gd name="T3" fmla="*/ 596 h 596"/>
                <a:gd name="T4" fmla="*/ 127 w 506"/>
                <a:gd name="T5" fmla="*/ 596 h 596"/>
                <a:gd name="T6" fmla="*/ 283 w 506"/>
                <a:gd name="T7" fmla="*/ 596 h 596"/>
                <a:gd name="T8" fmla="*/ 506 w 506"/>
                <a:gd name="T9" fmla="*/ 433 h 596"/>
                <a:gd name="T10" fmla="*/ 395 w 506"/>
                <a:gd name="T11" fmla="*/ 285 h 596"/>
                <a:gd name="T12" fmla="*/ 473 w 506"/>
                <a:gd name="T13" fmla="*/ 156 h 596"/>
                <a:gd name="T14" fmla="*/ 432 w 506"/>
                <a:gd name="T15" fmla="*/ 53 h 596"/>
                <a:gd name="T16" fmla="*/ 276 w 506"/>
                <a:gd name="T17" fmla="*/ 0 h 596"/>
                <a:gd name="T18" fmla="*/ 0 w 506"/>
                <a:gd name="T19" fmla="*/ 0 h 596"/>
                <a:gd name="T20" fmla="*/ 0 w 506"/>
                <a:gd name="T21" fmla="*/ 115 h 596"/>
                <a:gd name="T22" fmla="*/ 257 w 506"/>
                <a:gd name="T23" fmla="*/ 115 h 596"/>
                <a:gd name="T24" fmla="*/ 343 w 506"/>
                <a:gd name="T25" fmla="*/ 177 h 596"/>
                <a:gd name="T26" fmla="*/ 248 w 506"/>
                <a:gd name="T27" fmla="*/ 241 h 596"/>
                <a:gd name="T28" fmla="*/ 0 w 506"/>
                <a:gd name="T29" fmla="*/ 241 h 596"/>
                <a:gd name="T30" fmla="*/ 0 w 506"/>
                <a:gd name="T31" fmla="*/ 596 h 596"/>
                <a:gd name="T32" fmla="*/ 283 w 506"/>
                <a:gd name="T33" fmla="*/ 481 h 596"/>
                <a:gd name="T34" fmla="*/ 127 w 506"/>
                <a:gd name="T35" fmla="*/ 481 h 596"/>
                <a:gd name="T36" fmla="*/ 127 w 506"/>
                <a:gd name="T37" fmla="*/ 350 h 596"/>
                <a:gd name="T38" fmla="*/ 279 w 506"/>
                <a:gd name="T39" fmla="*/ 350 h 596"/>
                <a:gd name="T40" fmla="*/ 376 w 506"/>
                <a:gd name="T41" fmla="*/ 415 h 596"/>
                <a:gd name="T42" fmla="*/ 283 w 506"/>
                <a:gd name="T43" fmla="*/ 481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06" h="596">
                  <a:moveTo>
                    <a:pt x="0" y="596"/>
                  </a:moveTo>
                  <a:cubicBezTo>
                    <a:pt x="74" y="596"/>
                    <a:pt x="74" y="596"/>
                    <a:pt x="74" y="596"/>
                  </a:cubicBezTo>
                  <a:cubicBezTo>
                    <a:pt x="127" y="596"/>
                    <a:pt x="127" y="596"/>
                    <a:pt x="127" y="596"/>
                  </a:cubicBezTo>
                  <a:cubicBezTo>
                    <a:pt x="283" y="596"/>
                    <a:pt x="283" y="596"/>
                    <a:pt x="283" y="596"/>
                  </a:cubicBezTo>
                  <a:cubicBezTo>
                    <a:pt x="418" y="596"/>
                    <a:pt x="506" y="542"/>
                    <a:pt x="506" y="433"/>
                  </a:cubicBezTo>
                  <a:cubicBezTo>
                    <a:pt x="506" y="351"/>
                    <a:pt x="464" y="311"/>
                    <a:pt x="395" y="285"/>
                  </a:cubicBezTo>
                  <a:cubicBezTo>
                    <a:pt x="437" y="261"/>
                    <a:pt x="473" y="223"/>
                    <a:pt x="473" y="156"/>
                  </a:cubicBezTo>
                  <a:cubicBezTo>
                    <a:pt x="473" y="114"/>
                    <a:pt x="459" y="80"/>
                    <a:pt x="432" y="53"/>
                  </a:cubicBezTo>
                  <a:cubicBezTo>
                    <a:pt x="398" y="19"/>
                    <a:pt x="344" y="0"/>
                    <a:pt x="27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257" y="115"/>
                    <a:pt x="257" y="115"/>
                    <a:pt x="257" y="115"/>
                  </a:cubicBezTo>
                  <a:cubicBezTo>
                    <a:pt x="312" y="115"/>
                    <a:pt x="343" y="137"/>
                    <a:pt x="343" y="177"/>
                  </a:cubicBezTo>
                  <a:cubicBezTo>
                    <a:pt x="343" y="222"/>
                    <a:pt x="306" y="241"/>
                    <a:pt x="248" y="241"/>
                  </a:cubicBezTo>
                  <a:cubicBezTo>
                    <a:pt x="0" y="241"/>
                    <a:pt x="0" y="241"/>
                    <a:pt x="0" y="241"/>
                  </a:cubicBezTo>
                  <a:lnTo>
                    <a:pt x="0" y="596"/>
                  </a:lnTo>
                  <a:close/>
                  <a:moveTo>
                    <a:pt x="283" y="481"/>
                  </a:moveTo>
                  <a:cubicBezTo>
                    <a:pt x="127" y="481"/>
                    <a:pt x="127" y="481"/>
                    <a:pt x="127" y="481"/>
                  </a:cubicBezTo>
                  <a:cubicBezTo>
                    <a:pt x="127" y="350"/>
                    <a:pt x="127" y="350"/>
                    <a:pt x="127" y="350"/>
                  </a:cubicBezTo>
                  <a:cubicBezTo>
                    <a:pt x="279" y="350"/>
                    <a:pt x="279" y="350"/>
                    <a:pt x="279" y="350"/>
                  </a:cubicBezTo>
                  <a:cubicBezTo>
                    <a:pt x="346" y="350"/>
                    <a:pt x="376" y="375"/>
                    <a:pt x="376" y="415"/>
                  </a:cubicBezTo>
                  <a:cubicBezTo>
                    <a:pt x="376" y="461"/>
                    <a:pt x="341" y="481"/>
                    <a:pt x="283" y="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38957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bleed Foto mi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11817AE-51ED-41E3-A690-ED26CAEA9D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2223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11817AE-51ED-41E3-A690-ED26CAEA9D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EC5787D-011E-416D-94DD-7B499E6E75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A194230-98A5-4312-912D-7CAE3A9610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3031" y="210212"/>
            <a:ext cx="8619432" cy="43088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2307CE5-3111-4F33-9B73-B1BB9378A1E2}"/>
              </a:ext>
            </a:extLst>
          </p:cNvPr>
          <p:cNvGrpSpPr/>
          <p:nvPr userDrawn="1"/>
        </p:nvGrpSpPr>
        <p:grpSpPr>
          <a:xfrm>
            <a:off x="9809018" y="6114397"/>
            <a:ext cx="2022620" cy="422928"/>
            <a:chOff x="9809018" y="6114397"/>
            <a:chExt cx="2022620" cy="422928"/>
          </a:xfrm>
        </p:grpSpPr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A19C93D7-A3B2-4A58-ADC6-361B14180E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66356" y="6115872"/>
              <a:ext cx="510226" cy="421453"/>
            </a:xfrm>
            <a:custGeom>
              <a:avLst/>
              <a:gdLst>
                <a:gd name="T0" fmla="*/ 318 w 1730"/>
                <a:gd name="T1" fmla="*/ 1429 h 1429"/>
                <a:gd name="T2" fmla="*/ 0 w 1730"/>
                <a:gd name="T3" fmla="*/ 1429 h 1429"/>
                <a:gd name="T4" fmla="*/ 721 w 1730"/>
                <a:gd name="T5" fmla="*/ 0 h 1429"/>
                <a:gd name="T6" fmla="*/ 1009 w 1730"/>
                <a:gd name="T7" fmla="*/ 0 h 1429"/>
                <a:gd name="T8" fmla="*/ 1730 w 1730"/>
                <a:gd name="T9" fmla="*/ 1429 h 1429"/>
                <a:gd name="T10" fmla="*/ 1405 w 1730"/>
                <a:gd name="T11" fmla="*/ 1429 h 1429"/>
                <a:gd name="T12" fmla="*/ 861 w 1730"/>
                <a:gd name="T13" fmla="*/ 376 h 1429"/>
                <a:gd name="T14" fmla="*/ 318 w 1730"/>
                <a:gd name="T15" fmla="*/ 1429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0" h="1429">
                  <a:moveTo>
                    <a:pt x="318" y="1429"/>
                  </a:moveTo>
                  <a:lnTo>
                    <a:pt x="0" y="1429"/>
                  </a:lnTo>
                  <a:lnTo>
                    <a:pt x="721" y="0"/>
                  </a:lnTo>
                  <a:lnTo>
                    <a:pt x="1009" y="0"/>
                  </a:lnTo>
                  <a:lnTo>
                    <a:pt x="1730" y="1429"/>
                  </a:lnTo>
                  <a:lnTo>
                    <a:pt x="1405" y="1429"/>
                  </a:lnTo>
                  <a:lnTo>
                    <a:pt x="861" y="376"/>
                  </a:lnTo>
                  <a:lnTo>
                    <a:pt x="318" y="14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Rectangle 6">
              <a:extLst>
                <a:ext uri="{FF2B5EF4-FFF2-40B4-BE49-F238E27FC236}">
                  <a16:creationId xmlns:a16="http://schemas.microsoft.com/office/drawing/2014/main" id="{0311B544-3A45-47CF-AE14-8332D96A08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273043" y="6115872"/>
              <a:ext cx="14746" cy="11325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F0DA2BA0-C45F-483F-8296-E08A5563FB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0822" y="6115872"/>
              <a:ext cx="94967" cy="113253"/>
            </a:xfrm>
            <a:custGeom>
              <a:avLst/>
              <a:gdLst>
                <a:gd name="T0" fmla="*/ 0 w 136"/>
                <a:gd name="T1" fmla="*/ 161 h 161"/>
                <a:gd name="T2" fmla="*/ 0 w 136"/>
                <a:gd name="T3" fmla="*/ 0 h 161"/>
                <a:gd name="T4" fmla="*/ 20 w 136"/>
                <a:gd name="T5" fmla="*/ 0 h 161"/>
                <a:gd name="T6" fmla="*/ 88 w 136"/>
                <a:gd name="T7" fmla="*/ 90 h 161"/>
                <a:gd name="T8" fmla="*/ 116 w 136"/>
                <a:gd name="T9" fmla="*/ 127 h 161"/>
                <a:gd name="T10" fmla="*/ 116 w 136"/>
                <a:gd name="T11" fmla="*/ 127 h 161"/>
                <a:gd name="T12" fmla="*/ 116 w 136"/>
                <a:gd name="T13" fmla="*/ 81 h 161"/>
                <a:gd name="T14" fmla="*/ 116 w 136"/>
                <a:gd name="T15" fmla="*/ 0 h 161"/>
                <a:gd name="T16" fmla="*/ 136 w 136"/>
                <a:gd name="T17" fmla="*/ 0 h 161"/>
                <a:gd name="T18" fmla="*/ 136 w 136"/>
                <a:gd name="T19" fmla="*/ 161 h 161"/>
                <a:gd name="T20" fmla="*/ 116 w 136"/>
                <a:gd name="T21" fmla="*/ 161 h 161"/>
                <a:gd name="T22" fmla="*/ 49 w 136"/>
                <a:gd name="T23" fmla="*/ 72 h 161"/>
                <a:gd name="T24" fmla="*/ 21 w 136"/>
                <a:gd name="T25" fmla="*/ 34 h 161"/>
                <a:gd name="T26" fmla="*/ 20 w 136"/>
                <a:gd name="T27" fmla="*/ 34 h 161"/>
                <a:gd name="T28" fmla="*/ 21 w 136"/>
                <a:gd name="T29" fmla="*/ 80 h 161"/>
                <a:gd name="T30" fmla="*/ 21 w 136"/>
                <a:gd name="T31" fmla="*/ 161 h 161"/>
                <a:gd name="T32" fmla="*/ 0 w 136"/>
                <a:gd name="T33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61">
                  <a:moveTo>
                    <a:pt x="0" y="16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88" y="90"/>
                    <a:pt x="88" y="90"/>
                    <a:pt x="88" y="90"/>
                  </a:cubicBezTo>
                  <a:cubicBezTo>
                    <a:pt x="97" y="102"/>
                    <a:pt x="106" y="114"/>
                    <a:pt x="116" y="127"/>
                  </a:cubicBezTo>
                  <a:cubicBezTo>
                    <a:pt x="116" y="127"/>
                    <a:pt x="116" y="127"/>
                    <a:pt x="116" y="127"/>
                  </a:cubicBezTo>
                  <a:cubicBezTo>
                    <a:pt x="116" y="113"/>
                    <a:pt x="116" y="97"/>
                    <a:pt x="116" y="81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161"/>
                    <a:pt x="136" y="161"/>
                    <a:pt x="136" y="161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39" y="60"/>
                    <a:pt x="30" y="47"/>
                    <a:pt x="21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1" y="48"/>
                    <a:pt x="21" y="65"/>
                    <a:pt x="21" y="80"/>
                  </a:cubicBezTo>
                  <a:cubicBezTo>
                    <a:pt x="21" y="161"/>
                    <a:pt x="21" y="161"/>
                    <a:pt x="21" y="161"/>
                  </a:cubicBezTo>
                  <a:lnTo>
                    <a:pt x="0" y="16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8">
              <a:extLst>
                <a:ext uri="{FF2B5EF4-FFF2-40B4-BE49-F238E27FC236}">
                  <a16:creationId xmlns:a16="http://schemas.microsoft.com/office/drawing/2014/main" id="{B29DA787-CDC4-4596-AF5F-8BBA263EFD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6729" y="6115872"/>
              <a:ext cx="101750" cy="113253"/>
            </a:xfrm>
            <a:custGeom>
              <a:avLst/>
              <a:gdLst>
                <a:gd name="T0" fmla="*/ 0 w 145"/>
                <a:gd name="T1" fmla="*/ 0 h 161"/>
                <a:gd name="T2" fmla="*/ 23 w 145"/>
                <a:gd name="T3" fmla="*/ 0 h 161"/>
                <a:gd name="T4" fmla="*/ 57 w 145"/>
                <a:gd name="T5" fmla="*/ 90 h 161"/>
                <a:gd name="T6" fmla="*/ 73 w 145"/>
                <a:gd name="T7" fmla="*/ 133 h 161"/>
                <a:gd name="T8" fmla="*/ 73 w 145"/>
                <a:gd name="T9" fmla="*/ 133 h 161"/>
                <a:gd name="T10" fmla="*/ 89 w 145"/>
                <a:gd name="T11" fmla="*/ 90 h 161"/>
                <a:gd name="T12" fmla="*/ 124 w 145"/>
                <a:gd name="T13" fmla="*/ 0 h 161"/>
                <a:gd name="T14" fmla="*/ 145 w 145"/>
                <a:gd name="T15" fmla="*/ 0 h 161"/>
                <a:gd name="T16" fmla="*/ 84 w 145"/>
                <a:gd name="T17" fmla="*/ 161 h 161"/>
                <a:gd name="T18" fmla="*/ 62 w 145"/>
                <a:gd name="T19" fmla="*/ 161 h 161"/>
                <a:gd name="T20" fmla="*/ 0 w 145"/>
                <a:gd name="T21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5" h="161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62" y="104"/>
                    <a:pt x="67" y="118"/>
                    <a:pt x="73" y="133"/>
                  </a:cubicBezTo>
                  <a:cubicBezTo>
                    <a:pt x="73" y="133"/>
                    <a:pt x="73" y="133"/>
                    <a:pt x="73" y="133"/>
                  </a:cubicBezTo>
                  <a:cubicBezTo>
                    <a:pt x="79" y="118"/>
                    <a:pt x="84" y="104"/>
                    <a:pt x="89" y="9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84" y="161"/>
                    <a:pt x="84" y="161"/>
                    <a:pt x="84" y="161"/>
                  </a:cubicBezTo>
                  <a:cubicBezTo>
                    <a:pt x="62" y="161"/>
                    <a:pt x="62" y="161"/>
                    <a:pt x="62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9">
              <a:extLst>
                <a:ext uri="{FF2B5EF4-FFF2-40B4-BE49-F238E27FC236}">
                  <a16:creationId xmlns:a16="http://schemas.microsoft.com/office/drawing/2014/main" id="{07CBA41F-92FA-460F-9E54-5291BB0ADB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60009" y="6115872"/>
              <a:ext cx="66654" cy="113253"/>
            </a:xfrm>
            <a:custGeom>
              <a:avLst/>
              <a:gdLst>
                <a:gd name="T0" fmla="*/ 0 w 226"/>
                <a:gd name="T1" fmla="*/ 0 h 384"/>
                <a:gd name="T2" fmla="*/ 221 w 226"/>
                <a:gd name="T3" fmla="*/ 0 h 384"/>
                <a:gd name="T4" fmla="*/ 221 w 226"/>
                <a:gd name="T5" fmla="*/ 45 h 384"/>
                <a:gd name="T6" fmla="*/ 50 w 226"/>
                <a:gd name="T7" fmla="*/ 45 h 384"/>
                <a:gd name="T8" fmla="*/ 50 w 226"/>
                <a:gd name="T9" fmla="*/ 162 h 384"/>
                <a:gd name="T10" fmla="*/ 199 w 226"/>
                <a:gd name="T11" fmla="*/ 162 h 384"/>
                <a:gd name="T12" fmla="*/ 199 w 226"/>
                <a:gd name="T13" fmla="*/ 207 h 384"/>
                <a:gd name="T14" fmla="*/ 50 w 226"/>
                <a:gd name="T15" fmla="*/ 207 h 384"/>
                <a:gd name="T16" fmla="*/ 50 w 226"/>
                <a:gd name="T17" fmla="*/ 338 h 384"/>
                <a:gd name="T18" fmla="*/ 226 w 226"/>
                <a:gd name="T19" fmla="*/ 338 h 384"/>
                <a:gd name="T20" fmla="*/ 226 w 226"/>
                <a:gd name="T21" fmla="*/ 384 h 384"/>
                <a:gd name="T22" fmla="*/ 0 w 226"/>
                <a:gd name="T23" fmla="*/ 384 h 384"/>
                <a:gd name="T24" fmla="*/ 0 w 226"/>
                <a:gd name="T25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" h="384">
                  <a:moveTo>
                    <a:pt x="0" y="0"/>
                  </a:moveTo>
                  <a:lnTo>
                    <a:pt x="221" y="0"/>
                  </a:lnTo>
                  <a:lnTo>
                    <a:pt x="221" y="45"/>
                  </a:lnTo>
                  <a:lnTo>
                    <a:pt x="50" y="45"/>
                  </a:lnTo>
                  <a:lnTo>
                    <a:pt x="50" y="162"/>
                  </a:lnTo>
                  <a:lnTo>
                    <a:pt x="199" y="162"/>
                  </a:lnTo>
                  <a:lnTo>
                    <a:pt x="199" y="207"/>
                  </a:lnTo>
                  <a:lnTo>
                    <a:pt x="50" y="207"/>
                  </a:lnTo>
                  <a:lnTo>
                    <a:pt x="50" y="338"/>
                  </a:lnTo>
                  <a:lnTo>
                    <a:pt x="226" y="338"/>
                  </a:lnTo>
                  <a:lnTo>
                    <a:pt x="226" y="384"/>
                  </a:lnTo>
                  <a:lnTo>
                    <a:pt x="0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9C358B1D-0025-4177-85A1-8ACA858466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50257" y="6114397"/>
              <a:ext cx="74322" cy="116792"/>
            </a:xfrm>
            <a:custGeom>
              <a:avLst/>
              <a:gdLst>
                <a:gd name="T0" fmla="*/ 4 w 106"/>
                <a:gd name="T1" fmla="*/ 130 h 166"/>
                <a:gd name="T2" fmla="*/ 52 w 106"/>
                <a:gd name="T3" fmla="*/ 146 h 166"/>
                <a:gd name="T4" fmla="*/ 85 w 106"/>
                <a:gd name="T5" fmla="*/ 120 h 166"/>
                <a:gd name="T6" fmla="*/ 45 w 106"/>
                <a:gd name="T7" fmla="*/ 90 h 166"/>
                <a:gd name="T8" fmla="*/ 0 w 106"/>
                <a:gd name="T9" fmla="*/ 45 h 166"/>
                <a:gd name="T10" fmla="*/ 52 w 106"/>
                <a:gd name="T11" fmla="*/ 0 h 166"/>
                <a:gd name="T12" fmla="*/ 99 w 106"/>
                <a:gd name="T13" fmla="*/ 12 h 166"/>
                <a:gd name="T14" fmla="*/ 99 w 106"/>
                <a:gd name="T15" fmla="*/ 34 h 166"/>
                <a:gd name="T16" fmla="*/ 52 w 106"/>
                <a:gd name="T17" fmla="*/ 19 h 166"/>
                <a:gd name="T18" fmla="*/ 21 w 106"/>
                <a:gd name="T19" fmla="*/ 43 h 166"/>
                <a:gd name="T20" fmla="*/ 59 w 106"/>
                <a:gd name="T21" fmla="*/ 72 h 166"/>
                <a:gd name="T22" fmla="*/ 106 w 106"/>
                <a:gd name="T23" fmla="*/ 119 h 166"/>
                <a:gd name="T24" fmla="*/ 52 w 106"/>
                <a:gd name="T25" fmla="*/ 166 h 166"/>
                <a:gd name="T26" fmla="*/ 4 w 106"/>
                <a:gd name="T27" fmla="*/ 153 h 166"/>
                <a:gd name="T28" fmla="*/ 4 w 106"/>
                <a:gd name="T29" fmla="*/ 13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6" h="166">
                  <a:moveTo>
                    <a:pt x="4" y="130"/>
                  </a:moveTo>
                  <a:cubicBezTo>
                    <a:pt x="19" y="141"/>
                    <a:pt x="38" y="146"/>
                    <a:pt x="52" y="146"/>
                  </a:cubicBezTo>
                  <a:cubicBezTo>
                    <a:pt x="71" y="146"/>
                    <a:pt x="85" y="138"/>
                    <a:pt x="85" y="120"/>
                  </a:cubicBezTo>
                  <a:cubicBezTo>
                    <a:pt x="85" y="99"/>
                    <a:pt x="66" y="96"/>
                    <a:pt x="45" y="90"/>
                  </a:cubicBezTo>
                  <a:cubicBezTo>
                    <a:pt x="22" y="83"/>
                    <a:pt x="0" y="74"/>
                    <a:pt x="0" y="45"/>
                  </a:cubicBezTo>
                  <a:cubicBezTo>
                    <a:pt x="0" y="16"/>
                    <a:pt x="21" y="0"/>
                    <a:pt x="52" y="0"/>
                  </a:cubicBezTo>
                  <a:cubicBezTo>
                    <a:pt x="67" y="0"/>
                    <a:pt x="86" y="4"/>
                    <a:pt x="99" y="12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84" y="24"/>
                    <a:pt x="66" y="19"/>
                    <a:pt x="52" y="19"/>
                  </a:cubicBezTo>
                  <a:cubicBezTo>
                    <a:pt x="34" y="19"/>
                    <a:pt x="21" y="27"/>
                    <a:pt x="21" y="43"/>
                  </a:cubicBezTo>
                  <a:cubicBezTo>
                    <a:pt x="21" y="63"/>
                    <a:pt x="40" y="67"/>
                    <a:pt x="59" y="72"/>
                  </a:cubicBezTo>
                  <a:cubicBezTo>
                    <a:pt x="83" y="79"/>
                    <a:pt x="106" y="88"/>
                    <a:pt x="106" y="119"/>
                  </a:cubicBezTo>
                  <a:cubicBezTo>
                    <a:pt x="106" y="148"/>
                    <a:pt x="84" y="166"/>
                    <a:pt x="52" y="166"/>
                  </a:cubicBezTo>
                  <a:cubicBezTo>
                    <a:pt x="37" y="166"/>
                    <a:pt x="18" y="161"/>
                    <a:pt x="4" y="153"/>
                  </a:cubicBezTo>
                  <a:lnTo>
                    <a:pt x="4" y="13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11">
              <a:extLst>
                <a:ext uri="{FF2B5EF4-FFF2-40B4-BE49-F238E27FC236}">
                  <a16:creationId xmlns:a16="http://schemas.microsoft.com/office/drawing/2014/main" id="{859707A6-3DAA-4211-8EB1-323766F955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35786" y="6115872"/>
              <a:ext cx="90248" cy="113253"/>
            </a:xfrm>
            <a:custGeom>
              <a:avLst/>
              <a:gdLst>
                <a:gd name="T0" fmla="*/ 128 w 306"/>
                <a:gd name="T1" fmla="*/ 45 h 384"/>
                <a:gd name="T2" fmla="*/ 0 w 306"/>
                <a:gd name="T3" fmla="*/ 45 h 384"/>
                <a:gd name="T4" fmla="*/ 0 w 306"/>
                <a:gd name="T5" fmla="*/ 0 h 384"/>
                <a:gd name="T6" fmla="*/ 306 w 306"/>
                <a:gd name="T7" fmla="*/ 0 h 384"/>
                <a:gd name="T8" fmla="*/ 306 w 306"/>
                <a:gd name="T9" fmla="*/ 45 h 384"/>
                <a:gd name="T10" fmla="*/ 178 w 306"/>
                <a:gd name="T11" fmla="*/ 45 h 384"/>
                <a:gd name="T12" fmla="*/ 178 w 306"/>
                <a:gd name="T13" fmla="*/ 384 h 384"/>
                <a:gd name="T14" fmla="*/ 128 w 306"/>
                <a:gd name="T15" fmla="*/ 384 h 384"/>
                <a:gd name="T16" fmla="*/ 128 w 306"/>
                <a:gd name="T17" fmla="*/ 45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6" h="384">
                  <a:moveTo>
                    <a:pt x="128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306" y="0"/>
                  </a:lnTo>
                  <a:lnTo>
                    <a:pt x="306" y="45"/>
                  </a:lnTo>
                  <a:lnTo>
                    <a:pt x="178" y="45"/>
                  </a:lnTo>
                  <a:lnTo>
                    <a:pt x="178" y="384"/>
                  </a:lnTo>
                  <a:lnTo>
                    <a:pt x="128" y="384"/>
                  </a:lnTo>
                  <a:lnTo>
                    <a:pt x="128" y="4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12">
              <a:extLst>
                <a:ext uri="{FF2B5EF4-FFF2-40B4-BE49-F238E27FC236}">
                  <a16:creationId xmlns:a16="http://schemas.microsoft.com/office/drawing/2014/main" id="{0FEBAF92-9D70-4CAF-816F-BD0B92702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4066" y="6270414"/>
              <a:ext cx="153953" cy="113253"/>
            </a:xfrm>
            <a:custGeom>
              <a:avLst/>
              <a:gdLst>
                <a:gd name="T0" fmla="*/ 0 w 220"/>
                <a:gd name="T1" fmla="*/ 0 h 161"/>
                <a:gd name="T2" fmla="*/ 22 w 220"/>
                <a:gd name="T3" fmla="*/ 0 h 161"/>
                <a:gd name="T4" fmla="*/ 49 w 220"/>
                <a:gd name="T5" fmla="*/ 87 h 161"/>
                <a:gd name="T6" fmla="*/ 62 w 220"/>
                <a:gd name="T7" fmla="*/ 129 h 161"/>
                <a:gd name="T8" fmla="*/ 62 w 220"/>
                <a:gd name="T9" fmla="*/ 129 h 161"/>
                <a:gd name="T10" fmla="*/ 75 w 220"/>
                <a:gd name="T11" fmla="*/ 87 h 161"/>
                <a:gd name="T12" fmla="*/ 103 w 220"/>
                <a:gd name="T13" fmla="*/ 0 h 161"/>
                <a:gd name="T14" fmla="*/ 118 w 220"/>
                <a:gd name="T15" fmla="*/ 0 h 161"/>
                <a:gd name="T16" fmla="*/ 145 w 220"/>
                <a:gd name="T17" fmla="*/ 87 h 161"/>
                <a:gd name="T18" fmla="*/ 158 w 220"/>
                <a:gd name="T19" fmla="*/ 129 h 161"/>
                <a:gd name="T20" fmla="*/ 159 w 220"/>
                <a:gd name="T21" fmla="*/ 129 h 161"/>
                <a:gd name="T22" fmla="*/ 171 w 220"/>
                <a:gd name="T23" fmla="*/ 87 h 161"/>
                <a:gd name="T24" fmla="*/ 198 w 220"/>
                <a:gd name="T25" fmla="*/ 0 h 161"/>
                <a:gd name="T26" fmla="*/ 220 w 220"/>
                <a:gd name="T27" fmla="*/ 0 h 161"/>
                <a:gd name="T28" fmla="*/ 170 w 220"/>
                <a:gd name="T29" fmla="*/ 161 h 161"/>
                <a:gd name="T30" fmla="*/ 147 w 220"/>
                <a:gd name="T31" fmla="*/ 161 h 161"/>
                <a:gd name="T32" fmla="*/ 121 w 220"/>
                <a:gd name="T33" fmla="*/ 79 h 161"/>
                <a:gd name="T34" fmla="*/ 110 w 220"/>
                <a:gd name="T35" fmla="*/ 42 h 161"/>
                <a:gd name="T36" fmla="*/ 110 w 220"/>
                <a:gd name="T37" fmla="*/ 42 h 161"/>
                <a:gd name="T38" fmla="*/ 98 w 220"/>
                <a:gd name="T39" fmla="*/ 79 h 161"/>
                <a:gd name="T40" fmla="*/ 73 w 220"/>
                <a:gd name="T41" fmla="*/ 161 h 161"/>
                <a:gd name="T42" fmla="*/ 50 w 220"/>
                <a:gd name="T43" fmla="*/ 161 h 161"/>
                <a:gd name="T44" fmla="*/ 0 w 220"/>
                <a:gd name="T45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0" h="161">
                  <a:moveTo>
                    <a:pt x="0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54" y="101"/>
                    <a:pt x="58" y="115"/>
                    <a:pt x="62" y="129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66" y="115"/>
                    <a:pt x="71" y="101"/>
                    <a:pt x="75" y="87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45" y="87"/>
                    <a:pt x="145" y="87"/>
                    <a:pt x="145" y="87"/>
                  </a:cubicBezTo>
                  <a:cubicBezTo>
                    <a:pt x="150" y="101"/>
                    <a:pt x="154" y="115"/>
                    <a:pt x="158" y="129"/>
                  </a:cubicBezTo>
                  <a:cubicBezTo>
                    <a:pt x="159" y="129"/>
                    <a:pt x="159" y="129"/>
                    <a:pt x="159" y="129"/>
                  </a:cubicBezTo>
                  <a:cubicBezTo>
                    <a:pt x="163" y="115"/>
                    <a:pt x="167" y="101"/>
                    <a:pt x="171" y="87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170" y="161"/>
                    <a:pt x="170" y="161"/>
                    <a:pt x="170" y="161"/>
                  </a:cubicBezTo>
                  <a:cubicBezTo>
                    <a:pt x="147" y="161"/>
                    <a:pt x="147" y="161"/>
                    <a:pt x="147" y="161"/>
                  </a:cubicBezTo>
                  <a:cubicBezTo>
                    <a:pt x="121" y="79"/>
                    <a:pt x="121" y="79"/>
                    <a:pt x="121" y="79"/>
                  </a:cubicBezTo>
                  <a:cubicBezTo>
                    <a:pt x="117" y="66"/>
                    <a:pt x="114" y="54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06" y="54"/>
                    <a:pt x="102" y="67"/>
                    <a:pt x="98" y="79"/>
                  </a:cubicBezTo>
                  <a:cubicBezTo>
                    <a:pt x="73" y="161"/>
                    <a:pt x="73" y="161"/>
                    <a:pt x="73" y="161"/>
                  </a:cubicBezTo>
                  <a:cubicBezTo>
                    <a:pt x="50" y="161"/>
                    <a:pt x="50" y="161"/>
                    <a:pt x="50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13">
              <a:extLst>
                <a:ext uri="{FF2B5EF4-FFF2-40B4-BE49-F238E27FC236}">
                  <a16:creationId xmlns:a16="http://schemas.microsoft.com/office/drawing/2014/main" id="{33D4A3FE-1B1E-47A9-992E-07D98ED87F5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490111" y="6268940"/>
              <a:ext cx="114727" cy="115907"/>
            </a:xfrm>
            <a:custGeom>
              <a:avLst/>
              <a:gdLst>
                <a:gd name="T0" fmla="*/ 82 w 164"/>
                <a:gd name="T1" fmla="*/ 0 h 165"/>
                <a:gd name="T2" fmla="*/ 164 w 164"/>
                <a:gd name="T3" fmla="*/ 82 h 165"/>
                <a:gd name="T4" fmla="*/ 82 w 164"/>
                <a:gd name="T5" fmla="*/ 165 h 165"/>
                <a:gd name="T6" fmla="*/ 0 w 164"/>
                <a:gd name="T7" fmla="*/ 82 h 165"/>
                <a:gd name="T8" fmla="*/ 82 w 164"/>
                <a:gd name="T9" fmla="*/ 0 h 165"/>
                <a:gd name="T10" fmla="*/ 82 w 164"/>
                <a:gd name="T11" fmla="*/ 146 h 165"/>
                <a:gd name="T12" fmla="*/ 143 w 164"/>
                <a:gd name="T13" fmla="*/ 82 h 165"/>
                <a:gd name="T14" fmla="*/ 82 w 164"/>
                <a:gd name="T15" fmla="*/ 19 h 165"/>
                <a:gd name="T16" fmla="*/ 22 w 164"/>
                <a:gd name="T17" fmla="*/ 82 h 165"/>
                <a:gd name="T18" fmla="*/ 82 w 164"/>
                <a:gd name="T19" fmla="*/ 146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5">
                  <a:moveTo>
                    <a:pt x="82" y="0"/>
                  </a:moveTo>
                  <a:cubicBezTo>
                    <a:pt x="129" y="0"/>
                    <a:pt x="164" y="36"/>
                    <a:pt x="164" y="82"/>
                  </a:cubicBezTo>
                  <a:cubicBezTo>
                    <a:pt x="164" y="129"/>
                    <a:pt x="129" y="165"/>
                    <a:pt x="82" y="165"/>
                  </a:cubicBezTo>
                  <a:cubicBezTo>
                    <a:pt x="36" y="165"/>
                    <a:pt x="0" y="129"/>
                    <a:pt x="0" y="82"/>
                  </a:cubicBezTo>
                  <a:cubicBezTo>
                    <a:pt x="0" y="36"/>
                    <a:pt x="36" y="0"/>
                    <a:pt x="82" y="0"/>
                  </a:cubicBezTo>
                  <a:close/>
                  <a:moveTo>
                    <a:pt x="82" y="146"/>
                  </a:moveTo>
                  <a:cubicBezTo>
                    <a:pt x="117" y="146"/>
                    <a:pt x="143" y="118"/>
                    <a:pt x="143" y="82"/>
                  </a:cubicBezTo>
                  <a:cubicBezTo>
                    <a:pt x="143" y="47"/>
                    <a:pt x="117" y="19"/>
                    <a:pt x="82" y="19"/>
                  </a:cubicBezTo>
                  <a:cubicBezTo>
                    <a:pt x="47" y="19"/>
                    <a:pt x="22" y="47"/>
                    <a:pt x="22" y="82"/>
                  </a:cubicBezTo>
                  <a:cubicBezTo>
                    <a:pt x="22" y="118"/>
                    <a:pt x="47" y="146"/>
                    <a:pt x="82" y="14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14">
              <a:extLst>
                <a:ext uri="{FF2B5EF4-FFF2-40B4-BE49-F238E27FC236}">
                  <a16:creationId xmlns:a16="http://schemas.microsoft.com/office/drawing/2014/main" id="{9B08F6CB-9C29-4A26-8F0F-EF3539E2E7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631382" y="6270414"/>
              <a:ext cx="86119" cy="113253"/>
            </a:xfrm>
            <a:custGeom>
              <a:avLst/>
              <a:gdLst>
                <a:gd name="T0" fmla="*/ 0 w 123"/>
                <a:gd name="T1" fmla="*/ 0 h 161"/>
                <a:gd name="T2" fmla="*/ 43 w 123"/>
                <a:gd name="T3" fmla="*/ 0 h 161"/>
                <a:gd name="T4" fmla="*/ 88 w 123"/>
                <a:gd name="T5" fmla="*/ 8 h 161"/>
                <a:gd name="T6" fmla="*/ 111 w 123"/>
                <a:gd name="T7" fmla="*/ 46 h 161"/>
                <a:gd name="T8" fmla="*/ 90 w 123"/>
                <a:gd name="T9" fmla="*/ 83 h 161"/>
                <a:gd name="T10" fmla="*/ 71 w 123"/>
                <a:gd name="T11" fmla="*/ 90 h 161"/>
                <a:gd name="T12" fmla="*/ 123 w 123"/>
                <a:gd name="T13" fmla="*/ 161 h 161"/>
                <a:gd name="T14" fmla="*/ 97 w 123"/>
                <a:gd name="T15" fmla="*/ 161 h 161"/>
                <a:gd name="T16" fmla="*/ 48 w 123"/>
                <a:gd name="T17" fmla="*/ 92 h 161"/>
                <a:gd name="T18" fmla="*/ 21 w 123"/>
                <a:gd name="T19" fmla="*/ 92 h 161"/>
                <a:gd name="T20" fmla="*/ 21 w 123"/>
                <a:gd name="T21" fmla="*/ 161 h 161"/>
                <a:gd name="T22" fmla="*/ 0 w 123"/>
                <a:gd name="T23" fmla="*/ 161 h 161"/>
                <a:gd name="T24" fmla="*/ 0 w 123"/>
                <a:gd name="T25" fmla="*/ 0 h 161"/>
                <a:gd name="T26" fmla="*/ 48 w 123"/>
                <a:gd name="T27" fmla="*/ 75 h 161"/>
                <a:gd name="T28" fmla="*/ 80 w 123"/>
                <a:gd name="T29" fmla="*/ 67 h 161"/>
                <a:gd name="T30" fmla="*/ 89 w 123"/>
                <a:gd name="T31" fmla="*/ 47 h 161"/>
                <a:gd name="T32" fmla="*/ 76 w 123"/>
                <a:gd name="T33" fmla="*/ 25 h 161"/>
                <a:gd name="T34" fmla="*/ 42 w 123"/>
                <a:gd name="T35" fmla="*/ 19 h 161"/>
                <a:gd name="T36" fmla="*/ 21 w 123"/>
                <a:gd name="T37" fmla="*/ 19 h 161"/>
                <a:gd name="T38" fmla="*/ 21 w 123"/>
                <a:gd name="T39" fmla="*/ 75 h 161"/>
                <a:gd name="T40" fmla="*/ 48 w 123"/>
                <a:gd name="T41" fmla="*/ 75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3" h="161">
                  <a:moveTo>
                    <a:pt x="0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60" y="0"/>
                    <a:pt x="75" y="1"/>
                    <a:pt x="88" y="8"/>
                  </a:cubicBezTo>
                  <a:cubicBezTo>
                    <a:pt x="102" y="15"/>
                    <a:pt x="111" y="28"/>
                    <a:pt x="111" y="46"/>
                  </a:cubicBezTo>
                  <a:cubicBezTo>
                    <a:pt x="111" y="63"/>
                    <a:pt x="102" y="76"/>
                    <a:pt x="90" y="83"/>
                  </a:cubicBezTo>
                  <a:cubicBezTo>
                    <a:pt x="84" y="87"/>
                    <a:pt x="78" y="89"/>
                    <a:pt x="71" y="90"/>
                  </a:cubicBezTo>
                  <a:cubicBezTo>
                    <a:pt x="123" y="161"/>
                    <a:pt x="123" y="161"/>
                    <a:pt x="123" y="161"/>
                  </a:cubicBezTo>
                  <a:cubicBezTo>
                    <a:pt x="97" y="161"/>
                    <a:pt x="97" y="161"/>
                    <a:pt x="97" y="161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0" y="161"/>
                    <a:pt x="0" y="161"/>
                    <a:pt x="0" y="161"/>
                  </a:cubicBezTo>
                  <a:lnTo>
                    <a:pt x="0" y="0"/>
                  </a:lnTo>
                  <a:close/>
                  <a:moveTo>
                    <a:pt x="48" y="75"/>
                  </a:moveTo>
                  <a:cubicBezTo>
                    <a:pt x="63" y="75"/>
                    <a:pt x="73" y="73"/>
                    <a:pt x="80" y="67"/>
                  </a:cubicBezTo>
                  <a:cubicBezTo>
                    <a:pt x="86" y="63"/>
                    <a:pt x="89" y="56"/>
                    <a:pt x="89" y="47"/>
                  </a:cubicBezTo>
                  <a:cubicBezTo>
                    <a:pt x="89" y="37"/>
                    <a:pt x="85" y="29"/>
                    <a:pt x="76" y="25"/>
                  </a:cubicBezTo>
                  <a:cubicBezTo>
                    <a:pt x="68" y="20"/>
                    <a:pt x="57" y="19"/>
                    <a:pt x="42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75"/>
                    <a:pt x="21" y="75"/>
                    <a:pt x="21" y="75"/>
                  </a:cubicBezTo>
                  <a:lnTo>
                    <a:pt x="48" y="7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15">
              <a:extLst>
                <a:ext uri="{FF2B5EF4-FFF2-40B4-BE49-F238E27FC236}">
                  <a16:creationId xmlns:a16="http://schemas.microsoft.com/office/drawing/2014/main" id="{F626DAF7-0DC4-4761-B822-0EF1F4E2A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44929" y="6270414"/>
              <a:ext cx="86709" cy="113253"/>
            </a:xfrm>
            <a:custGeom>
              <a:avLst/>
              <a:gdLst>
                <a:gd name="T0" fmla="*/ 0 w 294"/>
                <a:gd name="T1" fmla="*/ 0 h 384"/>
                <a:gd name="T2" fmla="*/ 49 w 294"/>
                <a:gd name="T3" fmla="*/ 0 h 384"/>
                <a:gd name="T4" fmla="*/ 49 w 294"/>
                <a:gd name="T5" fmla="*/ 174 h 384"/>
                <a:gd name="T6" fmla="*/ 49 w 294"/>
                <a:gd name="T7" fmla="*/ 174 h 384"/>
                <a:gd name="T8" fmla="*/ 216 w 294"/>
                <a:gd name="T9" fmla="*/ 0 h 384"/>
                <a:gd name="T10" fmla="*/ 280 w 294"/>
                <a:gd name="T11" fmla="*/ 0 h 384"/>
                <a:gd name="T12" fmla="*/ 106 w 294"/>
                <a:gd name="T13" fmla="*/ 179 h 384"/>
                <a:gd name="T14" fmla="*/ 294 w 294"/>
                <a:gd name="T15" fmla="*/ 384 h 384"/>
                <a:gd name="T16" fmla="*/ 227 w 294"/>
                <a:gd name="T17" fmla="*/ 384 h 384"/>
                <a:gd name="T18" fmla="*/ 49 w 294"/>
                <a:gd name="T19" fmla="*/ 186 h 384"/>
                <a:gd name="T20" fmla="*/ 49 w 294"/>
                <a:gd name="T21" fmla="*/ 186 h 384"/>
                <a:gd name="T22" fmla="*/ 49 w 294"/>
                <a:gd name="T23" fmla="*/ 384 h 384"/>
                <a:gd name="T24" fmla="*/ 0 w 294"/>
                <a:gd name="T25" fmla="*/ 384 h 384"/>
                <a:gd name="T26" fmla="*/ 0 w 294"/>
                <a:gd name="T27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384">
                  <a:moveTo>
                    <a:pt x="0" y="0"/>
                  </a:moveTo>
                  <a:lnTo>
                    <a:pt x="49" y="0"/>
                  </a:lnTo>
                  <a:lnTo>
                    <a:pt x="49" y="174"/>
                  </a:lnTo>
                  <a:lnTo>
                    <a:pt x="49" y="174"/>
                  </a:lnTo>
                  <a:lnTo>
                    <a:pt x="216" y="0"/>
                  </a:lnTo>
                  <a:lnTo>
                    <a:pt x="280" y="0"/>
                  </a:lnTo>
                  <a:lnTo>
                    <a:pt x="106" y="179"/>
                  </a:lnTo>
                  <a:lnTo>
                    <a:pt x="294" y="384"/>
                  </a:lnTo>
                  <a:lnTo>
                    <a:pt x="227" y="384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384"/>
                  </a:lnTo>
                  <a:lnTo>
                    <a:pt x="0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16">
              <a:extLst>
                <a:ext uri="{FF2B5EF4-FFF2-40B4-BE49-F238E27FC236}">
                  <a16:creationId xmlns:a16="http://schemas.microsoft.com/office/drawing/2014/main" id="{6E1B8E6D-FE7A-4E16-9FE0-27110C65BA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67106" y="6424367"/>
              <a:ext cx="66359" cy="112958"/>
            </a:xfrm>
            <a:custGeom>
              <a:avLst/>
              <a:gdLst>
                <a:gd name="T0" fmla="*/ 0 w 225"/>
                <a:gd name="T1" fmla="*/ 0 h 383"/>
                <a:gd name="T2" fmla="*/ 225 w 225"/>
                <a:gd name="T3" fmla="*/ 0 h 383"/>
                <a:gd name="T4" fmla="*/ 225 w 225"/>
                <a:gd name="T5" fmla="*/ 45 h 383"/>
                <a:gd name="T6" fmla="*/ 49 w 225"/>
                <a:gd name="T7" fmla="*/ 45 h 383"/>
                <a:gd name="T8" fmla="*/ 49 w 225"/>
                <a:gd name="T9" fmla="*/ 169 h 383"/>
                <a:gd name="T10" fmla="*/ 204 w 225"/>
                <a:gd name="T11" fmla="*/ 169 h 383"/>
                <a:gd name="T12" fmla="*/ 204 w 225"/>
                <a:gd name="T13" fmla="*/ 214 h 383"/>
                <a:gd name="T14" fmla="*/ 49 w 225"/>
                <a:gd name="T15" fmla="*/ 214 h 383"/>
                <a:gd name="T16" fmla="*/ 49 w 225"/>
                <a:gd name="T17" fmla="*/ 383 h 383"/>
                <a:gd name="T18" fmla="*/ 0 w 225"/>
                <a:gd name="T19" fmla="*/ 383 h 383"/>
                <a:gd name="T20" fmla="*/ 0 w 225"/>
                <a:gd name="T21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5" h="383">
                  <a:moveTo>
                    <a:pt x="0" y="0"/>
                  </a:moveTo>
                  <a:lnTo>
                    <a:pt x="225" y="0"/>
                  </a:lnTo>
                  <a:lnTo>
                    <a:pt x="225" y="45"/>
                  </a:lnTo>
                  <a:lnTo>
                    <a:pt x="49" y="45"/>
                  </a:lnTo>
                  <a:lnTo>
                    <a:pt x="49" y="169"/>
                  </a:lnTo>
                  <a:lnTo>
                    <a:pt x="204" y="169"/>
                  </a:lnTo>
                  <a:lnTo>
                    <a:pt x="204" y="214"/>
                  </a:lnTo>
                  <a:lnTo>
                    <a:pt x="49" y="214"/>
                  </a:lnTo>
                  <a:lnTo>
                    <a:pt x="49" y="383"/>
                  </a:lnTo>
                  <a:lnTo>
                    <a:pt x="0" y="3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Rectangle 17">
              <a:extLst>
                <a:ext uri="{FF2B5EF4-FFF2-40B4-BE49-F238E27FC236}">
                  <a16:creationId xmlns:a16="http://schemas.microsoft.com/office/drawing/2014/main" id="{40E31F21-2B6F-4D92-907D-1F1F3475A92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565023" y="6424367"/>
              <a:ext cx="14746" cy="11295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18">
              <a:extLst>
                <a:ext uri="{FF2B5EF4-FFF2-40B4-BE49-F238E27FC236}">
                  <a16:creationId xmlns:a16="http://schemas.microsoft.com/office/drawing/2014/main" id="{32FBCDEA-7BEF-42EF-81AC-24968161A2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15455" y="6424367"/>
              <a:ext cx="67834" cy="112958"/>
            </a:xfrm>
            <a:custGeom>
              <a:avLst/>
              <a:gdLst>
                <a:gd name="T0" fmla="*/ 0 w 230"/>
                <a:gd name="T1" fmla="*/ 0 h 383"/>
                <a:gd name="T2" fmla="*/ 49 w 230"/>
                <a:gd name="T3" fmla="*/ 0 h 383"/>
                <a:gd name="T4" fmla="*/ 49 w 230"/>
                <a:gd name="T5" fmla="*/ 338 h 383"/>
                <a:gd name="T6" fmla="*/ 230 w 230"/>
                <a:gd name="T7" fmla="*/ 338 h 383"/>
                <a:gd name="T8" fmla="*/ 230 w 230"/>
                <a:gd name="T9" fmla="*/ 383 h 383"/>
                <a:gd name="T10" fmla="*/ 0 w 230"/>
                <a:gd name="T11" fmla="*/ 383 h 383"/>
                <a:gd name="T12" fmla="*/ 0 w 230"/>
                <a:gd name="T13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0" h="383">
                  <a:moveTo>
                    <a:pt x="0" y="0"/>
                  </a:moveTo>
                  <a:lnTo>
                    <a:pt x="49" y="0"/>
                  </a:lnTo>
                  <a:lnTo>
                    <a:pt x="49" y="338"/>
                  </a:lnTo>
                  <a:lnTo>
                    <a:pt x="230" y="338"/>
                  </a:lnTo>
                  <a:lnTo>
                    <a:pt x="230" y="383"/>
                  </a:lnTo>
                  <a:lnTo>
                    <a:pt x="0" y="3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19">
              <a:extLst>
                <a:ext uri="{FF2B5EF4-FFF2-40B4-BE49-F238E27FC236}">
                  <a16:creationId xmlns:a16="http://schemas.microsoft.com/office/drawing/2014/main" id="{7B4A8E0B-4E22-4265-A287-290F427A44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08358" y="6424367"/>
              <a:ext cx="108534" cy="112958"/>
            </a:xfrm>
            <a:custGeom>
              <a:avLst/>
              <a:gdLst>
                <a:gd name="T0" fmla="*/ 42 w 155"/>
                <a:gd name="T1" fmla="*/ 67 h 161"/>
                <a:gd name="T2" fmla="*/ 20 w 155"/>
                <a:gd name="T3" fmla="*/ 35 h 161"/>
                <a:gd name="T4" fmla="*/ 20 w 155"/>
                <a:gd name="T5" fmla="*/ 36 h 161"/>
                <a:gd name="T6" fmla="*/ 20 w 155"/>
                <a:gd name="T7" fmla="*/ 71 h 161"/>
                <a:gd name="T8" fmla="*/ 20 w 155"/>
                <a:gd name="T9" fmla="*/ 161 h 161"/>
                <a:gd name="T10" fmla="*/ 0 w 155"/>
                <a:gd name="T11" fmla="*/ 161 h 161"/>
                <a:gd name="T12" fmla="*/ 0 w 155"/>
                <a:gd name="T13" fmla="*/ 0 h 161"/>
                <a:gd name="T14" fmla="*/ 20 w 155"/>
                <a:gd name="T15" fmla="*/ 0 h 161"/>
                <a:gd name="T16" fmla="*/ 78 w 155"/>
                <a:gd name="T17" fmla="*/ 82 h 161"/>
                <a:gd name="T18" fmla="*/ 135 w 155"/>
                <a:gd name="T19" fmla="*/ 0 h 161"/>
                <a:gd name="T20" fmla="*/ 155 w 155"/>
                <a:gd name="T21" fmla="*/ 0 h 161"/>
                <a:gd name="T22" fmla="*/ 155 w 155"/>
                <a:gd name="T23" fmla="*/ 161 h 161"/>
                <a:gd name="T24" fmla="*/ 134 w 155"/>
                <a:gd name="T25" fmla="*/ 161 h 161"/>
                <a:gd name="T26" fmla="*/ 134 w 155"/>
                <a:gd name="T27" fmla="*/ 71 h 161"/>
                <a:gd name="T28" fmla="*/ 134 w 155"/>
                <a:gd name="T29" fmla="*/ 36 h 161"/>
                <a:gd name="T30" fmla="*/ 134 w 155"/>
                <a:gd name="T31" fmla="*/ 35 h 161"/>
                <a:gd name="T32" fmla="*/ 112 w 155"/>
                <a:gd name="T33" fmla="*/ 67 h 161"/>
                <a:gd name="T34" fmla="*/ 77 w 155"/>
                <a:gd name="T35" fmla="*/ 117 h 161"/>
                <a:gd name="T36" fmla="*/ 42 w 155"/>
                <a:gd name="T37" fmla="*/ 6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61">
                  <a:moveTo>
                    <a:pt x="42" y="67"/>
                  </a:moveTo>
                  <a:cubicBezTo>
                    <a:pt x="35" y="57"/>
                    <a:pt x="28" y="46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45"/>
                    <a:pt x="20" y="57"/>
                    <a:pt x="20" y="71"/>
                  </a:cubicBezTo>
                  <a:cubicBezTo>
                    <a:pt x="20" y="161"/>
                    <a:pt x="20" y="161"/>
                    <a:pt x="2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5" y="161"/>
                    <a:pt x="155" y="161"/>
                    <a:pt x="155" y="161"/>
                  </a:cubicBezTo>
                  <a:cubicBezTo>
                    <a:pt x="134" y="161"/>
                    <a:pt x="134" y="161"/>
                    <a:pt x="134" y="161"/>
                  </a:cubicBezTo>
                  <a:cubicBezTo>
                    <a:pt x="134" y="71"/>
                    <a:pt x="134" y="71"/>
                    <a:pt x="134" y="71"/>
                  </a:cubicBezTo>
                  <a:cubicBezTo>
                    <a:pt x="134" y="57"/>
                    <a:pt x="134" y="45"/>
                    <a:pt x="134" y="36"/>
                  </a:cubicBezTo>
                  <a:cubicBezTo>
                    <a:pt x="134" y="35"/>
                    <a:pt x="134" y="35"/>
                    <a:pt x="134" y="35"/>
                  </a:cubicBezTo>
                  <a:cubicBezTo>
                    <a:pt x="127" y="46"/>
                    <a:pt x="120" y="57"/>
                    <a:pt x="112" y="67"/>
                  </a:cubicBezTo>
                  <a:cubicBezTo>
                    <a:pt x="77" y="117"/>
                    <a:pt x="77" y="117"/>
                    <a:pt x="77" y="117"/>
                  </a:cubicBezTo>
                  <a:lnTo>
                    <a:pt x="42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20">
              <a:extLst>
                <a:ext uri="{FF2B5EF4-FFF2-40B4-BE49-F238E27FC236}">
                  <a16:creationId xmlns:a16="http://schemas.microsoft.com/office/drawing/2014/main" id="{99A25193-0AFC-4FC5-A97B-9086ECF9EB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9018" y="6115872"/>
              <a:ext cx="510226" cy="421453"/>
            </a:xfrm>
            <a:custGeom>
              <a:avLst/>
              <a:gdLst>
                <a:gd name="T0" fmla="*/ 318 w 1730"/>
                <a:gd name="T1" fmla="*/ 1429 h 1429"/>
                <a:gd name="T2" fmla="*/ 0 w 1730"/>
                <a:gd name="T3" fmla="*/ 1429 h 1429"/>
                <a:gd name="T4" fmla="*/ 721 w 1730"/>
                <a:gd name="T5" fmla="*/ 0 h 1429"/>
                <a:gd name="T6" fmla="*/ 1008 w 1730"/>
                <a:gd name="T7" fmla="*/ 0 h 1429"/>
                <a:gd name="T8" fmla="*/ 1730 w 1730"/>
                <a:gd name="T9" fmla="*/ 1429 h 1429"/>
                <a:gd name="T10" fmla="*/ 1404 w 1730"/>
                <a:gd name="T11" fmla="*/ 1429 h 1429"/>
                <a:gd name="T12" fmla="*/ 861 w 1730"/>
                <a:gd name="T13" fmla="*/ 376 h 1429"/>
                <a:gd name="T14" fmla="*/ 318 w 1730"/>
                <a:gd name="T15" fmla="*/ 1429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0" h="1429">
                  <a:moveTo>
                    <a:pt x="318" y="1429"/>
                  </a:moveTo>
                  <a:lnTo>
                    <a:pt x="0" y="1429"/>
                  </a:lnTo>
                  <a:lnTo>
                    <a:pt x="721" y="0"/>
                  </a:lnTo>
                  <a:lnTo>
                    <a:pt x="1008" y="0"/>
                  </a:lnTo>
                  <a:lnTo>
                    <a:pt x="1730" y="1429"/>
                  </a:lnTo>
                  <a:lnTo>
                    <a:pt x="1404" y="1429"/>
                  </a:lnTo>
                  <a:lnTo>
                    <a:pt x="861" y="376"/>
                  </a:lnTo>
                  <a:lnTo>
                    <a:pt x="318" y="14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21">
              <a:extLst>
                <a:ext uri="{FF2B5EF4-FFF2-40B4-BE49-F238E27FC236}">
                  <a16:creationId xmlns:a16="http://schemas.microsoft.com/office/drawing/2014/main" id="{247E6B6B-34CD-4044-9D7C-221A4DFB4EC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82949" y="6118821"/>
              <a:ext cx="353914" cy="418504"/>
            </a:xfrm>
            <a:custGeom>
              <a:avLst/>
              <a:gdLst>
                <a:gd name="T0" fmla="*/ 0 w 506"/>
                <a:gd name="T1" fmla="*/ 596 h 596"/>
                <a:gd name="T2" fmla="*/ 74 w 506"/>
                <a:gd name="T3" fmla="*/ 596 h 596"/>
                <a:gd name="T4" fmla="*/ 127 w 506"/>
                <a:gd name="T5" fmla="*/ 596 h 596"/>
                <a:gd name="T6" fmla="*/ 283 w 506"/>
                <a:gd name="T7" fmla="*/ 596 h 596"/>
                <a:gd name="T8" fmla="*/ 506 w 506"/>
                <a:gd name="T9" fmla="*/ 433 h 596"/>
                <a:gd name="T10" fmla="*/ 395 w 506"/>
                <a:gd name="T11" fmla="*/ 285 h 596"/>
                <a:gd name="T12" fmla="*/ 473 w 506"/>
                <a:gd name="T13" fmla="*/ 156 h 596"/>
                <a:gd name="T14" fmla="*/ 432 w 506"/>
                <a:gd name="T15" fmla="*/ 53 h 596"/>
                <a:gd name="T16" fmla="*/ 276 w 506"/>
                <a:gd name="T17" fmla="*/ 0 h 596"/>
                <a:gd name="T18" fmla="*/ 0 w 506"/>
                <a:gd name="T19" fmla="*/ 0 h 596"/>
                <a:gd name="T20" fmla="*/ 0 w 506"/>
                <a:gd name="T21" fmla="*/ 115 h 596"/>
                <a:gd name="T22" fmla="*/ 257 w 506"/>
                <a:gd name="T23" fmla="*/ 115 h 596"/>
                <a:gd name="T24" fmla="*/ 343 w 506"/>
                <a:gd name="T25" fmla="*/ 177 h 596"/>
                <a:gd name="T26" fmla="*/ 248 w 506"/>
                <a:gd name="T27" fmla="*/ 241 h 596"/>
                <a:gd name="T28" fmla="*/ 0 w 506"/>
                <a:gd name="T29" fmla="*/ 241 h 596"/>
                <a:gd name="T30" fmla="*/ 0 w 506"/>
                <a:gd name="T31" fmla="*/ 596 h 596"/>
                <a:gd name="T32" fmla="*/ 283 w 506"/>
                <a:gd name="T33" fmla="*/ 481 h 596"/>
                <a:gd name="T34" fmla="*/ 127 w 506"/>
                <a:gd name="T35" fmla="*/ 481 h 596"/>
                <a:gd name="T36" fmla="*/ 127 w 506"/>
                <a:gd name="T37" fmla="*/ 350 h 596"/>
                <a:gd name="T38" fmla="*/ 279 w 506"/>
                <a:gd name="T39" fmla="*/ 350 h 596"/>
                <a:gd name="T40" fmla="*/ 376 w 506"/>
                <a:gd name="T41" fmla="*/ 415 h 596"/>
                <a:gd name="T42" fmla="*/ 283 w 506"/>
                <a:gd name="T43" fmla="*/ 481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06" h="596">
                  <a:moveTo>
                    <a:pt x="0" y="596"/>
                  </a:moveTo>
                  <a:cubicBezTo>
                    <a:pt x="74" y="596"/>
                    <a:pt x="74" y="596"/>
                    <a:pt x="74" y="596"/>
                  </a:cubicBezTo>
                  <a:cubicBezTo>
                    <a:pt x="127" y="596"/>
                    <a:pt x="127" y="596"/>
                    <a:pt x="127" y="596"/>
                  </a:cubicBezTo>
                  <a:cubicBezTo>
                    <a:pt x="283" y="596"/>
                    <a:pt x="283" y="596"/>
                    <a:pt x="283" y="596"/>
                  </a:cubicBezTo>
                  <a:cubicBezTo>
                    <a:pt x="418" y="596"/>
                    <a:pt x="506" y="542"/>
                    <a:pt x="506" y="433"/>
                  </a:cubicBezTo>
                  <a:cubicBezTo>
                    <a:pt x="506" y="351"/>
                    <a:pt x="464" y="311"/>
                    <a:pt x="395" y="285"/>
                  </a:cubicBezTo>
                  <a:cubicBezTo>
                    <a:pt x="437" y="261"/>
                    <a:pt x="473" y="223"/>
                    <a:pt x="473" y="156"/>
                  </a:cubicBezTo>
                  <a:cubicBezTo>
                    <a:pt x="473" y="114"/>
                    <a:pt x="459" y="80"/>
                    <a:pt x="432" y="53"/>
                  </a:cubicBezTo>
                  <a:cubicBezTo>
                    <a:pt x="398" y="19"/>
                    <a:pt x="344" y="0"/>
                    <a:pt x="27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257" y="115"/>
                    <a:pt x="257" y="115"/>
                    <a:pt x="257" y="115"/>
                  </a:cubicBezTo>
                  <a:cubicBezTo>
                    <a:pt x="312" y="115"/>
                    <a:pt x="343" y="137"/>
                    <a:pt x="343" y="177"/>
                  </a:cubicBezTo>
                  <a:cubicBezTo>
                    <a:pt x="343" y="222"/>
                    <a:pt x="306" y="241"/>
                    <a:pt x="248" y="241"/>
                  </a:cubicBezTo>
                  <a:cubicBezTo>
                    <a:pt x="0" y="241"/>
                    <a:pt x="0" y="241"/>
                    <a:pt x="0" y="241"/>
                  </a:cubicBezTo>
                  <a:lnTo>
                    <a:pt x="0" y="596"/>
                  </a:lnTo>
                  <a:close/>
                  <a:moveTo>
                    <a:pt x="283" y="481"/>
                  </a:moveTo>
                  <a:cubicBezTo>
                    <a:pt x="127" y="481"/>
                    <a:pt x="127" y="481"/>
                    <a:pt x="127" y="481"/>
                  </a:cubicBezTo>
                  <a:cubicBezTo>
                    <a:pt x="127" y="350"/>
                    <a:pt x="127" y="350"/>
                    <a:pt x="127" y="350"/>
                  </a:cubicBezTo>
                  <a:cubicBezTo>
                    <a:pt x="279" y="350"/>
                    <a:pt x="279" y="350"/>
                    <a:pt x="279" y="350"/>
                  </a:cubicBezTo>
                  <a:cubicBezTo>
                    <a:pt x="346" y="350"/>
                    <a:pt x="376" y="375"/>
                    <a:pt x="376" y="415"/>
                  </a:cubicBezTo>
                  <a:cubicBezTo>
                    <a:pt x="376" y="461"/>
                    <a:pt x="341" y="481"/>
                    <a:pt x="283" y="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9" name="object 3">
            <a:extLst>
              <a:ext uri="{FF2B5EF4-FFF2-40B4-BE49-F238E27FC236}">
                <a16:creationId xmlns:a16="http://schemas.microsoft.com/office/drawing/2014/main" id="{8D333F5B-204A-4E2E-8A90-555E8523977A}"/>
              </a:ext>
            </a:extLst>
          </p:cNvPr>
          <p:cNvSpPr/>
          <p:nvPr userDrawn="1"/>
        </p:nvSpPr>
        <p:spPr>
          <a:xfrm>
            <a:off x="9204" y="4559"/>
            <a:ext cx="655813" cy="840582"/>
          </a:xfrm>
          <a:custGeom>
            <a:avLst/>
            <a:gdLst/>
            <a:ahLst/>
            <a:cxnLst/>
            <a:rect l="l" t="t" r="r" b="b"/>
            <a:pathLst>
              <a:path w="1005205" h="1288415">
                <a:moveTo>
                  <a:pt x="0" y="0"/>
                </a:moveTo>
                <a:lnTo>
                  <a:pt x="0" y="335068"/>
                </a:lnTo>
                <a:lnTo>
                  <a:pt x="609552" y="640462"/>
                </a:lnTo>
                <a:lnTo>
                  <a:pt x="0" y="952850"/>
                </a:lnTo>
                <a:lnTo>
                  <a:pt x="0" y="1287918"/>
                </a:lnTo>
                <a:lnTo>
                  <a:pt x="1005204" y="793253"/>
                </a:lnTo>
                <a:lnTo>
                  <a:pt x="1005204" y="49601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 anchor="ctr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05294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-bleed F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52AF02E-2129-4013-BA2B-4355D657A4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225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52AF02E-2129-4013-BA2B-4355D657A4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object 3">
            <a:extLst>
              <a:ext uri="{FF2B5EF4-FFF2-40B4-BE49-F238E27FC236}">
                <a16:creationId xmlns:a16="http://schemas.microsoft.com/office/drawing/2014/main" id="{DF0DF7E7-67EA-4956-8C31-6F90A10C92FE}"/>
              </a:ext>
            </a:extLst>
          </p:cNvPr>
          <p:cNvSpPr/>
          <p:nvPr userDrawn="1"/>
        </p:nvSpPr>
        <p:spPr>
          <a:xfrm>
            <a:off x="1" y="4559"/>
            <a:ext cx="540326" cy="692558"/>
          </a:xfrm>
          <a:custGeom>
            <a:avLst/>
            <a:gdLst/>
            <a:ahLst/>
            <a:cxnLst/>
            <a:rect l="l" t="t" r="r" b="b"/>
            <a:pathLst>
              <a:path w="1005205" h="1288415">
                <a:moveTo>
                  <a:pt x="0" y="0"/>
                </a:moveTo>
                <a:lnTo>
                  <a:pt x="0" y="335068"/>
                </a:lnTo>
                <a:lnTo>
                  <a:pt x="609552" y="640462"/>
                </a:lnTo>
                <a:lnTo>
                  <a:pt x="0" y="952850"/>
                </a:lnTo>
                <a:lnTo>
                  <a:pt x="0" y="1287918"/>
                </a:lnTo>
                <a:lnTo>
                  <a:pt x="1005204" y="793253"/>
                </a:lnTo>
                <a:lnTo>
                  <a:pt x="1005204" y="49601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 anchor="ctr"/>
          <a:lstStyle/>
          <a:p>
            <a:endParaRPr/>
          </a:p>
        </p:txBody>
      </p:sp>
      <p:sp>
        <p:nvSpPr>
          <p:cNvPr id="132" name="Picture Placeholder 8">
            <a:extLst>
              <a:ext uri="{FF2B5EF4-FFF2-40B4-BE49-F238E27FC236}">
                <a16:creationId xmlns:a16="http://schemas.microsoft.com/office/drawing/2014/main" id="{EDCBD13A-C811-4A36-B374-1BD6EDEFAC8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C168B6FE-8C02-4842-88D8-2BF6C87C7203}"/>
              </a:ext>
            </a:extLst>
          </p:cNvPr>
          <p:cNvGrpSpPr/>
          <p:nvPr userDrawn="1"/>
        </p:nvGrpSpPr>
        <p:grpSpPr>
          <a:xfrm>
            <a:off x="9809018" y="6114397"/>
            <a:ext cx="2022620" cy="422928"/>
            <a:chOff x="9809018" y="6114397"/>
            <a:chExt cx="2022620" cy="422928"/>
          </a:xfrm>
        </p:grpSpPr>
        <p:sp>
          <p:nvSpPr>
            <p:cNvPr id="134" name="Freeform 5">
              <a:extLst>
                <a:ext uri="{FF2B5EF4-FFF2-40B4-BE49-F238E27FC236}">
                  <a16:creationId xmlns:a16="http://schemas.microsoft.com/office/drawing/2014/main" id="{7FC05F61-C049-43FE-8259-8A45BBC5B4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66356" y="6115872"/>
              <a:ext cx="510226" cy="421453"/>
            </a:xfrm>
            <a:custGeom>
              <a:avLst/>
              <a:gdLst>
                <a:gd name="T0" fmla="*/ 318 w 1730"/>
                <a:gd name="T1" fmla="*/ 1429 h 1429"/>
                <a:gd name="T2" fmla="*/ 0 w 1730"/>
                <a:gd name="T3" fmla="*/ 1429 h 1429"/>
                <a:gd name="T4" fmla="*/ 721 w 1730"/>
                <a:gd name="T5" fmla="*/ 0 h 1429"/>
                <a:gd name="T6" fmla="*/ 1009 w 1730"/>
                <a:gd name="T7" fmla="*/ 0 h 1429"/>
                <a:gd name="T8" fmla="*/ 1730 w 1730"/>
                <a:gd name="T9" fmla="*/ 1429 h 1429"/>
                <a:gd name="T10" fmla="*/ 1405 w 1730"/>
                <a:gd name="T11" fmla="*/ 1429 h 1429"/>
                <a:gd name="T12" fmla="*/ 861 w 1730"/>
                <a:gd name="T13" fmla="*/ 376 h 1429"/>
                <a:gd name="T14" fmla="*/ 318 w 1730"/>
                <a:gd name="T15" fmla="*/ 1429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0" h="1429">
                  <a:moveTo>
                    <a:pt x="318" y="1429"/>
                  </a:moveTo>
                  <a:lnTo>
                    <a:pt x="0" y="1429"/>
                  </a:lnTo>
                  <a:lnTo>
                    <a:pt x="721" y="0"/>
                  </a:lnTo>
                  <a:lnTo>
                    <a:pt x="1009" y="0"/>
                  </a:lnTo>
                  <a:lnTo>
                    <a:pt x="1730" y="1429"/>
                  </a:lnTo>
                  <a:lnTo>
                    <a:pt x="1405" y="1429"/>
                  </a:lnTo>
                  <a:lnTo>
                    <a:pt x="861" y="376"/>
                  </a:lnTo>
                  <a:lnTo>
                    <a:pt x="318" y="14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" name="Rectangle 6">
              <a:extLst>
                <a:ext uri="{FF2B5EF4-FFF2-40B4-BE49-F238E27FC236}">
                  <a16:creationId xmlns:a16="http://schemas.microsoft.com/office/drawing/2014/main" id="{1DF7864D-B6D0-4572-BEA5-E403C010DEC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273043" y="6115872"/>
              <a:ext cx="14746" cy="11325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" name="Freeform 7">
              <a:extLst>
                <a:ext uri="{FF2B5EF4-FFF2-40B4-BE49-F238E27FC236}">
                  <a16:creationId xmlns:a16="http://schemas.microsoft.com/office/drawing/2014/main" id="{A972C330-034B-4C10-A85F-F1AE11C233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0822" y="6115872"/>
              <a:ext cx="94967" cy="113253"/>
            </a:xfrm>
            <a:custGeom>
              <a:avLst/>
              <a:gdLst>
                <a:gd name="T0" fmla="*/ 0 w 136"/>
                <a:gd name="T1" fmla="*/ 161 h 161"/>
                <a:gd name="T2" fmla="*/ 0 w 136"/>
                <a:gd name="T3" fmla="*/ 0 h 161"/>
                <a:gd name="T4" fmla="*/ 20 w 136"/>
                <a:gd name="T5" fmla="*/ 0 h 161"/>
                <a:gd name="T6" fmla="*/ 88 w 136"/>
                <a:gd name="T7" fmla="*/ 90 h 161"/>
                <a:gd name="T8" fmla="*/ 116 w 136"/>
                <a:gd name="T9" fmla="*/ 127 h 161"/>
                <a:gd name="T10" fmla="*/ 116 w 136"/>
                <a:gd name="T11" fmla="*/ 127 h 161"/>
                <a:gd name="T12" fmla="*/ 116 w 136"/>
                <a:gd name="T13" fmla="*/ 81 h 161"/>
                <a:gd name="T14" fmla="*/ 116 w 136"/>
                <a:gd name="T15" fmla="*/ 0 h 161"/>
                <a:gd name="T16" fmla="*/ 136 w 136"/>
                <a:gd name="T17" fmla="*/ 0 h 161"/>
                <a:gd name="T18" fmla="*/ 136 w 136"/>
                <a:gd name="T19" fmla="*/ 161 h 161"/>
                <a:gd name="T20" fmla="*/ 116 w 136"/>
                <a:gd name="T21" fmla="*/ 161 h 161"/>
                <a:gd name="T22" fmla="*/ 49 w 136"/>
                <a:gd name="T23" fmla="*/ 72 h 161"/>
                <a:gd name="T24" fmla="*/ 21 w 136"/>
                <a:gd name="T25" fmla="*/ 34 h 161"/>
                <a:gd name="T26" fmla="*/ 20 w 136"/>
                <a:gd name="T27" fmla="*/ 34 h 161"/>
                <a:gd name="T28" fmla="*/ 21 w 136"/>
                <a:gd name="T29" fmla="*/ 80 h 161"/>
                <a:gd name="T30" fmla="*/ 21 w 136"/>
                <a:gd name="T31" fmla="*/ 161 h 161"/>
                <a:gd name="T32" fmla="*/ 0 w 136"/>
                <a:gd name="T33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61">
                  <a:moveTo>
                    <a:pt x="0" y="16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88" y="90"/>
                    <a:pt x="88" y="90"/>
                    <a:pt x="88" y="90"/>
                  </a:cubicBezTo>
                  <a:cubicBezTo>
                    <a:pt x="97" y="102"/>
                    <a:pt x="106" y="114"/>
                    <a:pt x="116" y="127"/>
                  </a:cubicBezTo>
                  <a:cubicBezTo>
                    <a:pt x="116" y="127"/>
                    <a:pt x="116" y="127"/>
                    <a:pt x="116" y="127"/>
                  </a:cubicBezTo>
                  <a:cubicBezTo>
                    <a:pt x="116" y="113"/>
                    <a:pt x="116" y="97"/>
                    <a:pt x="116" y="81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161"/>
                    <a:pt x="136" y="161"/>
                    <a:pt x="136" y="161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39" y="60"/>
                    <a:pt x="30" y="47"/>
                    <a:pt x="21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1" y="48"/>
                    <a:pt x="21" y="65"/>
                    <a:pt x="21" y="80"/>
                  </a:cubicBezTo>
                  <a:cubicBezTo>
                    <a:pt x="21" y="161"/>
                    <a:pt x="21" y="161"/>
                    <a:pt x="21" y="161"/>
                  </a:cubicBezTo>
                  <a:lnTo>
                    <a:pt x="0" y="16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" name="Freeform 8">
              <a:extLst>
                <a:ext uri="{FF2B5EF4-FFF2-40B4-BE49-F238E27FC236}">
                  <a16:creationId xmlns:a16="http://schemas.microsoft.com/office/drawing/2014/main" id="{9C56225E-DEE0-4BC7-9BAF-A836577675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6729" y="6115872"/>
              <a:ext cx="101750" cy="113253"/>
            </a:xfrm>
            <a:custGeom>
              <a:avLst/>
              <a:gdLst>
                <a:gd name="T0" fmla="*/ 0 w 145"/>
                <a:gd name="T1" fmla="*/ 0 h 161"/>
                <a:gd name="T2" fmla="*/ 23 w 145"/>
                <a:gd name="T3" fmla="*/ 0 h 161"/>
                <a:gd name="T4" fmla="*/ 57 w 145"/>
                <a:gd name="T5" fmla="*/ 90 h 161"/>
                <a:gd name="T6" fmla="*/ 73 w 145"/>
                <a:gd name="T7" fmla="*/ 133 h 161"/>
                <a:gd name="T8" fmla="*/ 73 w 145"/>
                <a:gd name="T9" fmla="*/ 133 h 161"/>
                <a:gd name="T10" fmla="*/ 89 w 145"/>
                <a:gd name="T11" fmla="*/ 90 h 161"/>
                <a:gd name="T12" fmla="*/ 124 w 145"/>
                <a:gd name="T13" fmla="*/ 0 h 161"/>
                <a:gd name="T14" fmla="*/ 145 w 145"/>
                <a:gd name="T15" fmla="*/ 0 h 161"/>
                <a:gd name="T16" fmla="*/ 84 w 145"/>
                <a:gd name="T17" fmla="*/ 161 h 161"/>
                <a:gd name="T18" fmla="*/ 62 w 145"/>
                <a:gd name="T19" fmla="*/ 161 h 161"/>
                <a:gd name="T20" fmla="*/ 0 w 145"/>
                <a:gd name="T21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5" h="161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62" y="104"/>
                    <a:pt x="67" y="118"/>
                    <a:pt x="73" y="133"/>
                  </a:cubicBezTo>
                  <a:cubicBezTo>
                    <a:pt x="73" y="133"/>
                    <a:pt x="73" y="133"/>
                    <a:pt x="73" y="133"/>
                  </a:cubicBezTo>
                  <a:cubicBezTo>
                    <a:pt x="79" y="118"/>
                    <a:pt x="84" y="104"/>
                    <a:pt x="89" y="9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84" y="161"/>
                    <a:pt x="84" y="161"/>
                    <a:pt x="84" y="161"/>
                  </a:cubicBezTo>
                  <a:cubicBezTo>
                    <a:pt x="62" y="161"/>
                    <a:pt x="62" y="161"/>
                    <a:pt x="62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" name="Freeform 9">
              <a:extLst>
                <a:ext uri="{FF2B5EF4-FFF2-40B4-BE49-F238E27FC236}">
                  <a16:creationId xmlns:a16="http://schemas.microsoft.com/office/drawing/2014/main" id="{A4B0150F-461F-4C57-953C-2A11598913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60009" y="6115872"/>
              <a:ext cx="66654" cy="113253"/>
            </a:xfrm>
            <a:custGeom>
              <a:avLst/>
              <a:gdLst>
                <a:gd name="T0" fmla="*/ 0 w 226"/>
                <a:gd name="T1" fmla="*/ 0 h 384"/>
                <a:gd name="T2" fmla="*/ 221 w 226"/>
                <a:gd name="T3" fmla="*/ 0 h 384"/>
                <a:gd name="T4" fmla="*/ 221 w 226"/>
                <a:gd name="T5" fmla="*/ 45 h 384"/>
                <a:gd name="T6" fmla="*/ 50 w 226"/>
                <a:gd name="T7" fmla="*/ 45 h 384"/>
                <a:gd name="T8" fmla="*/ 50 w 226"/>
                <a:gd name="T9" fmla="*/ 162 h 384"/>
                <a:gd name="T10" fmla="*/ 199 w 226"/>
                <a:gd name="T11" fmla="*/ 162 h 384"/>
                <a:gd name="T12" fmla="*/ 199 w 226"/>
                <a:gd name="T13" fmla="*/ 207 h 384"/>
                <a:gd name="T14" fmla="*/ 50 w 226"/>
                <a:gd name="T15" fmla="*/ 207 h 384"/>
                <a:gd name="T16" fmla="*/ 50 w 226"/>
                <a:gd name="T17" fmla="*/ 338 h 384"/>
                <a:gd name="T18" fmla="*/ 226 w 226"/>
                <a:gd name="T19" fmla="*/ 338 h 384"/>
                <a:gd name="T20" fmla="*/ 226 w 226"/>
                <a:gd name="T21" fmla="*/ 384 h 384"/>
                <a:gd name="T22" fmla="*/ 0 w 226"/>
                <a:gd name="T23" fmla="*/ 384 h 384"/>
                <a:gd name="T24" fmla="*/ 0 w 226"/>
                <a:gd name="T25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" h="384">
                  <a:moveTo>
                    <a:pt x="0" y="0"/>
                  </a:moveTo>
                  <a:lnTo>
                    <a:pt x="221" y="0"/>
                  </a:lnTo>
                  <a:lnTo>
                    <a:pt x="221" y="45"/>
                  </a:lnTo>
                  <a:lnTo>
                    <a:pt x="50" y="45"/>
                  </a:lnTo>
                  <a:lnTo>
                    <a:pt x="50" y="162"/>
                  </a:lnTo>
                  <a:lnTo>
                    <a:pt x="199" y="162"/>
                  </a:lnTo>
                  <a:lnTo>
                    <a:pt x="199" y="207"/>
                  </a:lnTo>
                  <a:lnTo>
                    <a:pt x="50" y="207"/>
                  </a:lnTo>
                  <a:lnTo>
                    <a:pt x="50" y="338"/>
                  </a:lnTo>
                  <a:lnTo>
                    <a:pt x="226" y="338"/>
                  </a:lnTo>
                  <a:lnTo>
                    <a:pt x="226" y="384"/>
                  </a:lnTo>
                  <a:lnTo>
                    <a:pt x="0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" name="Freeform 10">
              <a:extLst>
                <a:ext uri="{FF2B5EF4-FFF2-40B4-BE49-F238E27FC236}">
                  <a16:creationId xmlns:a16="http://schemas.microsoft.com/office/drawing/2014/main" id="{ABC4F550-0B0F-46F4-9CDB-53266CEC69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50257" y="6114397"/>
              <a:ext cx="74322" cy="116792"/>
            </a:xfrm>
            <a:custGeom>
              <a:avLst/>
              <a:gdLst>
                <a:gd name="T0" fmla="*/ 4 w 106"/>
                <a:gd name="T1" fmla="*/ 130 h 166"/>
                <a:gd name="T2" fmla="*/ 52 w 106"/>
                <a:gd name="T3" fmla="*/ 146 h 166"/>
                <a:gd name="T4" fmla="*/ 85 w 106"/>
                <a:gd name="T5" fmla="*/ 120 h 166"/>
                <a:gd name="T6" fmla="*/ 45 w 106"/>
                <a:gd name="T7" fmla="*/ 90 h 166"/>
                <a:gd name="T8" fmla="*/ 0 w 106"/>
                <a:gd name="T9" fmla="*/ 45 h 166"/>
                <a:gd name="T10" fmla="*/ 52 w 106"/>
                <a:gd name="T11" fmla="*/ 0 h 166"/>
                <a:gd name="T12" fmla="*/ 99 w 106"/>
                <a:gd name="T13" fmla="*/ 12 h 166"/>
                <a:gd name="T14" fmla="*/ 99 w 106"/>
                <a:gd name="T15" fmla="*/ 34 h 166"/>
                <a:gd name="T16" fmla="*/ 52 w 106"/>
                <a:gd name="T17" fmla="*/ 19 h 166"/>
                <a:gd name="T18" fmla="*/ 21 w 106"/>
                <a:gd name="T19" fmla="*/ 43 h 166"/>
                <a:gd name="T20" fmla="*/ 59 w 106"/>
                <a:gd name="T21" fmla="*/ 72 h 166"/>
                <a:gd name="T22" fmla="*/ 106 w 106"/>
                <a:gd name="T23" fmla="*/ 119 h 166"/>
                <a:gd name="T24" fmla="*/ 52 w 106"/>
                <a:gd name="T25" fmla="*/ 166 h 166"/>
                <a:gd name="T26" fmla="*/ 4 w 106"/>
                <a:gd name="T27" fmla="*/ 153 h 166"/>
                <a:gd name="T28" fmla="*/ 4 w 106"/>
                <a:gd name="T29" fmla="*/ 13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6" h="166">
                  <a:moveTo>
                    <a:pt x="4" y="130"/>
                  </a:moveTo>
                  <a:cubicBezTo>
                    <a:pt x="19" y="141"/>
                    <a:pt x="38" y="146"/>
                    <a:pt x="52" y="146"/>
                  </a:cubicBezTo>
                  <a:cubicBezTo>
                    <a:pt x="71" y="146"/>
                    <a:pt x="85" y="138"/>
                    <a:pt x="85" y="120"/>
                  </a:cubicBezTo>
                  <a:cubicBezTo>
                    <a:pt x="85" y="99"/>
                    <a:pt x="66" y="96"/>
                    <a:pt x="45" y="90"/>
                  </a:cubicBezTo>
                  <a:cubicBezTo>
                    <a:pt x="22" y="83"/>
                    <a:pt x="0" y="74"/>
                    <a:pt x="0" y="45"/>
                  </a:cubicBezTo>
                  <a:cubicBezTo>
                    <a:pt x="0" y="16"/>
                    <a:pt x="21" y="0"/>
                    <a:pt x="52" y="0"/>
                  </a:cubicBezTo>
                  <a:cubicBezTo>
                    <a:pt x="67" y="0"/>
                    <a:pt x="86" y="4"/>
                    <a:pt x="99" y="12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84" y="24"/>
                    <a:pt x="66" y="19"/>
                    <a:pt x="52" y="19"/>
                  </a:cubicBezTo>
                  <a:cubicBezTo>
                    <a:pt x="34" y="19"/>
                    <a:pt x="21" y="27"/>
                    <a:pt x="21" y="43"/>
                  </a:cubicBezTo>
                  <a:cubicBezTo>
                    <a:pt x="21" y="63"/>
                    <a:pt x="40" y="67"/>
                    <a:pt x="59" y="72"/>
                  </a:cubicBezTo>
                  <a:cubicBezTo>
                    <a:pt x="83" y="79"/>
                    <a:pt x="106" y="88"/>
                    <a:pt x="106" y="119"/>
                  </a:cubicBezTo>
                  <a:cubicBezTo>
                    <a:pt x="106" y="148"/>
                    <a:pt x="84" y="166"/>
                    <a:pt x="52" y="166"/>
                  </a:cubicBezTo>
                  <a:cubicBezTo>
                    <a:pt x="37" y="166"/>
                    <a:pt x="18" y="161"/>
                    <a:pt x="4" y="153"/>
                  </a:cubicBezTo>
                  <a:lnTo>
                    <a:pt x="4" y="13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" name="Freeform 11">
              <a:extLst>
                <a:ext uri="{FF2B5EF4-FFF2-40B4-BE49-F238E27FC236}">
                  <a16:creationId xmlns:a16="http://schemas.microsoft.com/office/drawing/2014/main" id="{D4D51628-17C0-4828-A2D1-271E4328AB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35786" y="6115872"/>
              <a:ext cx="90248" cy="113253"/>
            </a:xfrm>
            <a:custGeom>
              <a:avLst/>
              <a:gdLst>
                <a:gd name="T0" fmla="*/ 128 w 306"/>
                <a:gd name="T1" fmla="*/ 45 h 384"/>
                <a:gd name="T2" fmla="*/ 0 w 306"/>
                <a:gd name="T3" fmla="*/ 45 h 384"/>
                <a:gd name="T4" fmla="*/ 0 w 306"/>
                <a:gd name="T5" fmla="*/ 0 h 384"/>
                <a:gd name="T6" fmla="*/ 306 w 306"/>
                <a:gd name="T7" fmla="*/ 0 h 384"/>
                <a:gd name="T8" fmla="*/ 306 w 306"/>
                <a:gd name="T9" fmla="*/ 45 h 384"/>
                <a:gd name="T10" fmla="*/ 178 w 306"/>
                <a:gd name="T11" fmla="*/ 45 h 384"/>
                <a:gd name="T12" fmla="*/ 178 w 306"/>
                <a:gd name="T13" fmla="*/ 384 h 384"/>
                <a:gd name="T14" fmla="*/ 128 w 306"/>
                <a:gd name="T15" fmla="*/ 384 h 384"/>
                <a:gd name="T16" fmla="*/ 128 w 306"/>
                <a:gd name="T17" fmla="*/ 45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6" h="384">
                  <a:moveTo>
                    <a:pt x="128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306" y="0"/>
                  </a:lnTo>
                  <a:lnTo>
                    <a:pt x="306" y="45"/>
                  </a:lnTo>
                  <a:lnTo>
                    <a:pt x="178" y="45"/>
                  </a:lnTo>
                  <a:lnTo>
                    <a:pt x="178" y="384"/>
                  </a:lnTo>
                  <a:lnTo>
                    <a:pt x="128" y="384"/>
                  </a:lnTo>
                  <a:lnTo>
                    <a:pt x="128" y="4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" name="Freeform 12">
              <a:extLst>
                <a:ext uri="{FF2B5EF4-FFF2-40B4-BE49-F238E27FC236}">
                  <a16:creationId xmlns:a16="http://schemas.microsoft.com/office/drawing/2014/main" id="{F69032A7-22BC-4758-91C4-F952E59B21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4066" y="6270414"/>
              <a:ext cx="153953" cy="113253"/>
            </a:xfrm>
            <a:custGeom>
              <a:avLst/>
              <a:gdLst>
                <a:gd name="T0" fmla="*/ 0 w 220"/>
                <a:gd name="T1" fmla="*/ 0 h 161"/>
                <a:gd name="T2" fmla="*/ 22 w 220"/>
                <a:gd name="T3" fmla="*/ 0 h 161"/>
                <a:gd name="T4" fmla="*/ 49 w 220"/>
                <a:gd name="T5" fmla="*/ 87 h 161"/>
                <a:gd name="T6" fmla="*/ 62 w 220"/>
                <a:gd name="T7" fmla="*/ 129 h 161"/>
                <a:gd name="T8" fmla="*/ 62 w 220"/>
                <a:gd name="T9" fmla="*/ 129 h 161"/>
                <a:gd name="T10" fmla="*/ 75 w 220"/>
                <a:gd name="T11" fmla="*/ 87 h 161"/>
                <a:gd name="T12" fmla="*/ 103 w 220"/>
                <a:gd name="T13" fmla="*/ 0 h 161"/>
                <a:gd name="T14" fmla="*/ 118 w 220"/>
                <a:gd name="T15" fmla="*/ 0 h 161"/>
                <a:gd name="T16" fmla="*/ 145 w 220"/>
                <a:gd name="T17" fmla="*/ 87 h 161"/>
                <a:gd name="T18" fmla="*/ 158 w 220"/>
                <a:gd name="T19" fmla="*/ 129 h 161"/>
                <a:gd name="T20" fmla="*/ 159 w 220"/>
                <a:gd name="T21" fmla="*/ 129 h 161"/>
                <a:gd name="T22" fmla="*/ 171 w 220"/>
                <a:gd name="T23" fmla="*/ 87 h 161"/>
                <a:gd name="T24" fmla="*/ 198 w 220"/>
                <a:gd name="T25" fmla="*/ 0 h 161"/>
                <a:gd name="T26" fmla="*/ 220 w 220"/>
                <a:gd name="T27" fmla="*/ 0 h 161"/>
                <a:gd name="T28" fmla="*/ 170 w 220"/>
                <a:gd name="T29" fmla="*/ 161 h 161"/>
                <a:gd name="T30" fmla="*/ 147 w 220"/>
                <a:gd name="T31" fmla="*/ 161 h 161"/>
                <a:gd name="T32" fmla="*/ 121 w 220"/>
                <a:gd name="T33" fmla="*/ 79 h 161"/>
                <a:gd name="T34" fmla="*/ 110 w 220"/>
                <a:gd name="T35" fmla="*/ 42 h 161"/>
                <a:gd name="T36" fmla="*/ 110 w 220"/>
                <a:gd name="T37" fmla="*/ 42 h 161"/>
                <a:gd name="T38" fmla="*/ 98 w 220"/>
                <a:gd name="T39" fmla="*/ 79 h 161"/>
                <a:gd name="T40" fmla="*/ 73 w 220"/>
                <a:gd name="T41" fmla="*/ 161 h 161"/>
                <a:gd name="T42" fmla="*/ 50 w 220"/>
                <a:gd name="T43" fmla="*/ 161 h 161"/>
                <a:gd name="T44" fmla="*/ 0 w 220"/>
                <a:gd name="T45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0" h="161">
                  <a:moveTo>
                    <a:pt x="0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54" y="101"/>
                    <a:pt x="58" y="115"/>
                    <a:pt x="62" y="129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66" y="115"/>
                    <a:pt x="71" y="101"/>
                    <a:pt x="75" y="87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45" y="87"/>
                    <a:pt x="145" y="87"/>
                    <a:pt x="145" y="87"/>
                  </a:cubicBezTo>
                  <a:cubicBezTo>
                    <a:pt x="150" y="101"/>
                    <a:pt x="154" y="115"/>
                    <a:pt x="158" y="129"/>
                  </a:cubicBezTo>
                  <a:cubicBezTo>
                    <a:pt x="159" y="129"/>
                    <a:pt x="159" y="129"/>
                    <a:pt x="159" y="129"/>
                  </a:cubicBezTo>
                  <a:cubicBezTo>
                    <a:pt x="163" y="115"/>
                    <a:pt x="167" y="101"/>
                    <a:pt x="171" y="87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170" y="161"/>
                    <a:pt x="170" y="161"/>
                    <a:pt x="170" y="161"/>
                  </a:cubicBezTo>
                  <a:cubicBezTo>
                    <a:pt x="147" y="161"/>
                    <a:pt x="147" y="161"/>
                    <a:pt x="147" y="161"/>
                  </a:cubicBezTo>
                  <a:cubicBezTo>
                    <a:pt x="121" y="79"/>
                    <a:pt x="121" y="79"/>
                    <a:pt x="121" y="79"/>
                  </a:cubicBezTo>
                  <a:cubicBezTo>
                    <a:pt x="117" y="66"/>
                    <a:pt x="114" y="54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06" y="54"/>
                    <a:pt x="102" y="67"/>
                    <a:pt x="98" y="79"/>
                  </a:cubicBezTo>
                  <a:cubicBezTo>
                    <a:pt x="73" y="161"/>
                    <a:pt x="73" y="161"/>
                    <a:pt x="73" y="161"/>
                  </a:cubicBezTo>
                  <a:cubicBezTo>
                    <a:pt x="50" y="161"/>
                    <a:pt x="50" y="161"/>
                    <a:pt x="50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" name="Freeform 13">
              <a:extLst>
                <a:ext uri="{FF2B5EF4-FFF2-40B4-BE49-F238E27FC236}">
                  <a16:creationId xmlns:a16="http://schemas.microsoft.com/office/drawing/2014/main" id="{9703A661-DF9D-46EB-9410-1F7A083F338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490111" y="6268940"/>
              <a:ext cx="114727" cy="115907"/>
            </a:xfrm>
            <a:custGeom>
              <a:avLst/>
              <a:gdLst>
                <a:gd name="T0" fmla="*/ 82 w 164"/>
                <a:gd name="T1" fmla="*/ 0 h 165"/>
                <a:gd name="T2" fmla="*/ 164 w 164"/>
                <a:gd name="T3" fmla="*/ 82 h 165"/>
                <a:gd name="T4" fmla="*/ 82 w 164"/>
                <a:gd name="T5" fmla="*/ 165 h 165"/>
                <a:gd name="T6" fmla="*/ 0 w 164"/>
                <a:gd name="T7" fmla="*/ 82 h 165"/>
                <a:gd name="T8" fmla="*/ 82 w 164"/>
                <a:gd name="T9" fmla="*/ 0 h 165"/>
                <a:gd name="T10" fmla="*/ 82 w 164"/>
                <a:gd name="T11" fmla="*/ 146 h 165"/>
                <a:gd name="T12" fmla="*/ 143 w 164"/>
                <a:gd name="T13" fmla="*/ 82 h 165"/>
                <a:gd name="T14" fmla="*/ 82 w 164"/>
                <a:gd name="T15" fmla="*/ 19 h 165"/>
                <a:gd name="T16" fmla="*/ 22 w 164"/>
                <a:gd name="T17" fmla="*/ 82 h 165"/>
                <a:gd name="T18" fmla="*/ 82 w 164"/>
                <a:gd name="T19" fmla="*/ 146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5">
                  <a:moveTo>
                    <a:pt x="82" y="0"/>
                  </a:moveTo>
                  <a:cubicBezTo>
                    <a:pt x="129" y="0"/>
                    <a:pt x="164" y="36"/>
                    <a:pt x="164" y="82"/>
                  </a:cubicBezTo>
                  <a:cubicBezTo>
                    <a:pt x="164" y="129"/>
                    <a:pt x="129" y="165"/>
                    <a:pt x="82" y="165"/>
                  </a:cubicBezTo>
                  <a:cubicBezTo>
                    <a:pt x="36" y="165"/>
                    <a:pt x="0" y="129"/>
                    <a:pt x="0" y="82"/>
                  </a:cubicBezTo>
                  <a:cubicBezTo>
                    <a:pt x="0" y="36"/>
                    <a:pt x="36" y="0"/>
                    <a:pt x="82" y="0"/>
                  </a:cubicBezTo>
                  <a:close/>
                  <a:moveTo>
                    <a:pt x="82" y="146"/>
                  </a:moveTo>
                  <a:cubicBezTo>
                    <a:pt x="117" y="146"/>
                    <a:pt x="143" y="118"/>
                    <a:pt x="143" y="82"/>
                  </a:cubicBezTo>
                  <a:cubicBezTo>
                    <a:pt x="143" y="47"/>
                    <a:pt x="117" y="19"/>
                    <a:pt x="82" y="19"/>
                  </a:cubicBezTo>
                  <a:cubicBezTo>
                    <a:pt x="47" y="19"/>
                    <a:pt x="22" y="47"/>
                    <a:pt x="22" y="82"/>
                  </a:cubicBezTo>
                  <a:cubicBezTo>
                    <a:pt x="22" y="118"/>
                    <a:pt x="47" y="146"/>
                    <a:pt x="82" y="14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" name="Freeform 14">
              <a:extLst>
                <a:ext uri="{FF2B5EF4-FFF2-40B4-BE49-F238E27FC236}">
                  <a16:creationId xmlns:a16="http://schemas.microsoft.com/office/drawing/2014/main" id="{7E5E2063-914E-4654-B51A-C27F6846F0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631382" y="6270414"/>
              <a:ext cx="86119" cy="113253"/>
            </a:xfrm>
            <a:custGeom>
              <a:avLst/>
              <a:gdLst>
                <a:gd name="T0" fmla="*/ 0 w 123"/>
                <a:gd name="T1" fmla="*/ 0 h 161"/>
                <a:gd name="T2" fmla="*/ 43 w 123"/>
                <a:gd name="T3" fmla="*/ 0 h 161"/>
                <a:gd name="T4" fmla="*/ 88 w 123"/>
                <a:gd name="T5" fmla="*/ 8 h 161"/>
                <a:gd name="T6" fmla="*/ 111 w 123"/>
                <a:gd name="T7" fmla="*/ 46 h 161"/>
                <a:gd name="T8" fmla="*/ 90 w 123"/>
                <a:gd name="T9" fmla="*/ 83 h 161"/>
                <a:gd name="T10" fmla="*/ 71 w 123"/>
                <a:gd name="T11" fmla="*/ 90 h 161"/>
                <a:gd name="T12" fmla="*/ 123 w 123"/>
                <a:gd name="T13" fmla="*/ 161 h 161"/>
                <a:gd name="T14" fmla="*/ 97 w 123"/>
                <a:gd name="T15" fmla="*/ 161 h 161"/>
                <a:gd name="T16" fmla="*/ 48 w 123"/>
                <a:gd name="T17" fmla="*/ 92 h 161"/>
                <a:gd name="T18" fmla="*/ 21 w 123"/>
                <a:gd name="T19" fmla="*/ 92 h 161"/>
                <a:gd name="T20" fmla="*/ 21 w 123"/>
                <a:gd name="T21" fmla="*/ 161 h 161"/>
                <a:gd name="T22" fmla="*/ 0 w 123"/>
                <a:gd name="T23" fmla="*/ 161 h 161"/>
                <a:gd name="T24" fmla="*/ 0 w 123"/>
                <a:gd name="T25" fmla="*/ 0 h 161"/>
                <a:gd name="T26" fmla="*/ 48 w 123"/>
                <a:gd name="T27" fmla="*/ 75 h 161"/>
                <a:gd name="T28" fmla="*/ 80 w 123"/>
                <a:gd name="T29" fmla="*/ 67 h 161"/>
                <a:gd name="T30" fmla="*/ 89 w 123"/>
                <a:gd name="T31" fmla="*/ 47 h 161"/>
                <a:gd name="T32" fmla="*/ 76 w 123"/>
                <a:gd name="T33" fmla="*/ 25 h 161"/>
                <a:gd name="T34" fmla="*/ 42 w 123"/>
                <a:gd name="T35" fmla="*/ 19 h 161"/>
                <a:gd name="T36" fmla="*/ 21 w 123"/>
                <a:gd name="T37" fmla="*/ 19 h 161"/>
                <a:gd name="T38" fmla="*/ 21 w 123"/>
                <a:gd name="T39" fmla="*/ 75 h 161"/>
                <a:gd name="T40" fmla="*/ 48 w 123"/>
                <a:gd name="T41" fmla="*/ 75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3" h="161">
                  <a:moveTo>
                    <a:pt x="0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60" y="0"/>
                    <a:pt x="75" y="1"/>
                    <a:pt x="88" y="8"/>
                  </a:cubicBezTo>
                  <a:cubicBezTo>
                    <a:pt x="102" y="15"/>
                    <a:pt x="111" y="28"/>
                    <a:pt x="111" y="46"/>
                  </a:cubicBezTo>
                  <a:cubicBezTo>
                    <a:pt x="111" y="63"/>
                    <a:pt x="102" y="76"/>
                    <a:pt x="90" y="83"/>
                  </a:cubicBezTo>
                  <a:cubicBezTo>
                    <a:pt x="84" y="87"/>
                    <a:pt x="78" y="89"/>
                    <a:pt x="71" y="90"/>
                  </a:cubicBezTo>
                  <a:cubicBezTo>
                    <a:pt x="123" y="161"/>
                    <a:pt x="123" y="161"/>
                    <a:pt x="123" y="161"/>
                  </a:cubicBezTo>
                  <a:cubicBezTo>
                    <a:pt x="97" y="161"/>
                    <a:pt x="97" y="161"/>
                    <a:pt x="97" y="161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0" y="161"/>
                    <a:pt x="0" y="161"/>
                    <a:pt x="0" y="161"/>
                  </a:cubicBezTo>
                  <a:lnTo>
                    <a:pt x="0" y="0"/>
                  </a:lnTo>
                  <a:close/>
                  <a:moveTo>
                    <a:pt x="48" y="75"/>
                  </a:moveTo>
                  <a:cubicBezTo>
                    <a:pt x="63" y="75"/>
                    <a:pt x="73" y="73"/>
                    <a:pt x="80" y="67"/>
                  </a:cubicBezTo>
                  <a:cubicBezTo>
                    <a:pt x="86" y="63"/>
                    <a:pt x="89" y="56"/>
                    <a:pt x="89" y="47"/>
                  </a:cubicBezTo>
                  <a:cubicBezTo>
                    <a:pt x="89" y="37"/>
                    <a:pt x="85" y="29"/>
                    <a:pt x="76" y="25"/>
                  </a:cubicBezTo>
                  <a:cubicBezTo>
                    <a:pt x="68" y="20"/>
                    <a:pt x="57" y="19"/>
                    <a:pt x="42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75"/>
                    <a:pt x="21" y="75"/>
                    <a:pt x="21" y="75"/>
                  </a:cubicBezTo>
                  <a:lnTo>
                    <a:pt x="48" y="7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" name="Freeform 15">
              <a:extLst>
                <a:ext uri="{FF2B5EF4-FFF2-40B4-BE49-F238E27FC236}">
                  <a16:creationId xmlns:a16="http://schemas.microsoft.com/office/drawing/2014/main" id="{096ABFB1-000D-4EF9-AF51-C838608FED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44929" y="6270414"/>
              <a:ext cx="86709" cy="113253"/>
            </a:xfrm>
            <a:custGeom>
              <a:avLst/>
              <a:gdLst>
                <a:gd name="T0" fmla="*/ 0 w 294"/>
                <a:gd name="T1" fmla="*/ 0 h 384"/>
                <a:gd name="T2" fmla="*/ 49 w 294"/>
                <a:gd name="T3" fmla="*/ 0 h 384"/>
                <a:gd name="T4" fmla="*/ 49 w 294"/>
                <a:gd name="T5" fmla="*/ 174 h 384"/>
                <a:gd name="T6" fmla="*/ 49 w 294"/>
                <a:gd name="T7" fmla="*/ 174 h 384"/>
                <a:gd name="T8" fmla="*/ 216 w 294"/>
                <a:gd name="T9" fmla="*/ 0 h 384"/>
                <a:gd name="T10" fmla="*/ 280 w 294"/>
                <a:gd name="T11" fmla="*/ 0 h 384"/>
                <a:gd name="T12" fmla="*/ 106 w 294"/>
                <a:gd name="T13" fmla="*/ 179 h 384"/>
                <a:gd name="T14" fmla="*/ 294 w 294"/>
                <a:gd name="T15" fmla="*/ 384 h 384"/>
                <a:gd name="T16" fmla="*/ 227 w 294"/>
                <a:gd name="T17" fmla="*/ 384 h 384"/>
                <a:gd name="T18" fmla="*/ 49 w 294"/>
                <a:gd name="T19" fmla="*/ 186 h 384"/>
                <a:gd name="T20" fmla="*/ 49 w 294"/>
                <a:gd name="T21" fmla="*/ 186 h 384"/>
                <a:gd name="T22" fmla="*/ 49 w 294"/>
                <a:gd name="T23" fmla="*/ 384 h 384"/>
                <a:gd name="T24" fmla="*/ 0 w 294"/>
                <a:gd name="T25" fmla="*/ 384 h 384"/>
                <a:gd name="T26" fmla="*/ 0 w 294"/>
                <a:gd name="T27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384">
                  <a:moveTo>
                    <a:pt x="0" y="0"/>
                  </a:moveTo>
                  <a:lnTo>
                    <a:pt x="49" y="0"/>
                  </a:lnTo>
                  <a:lnTo>
                    <a:pt x="49" y="174"/>
                  </a:lnTo>
                  <a:lnTo>
                    <a:pt x="49" y="174"/>
                  </a:lnTo>
                  <a:lnTo>
                    <a:pt x="216" y="0"/>
                  </a:lnTo>
                  <a:lnTo>
                    <a:pt x="280" y="0"/>
                  </a:lnTo>
                  <a:lnTo>
                    <a:pt x="106" y="179"/>
                  </a:lnTo>
                  <a:lnTo>
                    <a:pt x="294" y="384"/>
                  </a:lnTo>
                  <a:lnTo>
                    <a:pt x="227" y="384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384"/>
                  </a:lnTo>
                  <a:lnTo>
                    <a:pt x="0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" name="Freeform 16">
              <a:extLst>
                <a:ext uri="{FF2B5EF4-FFF2-40B4-BE49-F238E27FC236}">
                  <a16:creationId xmlns:a16="http://schemas.microsoft.com/office/drawing/2014/main" id="{EAEBC4A3-2171-4610-B11B-E1763D8C65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67106" y="6424367"/>
              <a:ext cx="66359" cy="112958"/>
            </a:xfrm>
            <a:custGeom>
              <a:avLst/>
              <a:gdLst>
                <a:gd name="T0" fmla="*/ 0 w 225"/>
                <a:gd name="T1" fmla="*/ 0 h 383"/>
                <a:gd name="T2" fmla="*/ 225 w 225"/>
                <a:gd name="T3" fmla="*/ 0 h 383"/>
                <a:gd name="T4" fmla="*/ 225 w 225"/>
                <a:gd name="T5" fmla="*/ 45 h 383"/>
                <a:gd name="T6" fmla="*/ 49 w 225"/>
                <a:gd name="T7" fmla="*/ 45 h 383"/>
                <a:gd name="T8" fmla="*/ 49 w 225"/>
                <a:gd name="T9" fmla="*/ 169 h 383"/>
                <a:gd name="T10" fmla="*/ 204 w 225"/>
                <a:gd name="T11" fmla="*/ 169 h 383"/>
                <a:gd name="T12" fmla="*/ 204 w 225"/>
                <a:gd name="T13" fmla="*/ 214 h 383"/>
                <a:gd name="T14" fmla="*/ 49 w 225"/>
                <a:gd name="T15" fmla="*/ 214 h 383"/>
                <a:gd name="T16" fmla="*/ 49 w 225"/>
                <a:gd name="T17" fmla="*/ 383 h 383"/>
                <a:gd name="T18" fmla="*/ 0 w 225"/>
                <a:gd name="T19" fmla="*/ 383 h 383"/>
                <a:gd name="T20" fmla="*/ 0 w 225"/>
                <a:gd name="T21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5" h="383">
                  <a:moveTo>
                    <a:pt x="0" y="0"/>
                  </a:moveTo>
                  <a:lnTo>
                    <a:pt x="225" y="0"/>
                  </a:lnTo>
                  <a:lnTo>
                    <a:pt x="225" y="45"/>
                  </a:lnTo>
                  <a:lnTo>
                    <a:pt x="49" y="45"/>
                  </a:lnTo>
                  <a:lnTo>
                    <a:pt x="49" y="169"/>
                  </a:lnTo>
                  <a:lnTo>
                    <a:pt x="204" y="169"/>
                  </a:lnTo>
                  <a:lnTo>
                    <a:pt x="204" y="214"/>
                  </a:lnTo>
                  <a:lnTo>
                    <a:pt x="49" y="214"/>
                  </a:lnTo>
                  <a:lnTo>
                    <a:pt x="49" y="383"/>
                  </a:lnTo>
                  <a:lnTo>
                    <a:pt x="0" y="3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" name="Rectangle 17">
              <a:extLst>
                <a:ext uri="{FF2B5EF4-FFF2-40B4-BE49-F238E27FC236}">
                  <a16:creationId xmlns:a16="http://schemas.microsoft.com/office/drawing/2014/main" id="{AF0A0B90-7573-463E-9D9D-4BC4FC21780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565023" y="6424367"/>
              <a:ext cx="14746" cy="11295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" name="Freeform 18">
              <a:extLst>
                <a:ext uri="{FF2B5EF4-FFF2-40B4-BE49-F238E27FC236}">
                  <a16:creationId xmlns:a16="http://schemas.microsoft.com/office/drawing/2014/main" id="{39187812-ABFF-41D4-B84E-ED321FD2CD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15455" y="6424367"/>
              <a:ext cx="67834" cy="112958"/>
            </a:xfrm>
            <a:custGeom>
              <a:avLst/>
              <a:gdLst>
                <a:gd name="T0" fmla="*/ 0 w 230"/>
                <a:gd name="T1" fmla="*/ 0 h 383"/>
                <a:gd name="T2" fmla="*/ 49 w 230"/>
                <a:gd name="T3" fmla="*/ 0 h 383"/>
                <a:gd name="T4" fmla="*/ 49 w 230"/>
                <a:gd name="T5" fmla="*/ 338 h 383"/>
                <a:gd name="T6" fmla="*/ 230 w 230"/>
                <a:gd name="T7" fmla="*/ 338 h 383"/>
                <a:gd name="T8" fmla="*/ 230 w 230"/>
                <a:gd name="T9" fmla="*/ 383 h 383"/>
                <a:gd name="T10" fmla="*/ 0 w 230"/>
                <a:gd name="T11" fmla="*/ 383 h 383"/>
                <a:gd name="T12" fmla="*/ 0 w 230"/>
                <a:gd name="T13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0" h="383">
                  <a:moveTo>
                    <a:pt x="0" y="0"/>
                  </a:moveTo>
                  <a:lnTo>
                    <a:pt x="49" y="0"/>
                  </a:lnTo>
                  <a:lnTo>
                    <a:pt x="49" y="338"/>
                  </a:lnTo>
                  <a:lnTo>
                    <a:pt x="230" y="338"/>
                  </a:lnTo>
                  <a:lnTo>
                    <a:pt x="230" y="383"/>
                  </a:lnTo>
                  <a:lnTo>
                    <a:pt x="0" y="3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" name="Freeform 19">
              <a:extLst>
                <a:ext uri="{FF2B5EF4-FFF2-40B4-BE49-F238E27FC236}">
                  <a16:creationId xmlns:a16="http://schemas.microsoft.com/office/drawing/2014/main" id="{D065D3F7-EF7C-4441-AB78-2337EB2357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08358" y="6424367"/>
              <a:ext cx="108534" cy="112958"/>
            </a:xfrm>
            <a:custGeom>
              <a:avLst/>
              <a:gdLst>
                <a:gd name="T0" fmla="*/ 42 w 155"/>
                <a:gd name="T1" fmla="*/ 67 h 161"/>
                <a:gd name="T2" fmla="*/ 20 w 155"/>
                <a:gd name="T3" fmla="*/ 35 h 161"/>
                <a:gd name="T4" fmla="*/ 20 w 155"/>
                <a:gd name="T5" fmla="*/ 36 h 161"/>
                <a:gd name="T6" fmla="*/ 20 w 155"/>
                <a:gd name="T7" fmla="*/ 71 h 161"/>
                <a:gd name="T8" fmla="*/ 20 w 155"/>
                <a:gd name="T9" fmla="*/ 161 h 161"/>
                <a:gd name="T10" fmla="*/ 0 w 155"/>
                <a:gd name="T11" fmla="*/ 161 h 161"/>
                <a:gd name="T12" fmla="*/ 0 w 155"/>
                <a:gd name="T13" fmla="*/ 0 h 161"/>
                <a:gd name="T14" fmla="*/ 20 w 155"/>
                <a:gd name="T15" fmla="*/ 0 h 161"/>
                <a:gd name="T16" fmla="*/ 78 w 155"/>
                <a:gd name="T17" fmla="*/ 82 h 161"/>
                <a:gd name="T18" fmla="*/ 135 w 155"/>
                <a:gd name="T19" fmla="*/ 0 h 161"/>
                <a:gd name="T20" fmla="*/ 155 w 155"/>
                <a:gd name="T21" fmla="*/ 0 h 161"/>
                <a:gd name="T22" fmla="*/ 155 w 155"/>
                <a:gd name="T23" fmla="*/ 161 h 161"/>
                <a:gd name="T24" fmla="*/ 134 w 155"/>
                <a:gd name="T25" fmla="*/ 161 h 161"/>
                <a:gd name="T26" fmla="*/ 134 w 155"/>
                <a:gd name="T27" fmla="*/ 71 h 161"/>
                <a:gd name="T28" fmla="*/ 134 w 155"/>
                <a:gd name="T29" fmla="*/ 36 h 161"/>
                <a:gd name="T30" fmla="*/ 134 w 155"/>
                <a:gd name="T31" fmla="*/ 35 h 161"/>
                <a:gd name="T32" fmla="*/ 112 w 155"/>
                <a:gd name="T33" fmla="*/ 67 h 161"/>
                <a:gd name="T34" fmla="*/ 77 w 155"/>
                <a:gd name="T35" fmla="*/ 117 h 161"/>
                <a:gd name="T36" fmla="*/ 42 w 155"/>
                <a:gd name="T37" fmla="*/ 6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61">
                  <a:moveTo>
                    <a:pt x="42" y="67"/>
                  </a:moveTo>
                  <a:cubicBezTo>
                    <a:pt x="35" y="57"/>
                    <a:pt x="28" y="46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45"/>
                    <a:pt x="20" y="57"/>
                    <a:pt x="20" y="71"/>
                  </a:cubicBezTo>
                  <a:cubicBezTo>
                    <a:pt x="20" y="161"/>
                    <a:pt x="20" y="161"/>
                    <a:pt x="2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5" y="161"/>
                    <a:pt x="155" y="161"/>
                    <a:pt x="155" y="161"/>
                  </a:cubicBezTo>
                  <a:cubicBezTo>
                    <a:pt x="134" y="161"/>
                    <a:pt x="134" y="161"/>
                    <a:pt x="134" y="161"/>
                  </a:cubicBezTo>
                  <a:cubicBezTo>
                    <a:pt x="134" y="71"/>
                    <a:pt x="134" y="71"/>
                    <a:pt x="134" y="71"/>
                  </a:cubicBezTo>
                  <a:cubicBezTo>
                    <a:pt x="134" y="57"/>
                    <a:pt x="134" y="45"/>
                    <a:pt x="134" y="36"/>
                  </a:cubicBezTo>
                  <a:cubicBezTo>
                    <a:pt x="134" y="35"/>
                    <a:pt x="134" y="35"/>
                    <a:pt x="134" y="35"/>
                  </a:cubicBezTo>
                  <a:cubicBezTo>
                    <a:pt x="127" y="46"/>
                    <a:pt x="120" y="57"/>
                    <a:pt x="112" y="67"/>
                  </a:cubicBezTo>
                  <a:cubicBezTo>
                    <a:pt x="77" y="117"/>
                    <a:pt x="77" y="117"/>
                    <a:pt x="77" y="117"/>
                  </a:cubicBezTo>
                  <a:lnTo>
                    <a:pt x="42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" name="Freeform 20">
              <a:extLst>
                <a:ext uri="{FF2B5EF4-FFF2-40B4-BE49-F238E27FC236}">
                  <a16:creationId xmlns:a16="http://schemas.microsoft.com/office/drawing/2014/main" id="{C9F21C67-1735-49F4-985E-E331E05332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9018" y="6115872"/>
              <a:ext cx="510226" cy="421453"/>
            </a:xfrm>
            <a:custGeom>
              <a:avLst/>
              <a:gdLst>
                <a:gd name="T0" fmla="*/ 318 w 1730"/>
                <a:gd name="T1" fmla="*/ 1429 h 1429"/>
                <a:gd name="T2" fmla="*/ 0 w 1730"/>
                <a:gd name="T3" fmla="*/ 1429 h 1429"/>
                <a:gd name="T4" fmla="*/ 721 w 1730"/>
                <a:gd name="T5" fmla="*/ 0 h 1429"/>
                <a:gd name="T6" fmla="*/ 1008 w 1730"/>
                <a:gd name="T7" fmla="*/ 0 h 1429"/>
                <a:gd name="T8" fmla="*/ 1730 w 1730"/>
                <a:gd name="T9" fmla="*/ 1429 h 1429"/>
                <a:gd name="T10" fmla="*/ 1404 w 1730"/>
                <a:gd name="T11" fmla="*/ 1429 h 1429"/>
                <a:gd name="T12" fmla="*/ 861 w 1730"/>
                <a:gd name="T13" fmla="*/ 376 h 1429"/>
                <a:gd name="T14" fmla="*/ 318 w 1730"/>
                <a:gd name="T15" fmla="*/ 1429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0" h="1429">
                  <a:moveTo>
                    <a:pt x="318" y="1429"/>
                  </a:moveTo>
                  <a:lnTo>
                    <a:pt x="0" y="1429"/>
                  </a:lnTo>
                  <a:lnTo>
                    <a:pt x="721" y="0"/>
                  </a:lnTo>
                  <a:lnTo>
                    <a:pt x="1008" y="0"/>
                  </a:lnTo>
                  <a:lnTo>
                    <a:pt x="1730" y="1429"/>
                  </a:lnTo>
                  <a:lnTo>
                    <a:pt x="1404" y="1429"/>
                  </a:lnTo>
                  <a:lnTo>
                    <a:pt x="861" y="376"/>
                  </a:lnTo>
                  <a:lnTo>
                    <a:pt x="318" y="14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" name="Freeform 21">
              <a:extLst>
                <a:ext uri="{FF2B5EF4-FFF2-40B4-BE49-F238E27FC236}">
                  <a16:creationId xmlns:a16="http://schemas.microsoft.com/office/drawing/2014/main" id="{36D05745-9F6D-49B0-9678-5E6B0855142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82949" y="6118821"/>
              <a:ext cx="353914" cy="418504"/>
            </a:xfrm>
            <a:custGeom>
              <a:avLst/>
              <a:gdLst>
                <a:gd name="T0" fmla="*/ 0 w 506"/>
                <a:gd name="T1" fmla="*/ 596 h 596"/>
                <a:gd name="T2" fmla="*/ 74 w 506"/>
                <a:gd name="T3" fmla="*/ 596 h 596"/>
                <a:gd name="T4" fmla="*/ 127 w 506"/>
                <a:gd name="T5" fmla="*/ 596 h 596"/>
                <a:gd name="T6" fmla="*/ 283 w 506"/>
                <a:gd name="T7" fmla="*/ 596 h 596"/>
                <a:gd name="T8" fmla="*/ 506 w 506"/>
                <a:gd name="T9" fmla="*/ 433 h 596"/>
                <a:gd name="T10" fmla="*/ 395 w 506"/>
                <a:gd name="T11" fmla="*/ 285 h 596"/>
                <a:gd name="T12" fmla="*/ 473 w 506"/>
                <a:gd name="T13" fmla="*/ 156 h 596"/>
                <a:gd name="T14" fmla="*/ 432 w 506"/>
                <a:gd name="T15" fmla="*/ 53 h 596"/>
                <a:gd name="T16" fmla="*/ 276 w 506"/>
                <a:gd name="T17" fmla="*/ 0 h 596"/>
                <a:gd name="T18" fmla="*/ 0 w 506"/>
                <a:gd name="T19" fmla="*/ 0 h 596"/>
                <a:gd name="T20" fmla="*/ 0 w 506"/>
                <a:gd name="T21" fmla="*/ 115 h 596"/>
                <a:gd name="T22" fmla="*/ 257 w 506"/>
                <a:gd name="T23" fmla="*/ 115 h 596"/>
                <a:gd name="T24" fmla="*/ 343 w 506"/>
                <a:gd name="T25" fmla="*/ 177 h 596"/>
                <a:gd name="T26" fmla="*/ 248 w 506"/>
                <a:gd name="T27" fmla="*/ 241 h 596"/>
                <a:gd name="T28" fmla="*/ 0 w 506"/>
                <a:gd name="T29" fmla="*/ 241 h 596"/>
                <a:gd name="T30" fmla="*/ 0 w 506"/>
                <a:gd name="T31" fmla="*/ 596 h 596"/>
                <a:gd name="T32" fmla="*/ 283 w 506"/>
                <a:gd name="T33" fmla="*/ 481 h 596"/>
                <a:gd name="T34" fmla="*/ 127 w 506"/>
                <a:gd name="T35" fmla="*/ 481 h 596"/>
                <a:gd name="T36" fmla="*/ 127 w 506"/>
                <a:gd name="T37" fmla="*/ 350 h 596"/>
                <a:gd name="T38" fmla="*/ 279 w 506"/>
                <a:gd name="T39" fmla="*/ 350 h 596"/>
                <a:gd name="T40" fmla="*/ 376 w 506"/>
                <a:gd name="T41" fmla="*/ 415 h 596"/>
                <a:gd name="T42" fmla="*/ 283 w 506"/>
                <a:gd name="T43" fmla="*/ 481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06" h="596">
                  <a:moveTo>
                    <a:pt x="0" y="596"/>
                  </a:moveTo>
                  <a:cubicBezTo>
                    <a:pt x="74" y="596"/>
                    <a:pt x="74" y="596"/>
                    <a:pt x="74" y="596"/>
                  </a:cubicBezTo>
                  <a:cubicBezTo>
                    <a:pt x="127" y="596"/>
                    <a:pt x="127" y="596"/>
                    <a:pt x="127" y="596"/>
                  </a:cubicBezTo>
                  <a:cubicBezTo>
                    <a:pt x="283" y="596"/>
                    <a:pt x="283" y="596"/>
                    <a:pt x="283" y="596"/>
                  </a:cubicBezTo>
                  <a:cubicBezTo>
                    <a:pt x="418" y="596"/>
                    <a:pt x="506" y="542"/>
                    <a:pt x="506" y="433"/>
                  </a:cubicBezTo>
                  <a:cubicBezTo>
                    <a:pt x="506" y="351"/>
                    <a:pt x="464" y="311"/>
                    <a:pt x="395" y="285"/>
                  </a:cubicBezTo>
                  <a:cubicBezTo>
                    <a:pt x="437" y="261"/>
                    <a:pt x="473" y="223"/>
                    <a:pt x="473" y="156"/>
                  </a:cubicBezTo>
                  <a:cubicBezTo>
                    <a:pt x="473" y="114"/>
                    <a:pt x="459" y="80"/>
                    <a:pt x="432" y="53"/>
                  </a:cubicBezTo>
                  <a:cubicBezTo>
                    <a:pt x="398" y="19"/>
                    <a:pt x="344" y="0"/>
                    <a:pt x="27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257" y="115"/>
                    <a:pt x="257" y="115"/>
                    <a:pt x="257" y="115"/>
                  </a:cubicBezTo>
                  <a:cubicBezTo>
                    <a:pt x="312" y="115"/>
                    <a:pt x="343" y="137"/>
                    <a:pt x="343" y="177"/>
                  </a:cubicBezTo>
                  <a:cubicBezTo>
                    <a:pt x="343" y="222"/>
                    <a:pt x="306" y="241"/>
                    <a:pt x="248" y="241"/>
                  </a:cubicBezTo>
                  <a:cubicBezTo>
                    <a:pt x="0" y="241"/>
                    <a:pt x="0" y="241"/>
                    <a:pt x="0" y="241"/>
                  </a:cubicBezTo>
                  <a:lnTo>
                    <a:pt x="0" y="596"/>
                  </a:lnTo>
                  <a:close/>
                  <a:moveTo>
                    <a:pt x="283" y="481"/>
                  </a:moveTo>
                  <a:cubicBezTo>
                    <a:pt x="127" y="481"/>
                    <a:pt x="127" y="481"/>
                    <a:pt x="127" y="481"/>
                  </a:cubicBezTo>
                  <a:cubicBezTo>
                    <a:pt x="127" y="350"/>
                    <a:pt x="127" y="350"/>
                    <a:pt x="127" y="350"/>
                  </a:cubicBezTo>
                  <a:cubicBezTo>
                    <a:pt x="279" y="350"/>
                    <a:pt x="279" y="350"/>
                    <a:pt x="279" y="350"/>
                  </a:cubicBezTo>
                  <a:cubicBezTo>
                    <a:pt x="346" y="350"/>
                    <a:pt x="376" y="375"/>
                    <a:pt x="376" y="415"/>
                  </a:cubicBezTo>
                  <a:cubicBezTo>
                    <a:pt x="376" y="461"/>
                    <a:pt x="341" y="481"/>
                    <a:pt x="283" y="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4" name="object 3">
            <a:extLst>
              <a:ext uri="{FF2B5EF4-FFF2-40B4-BE49-F238E27FC236}">
                <a16:creationId xmlns:a16="http://schemas.microsoft.com/office/drawing/2014/main" id="{C8A8F324-BF72-42C2-A868-5F1BD7061EBF}"/>
              </a:ext>
            </a:extLst>
          </p:cNvPr>
          <p:cNvSpPr/>
          <p:nvPr userDrawn="1"/>
        </p:nvSpPr>
        <p:spPr>
          <a:xfrm>
            <a:off x="9204" y="4559"/>
            <a:ext cx="655813" cy="840582"/>
          </a:xfrm>
          <a:custGeom>
            <a:avLst/>
            <a:gdLst/>
            <a:ahLst/>
            <a:cxnLst/>
            <a:rect l="l" t="t" r="r" b="b"/>
            <a:pathLst>
              <a:path w="1005205" h="1288415">
                <a:moveTo>
                  <a:pt x="0" y="0"/>
                </a:moveTo>
                <a:lnTo>
                  <a:pt x="0" y="335068"/>
                </a:lnTo>
                <a:lnTo>
                  <a:pt x="609552" y="640462"/>
                </a:lnTo>
                <a:lnTo>
                  <a:pt x="0" y="952850"/>
                </a:lnTo>
                <a:lnTo>
                  <a:pt x="0" y="1287918"/>
                </a:lnTo>
                <a:lnTo>
                  <a:pt x="1005204" y="793253"/>
                </a:lnTo>
                <a:lnTo>
                  <a:pt x="1005204" y="49601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 anchor="ctr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06621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63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A Titelse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7332E98-2E79-4AB8-834A-078413608C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832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7332E98-2E79-4AB8-834A-078413608C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2">
            <a:extLst>
              <a:ext uri="{FF2B5EF4-FFF2-40B4-BE49-F238E27FC236}">
                <a16:creationId xmlns:a16="http://schemas.microsoft.com/office/drawing/2014/main" id="{3CA01687-6449-4359-B6A7-6B0C6F8EE156}"/>
              </a:ext>
            </a:extLst>
          </p:cNvPr>
          <p:cNvSpPr/>
          <p:nvPr/>
        </p:nvSpPr>
        <p:spPr>
          <a:xfrm>
            <a:off x="0" y="1067635"/>
            <a:ext cx="12192000" cy="5790366"/>
          </a:xfrm>
          <a:custGeom>
            <a:avLst/>
            <a:gdLst/>
            <a:ahLst/>
            <a:cxnLst/>
            <a:rect l="l" t="t" r="r" b="b"/>
            <a:pathLst>
              <a:path w="20104100" h="9486900">
                <a:moveTo>
                  <a:pt x="20104099" y="0"/>
                </a:moveTo>
                <a:lnTo>
                  <a:pt x="0" y="0"/>
                </a:lnTo>
                <a:lnTo>
                  <a:pt x="0" y="9486622"/>
                </a:lnTo>
                <a:lnTo>
                  <a:pt x="20104099" y="9486622"/>
                </a:lnTo>
                <a:lnTo>
                  <a:pt x="20104099" y="0"/>
                </a:lnTo>
                <a:close/>
              </a:path>
            </a:pathLst>
          </a:custGeom>
          <a:solidFill>
            <a:srgbClr val="E6320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42">
            <a:extLst>
              <a:ext uri="{FF2B5EF4-FFF2-40B4-BE49-F238E27FC236}">
                <a16:creationId xmlns:a16="http://schemas.microsoft.com/office/drawing/2014/main" id="{FBC595D4-4F23-48D5-879E-BC30C15170B3}"/>
              </a:ext>
            </a:extLst>
          </p:cNvPr>
          <p:cNvSpPr/>
          <p:nvPr/>
        </p:nvSpPr>
        <p:spPr>
          <a:xfrm>
            <a:off x="2839937" y="4454862"/>
            <a:ext cx="3010261" cy="2402972"/>
          </a:xfrm>
          <a:custGeom>
            <a:avLst/>
            <a:gdLst/>
            <a:ahLst/>
            <a:cxnLst/>
            <a:rect l="l" t="t" r="r" b="b"/>
            <a:pathLst>
              <a:path w="4963795" h="3962400">
                <a:moveTo>
                  <a:pt x="2893252" y="0"/>
                </a:moveTo>
                <a:lnTo>
                  <a:pt x="2069936" y="0"/>
                </a:lnTo>
                <a:lnTo>
                  <a:pt x="0" y="3962392"/>
                </a:lnTo>
                <a:lnTo>
                  <a:pt x="910307" y="3962392"/>
                </a:lnTo>
                <a:lnTo>
                  <a:pt x="2470019" y="1039737"/>
                </a:lnTo>
                <a:lnTo>
                  <a:pt x="4029699" y="3962392"/>
                </a:lnTo>
                <a:lnTo>
                  <a:pt x="4963199" y="3962392"/>
                </a:lnTo>
                <a:lnTo>
                  <a:pt x="2893252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89862" y="1315327"/>
            <a:ext cx="5452601" cy="1099925"/>
          </a:xfrm>
          <a:prstGeom prst="rect">
            <a:avLst/>
          </a:prstGeom>
          <a:noFill/>
        </p:spPr>
        <p:txBody>
          <a:bodyPr vert="horz" anchor="b">
            <a:no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89862" y="2565345"/>
            <a:ext cx="5452601" cy="872257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929DC8-987C-4BF4-9A49-8F549F1F3D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90154" y="3587745"/>
            <a:ext cx="5453026" cy="619426"/>
          </a:xfrm>
        </p:spPr>
        <p:txBody>
          <a:bodyPr anchor="b"/>
          <a:lstStyle>
            <a:lvl1pPr>
              <a:spcBef>
                <a:spcPts val="600"/>
              </a:spcBef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15A6ABB2-F500-47E2-9DC7-0BB640B9A493}"/>
              </a:ext>
            </a:extLst>
          </p:cNvPr>
          <p:cNvGrpSpPr/>
          <p:nvPr userDrawn="1"/>
        </p:nvGrpSpPr>
        <p:grpSpPr>
          <a:xfrm>
            <a:off x="278910" y="159754"/>
            <a:ext cx="2178646" cy="747961"/>
            <a:chOff x="3138488" y="168275"/>
            <a:chExt cx="3074988" cy="1055688"/>
          </a:xfrm>
        </p:grpSpPr>
        <p:sp>
          <p:nvSpPr>
            <p:cNvPr id="59" name="AutoShape 3">
              <a:extLst>
                <a:ext uri="{FF2B5EF4-FFF2-40B4-BE49-F238E27FC236}">
                  <a16:creationId xmlns:a16="http://schemas.microsoft.com/office/drawing/2014/main" id="{4F5F4692-9A00-49E4-9621-A5FDE29EDBE7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3138488" y="168275"/>
              <a:ext cx="3073400" cy="10556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5">
              <a:extLst>
                <a:ext uri="{FF2B5EF4-FFF2-40B4-BE49-F238E27FC236}">
                  <a16:creationId xmlns:a16="http://schemas.microsoft.com/office/drawing/2014/main" id="{AFC503C3-7BE6-4000-89FC-259AD3DEEB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94226" y="171450"/>
              <a:ext cx="774700" cy="639763"/>
            </a:xfrm>
            <a:custGeom>
              <a:avLst/>
              <a:gdLst>
                <a:gd name="T0" fmla="*/ 90 w 488"/>
                <a:gd name="T1" fmla="*/ 403 h 403"/>
                <a:gd name="T2" fmla="*/ 0 w 488"/>
                <a:gd name="T3" fmla="*/ 403 h 403"/>
                <a:gd name="T4" fmla="*/ 203 w 488"/>
                <a:gd name="T5" fmla="*/ 0 h 403"/>
                <a:gd name="T6" fmla="*/ 285 w 488"/>
                <a:gd name="T7" fmla="*/ 0 h 403"/>
                <a:gd name="T8" fmla="*/ 488 w 488"/>
                <a:gd name="T9" fmla="*/ 403 h 403"/>
                <a:gd name="T10" fmla="*/ 396 w 488"/>
                <a:gd name="T11" fmla="*/ 403 h 403"/>
                <a:gd name="T12" fmla="*/ 243 w 488"/>
                <a:gd name="T13" fmla="*/ 106 h 403"/>
                <a:gd name="T14" fmla="*/ 90 w 488"/>
                <a:gd name="T15" fmla="*/ 403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8" h="403">
                  <a:moveTo>
                    <a:pt x="90" y="403"/>
                  </a:moveTo>
                  <a:lnTo>
                    <a:pt x="0" y="403"/>
                  </a:lnTo>
                  <a:lnTo>
                    <a:pt x="203" y="0"/>
                  </a:lnTo>
                  <a:lnTo>
                    <a:pt x="285" y="0"/>
                  </a:lnTo>
                  <a:lnTo>
                    <a:pt x="488" y="403"/>
                  </a:lnTo>
                  <a:lnTo>
                    <a:pt x="396" y="403"/>
                  </a:lnTo>
                  <a:lnTo>
                    <a:pt x="243" y="106"/>
                  </a:lnTo>
                  <a:lnTo>
                    <a:pt x="90" y="403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Rectangle 6">
              <a:extLst>
                <a:ext uri="{FF2B5EF4-FFF2-40B4-BE49-F238E27FC236}">
                  <a16:creationId xmlns:a16="http://schemas.microsoft.com/office/drawing/2014/main" id="{21250879-5A2A-447C-B8B9-BF80DCC0A3B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64163" y="171450"/>
              <a:ext cx="22225" cy="171450"/>
            </a:xfrm>
            <a:prstGeom prst="rect">
              <a:avLst/>
            </a:pr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Freeform 7">
              <a:extLst>
                <a:ext uri="{FF2B5EF4-FFF2-40B4-BE49-F238E27FC236}">
                  <a16:creationId xmlns:a16="http://schemas.microsoft.com/office/drawing/2014/main" id="{285860EA-F0E2-4152-87BE-730AD1E9C8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37188" y="171450"/>
              <a:ext cx="144463" cy="171450"/>
            </a:xfrm>
            <a:custGeom>
              <a:avLst/>
              <a:gdLst>
                <a:gd name="T0" fmla="*/ 0 w 135"/>
                <a:gd name="T1" fmla="*/ 161 h 161"/>
                <a:gd name="T2" fmla="*/ 0 w 135"/>
                <a:gd name="T3" fmla="*/ 0 h 161"/>
                <a:gd name="T4" fmla="*/ 20 w 135"/>
                <a:gd name="T5" fmla="*/ 0 h 161"/>
                <a:gd name="T6" fmla="*/ 87 w 135"/>
                <a:gd name="T7" fmla="*/ 90 h 161"/>
                <a:gd name="T8" fmla="*/ 115 w 135"/>
                <a:gd name="T9" fmla="*/ 127 h 161"/>
                <a:gd name="T10" fmla="*/ 115 w 135"/>
                <a:gd name="T11" fmla="*/ 127 h 161"/>
                <a:gd name="T12" fmla="*/ 115 w 135"/>
                <a:gd name="T13" fmla="*/ 81 h 161"/>
                <a:gd name="T14" fmla="*/ 115 w 135"/>
                <a:gd name="T15" fmla="*/ 0 h 161"/>
                <a:gd name="T16" fmla="*/ 135 w 135"/>
                <a:gd name="T17" fmla="*/ 0 h 161"/>
                <a:gd name="T18" fmla="*/ 135 w 135"/>
                <a:gd name="T19" fmla="*/ 161 h 161"/>
                <a:gd name="T20" fmla="*/ 115 w 135"/>
                <a:gd name="T21" fmla="*/ 161 h 161"/>
                <a:gd name="T22" fmla="*/ 48 w 135"/>
                <a:gd name="T23" fmla="*/ 72 h 161"/>
                <a:gd name="T24" fmla="*/ 20 w 135"/>
                <a:gd name="T25" fmla="*/ 34 h 161"/>
                <a:gd name="T26" fmla="*/ 20 w 135"/>
                <a:gd name="T27" fmla="*/ 35 h 161"/>
                <a:gd name="T28" fmla="*/ 20 w 135"/>
                <a:gd name="T29" fmla="*/ 80 h 161"/>
                <a:gd name="T30" fmla="*/ 20 w 135"/>
                <a:gd name="T31" fmla="*/ 161 h 161"/>
                <a:gd name="T32" fmla="*/ 0 w 135"/>
                <a:gd name="T33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61">
                  <a:moveTo>
                    <a:pt x="0" y="16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87" y="90"/>
                    <a:pt x="87" y="90"/>
                    <a:pt x="87" y="90"/>
                  </a:cubicBezTo>
                  <a:cubicBezTo>
                    <a:pt x="96" y="102"/>
                    <a:pt x="106" y="115"/>
                    <a:pt x="115" y="127"/>
                  </a:cubicBezTo>
                  <a:cubicBezTo>
                    <a:pt x="115" y="127"/>
                    <a:pt x="115" y="127"/>
                    <a:pt x="115" y="127"/>
                  </a:cubicBezTo>
                  <a:cubicBezTo>
                    <a:pt x="115" y="113"/>
                    <a:pt x="115" y="97"/>
                    <a:pt x="115" y="81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35" y="161"/>
                    <a:pt x="135" y="161"/>
                    <a:pt x="135" y="161"/>
                  </a:cubicBezTo>
                  <a:cubicBezTo>
                    <a:pt x="115" y="161"/>
                    <a:pt x="115" y="161"/>
                    <a:pt x="115" y="161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38" y="60"/>
                    <a:pt x="29" y="47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49"/>
                    <a:pt x="20" y="65"/>
                    <a:pt x="20" y="80"/>
                  </a:cubicBezTo>
                  <a:cubicBezTo>
                    <a:pt x="20" y="161"/>
                    <a:pt x="20" y="161"/>
                    <a:pt x="20" y="161"/>
                  </a:cubicBezTo>
                  <a:lnTo>
                    <a:pt x="0" y="161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8">
              <a:extLst>
                <a:ext uri="{FF2B5EF4-FFF2-40B4-BE49-F238E27FC236}">
                  <a16:creationId xmlns:a16="http://schemas.microsoft.com/office/drawing/2014/main" id="{CE531ECA-3D51-47B9-B622-71D7745209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13401" y="171450"/>
              <a:ext cx="155575" cy="171450"/>
            </a:xfrm>
            <a:custGeom>
              <a:avLst/>
              <a:gdLst>
                <a:gd name="T0" fmla="*/ 0 w 146"/>
                <a:gd name="T1" fmla="*/ 0 h 161"/>
                <a:gd name="T2" fmla="*/ 23 w 146"/>
                <a:gd name="T3" fmla="*/ 0 h 161"/>
                <a:gd name="T4" fmla="*/ 57 w 146"/>
                <a:gd name="T5" fmla="*/ 91 h 161"/>
                <a:gd name="T6" fmla="*/ 73 w 146"/>
                <a:gd name="T7" fmla="*/ 133 h 161"/>
                <a:gd name="T8" fmla="*/ 73 w 146"/>
                <a:gd name="T9" fmla="*/ 133 h 161"/>
                <a:gd name="T10" fmla="*/ 90 w 146"/>
                <a:gd name="T11" fmla="*/ 90 h 161"/>
                <a:gd name="T12" fmla="*/ 124 w 146"/>
                <a:gd name="T13" fmla="*/ 0 h 161"/>
                <a:gd name="T14" fmla="*/ 146 w 146"/>
                <a:gd name="T15" fmla="*/ 0 h 161"/>
                <a:gd name="T16" fmla="*/ 84 w 146"/>
                <a:gd name="T17" fmla="*/ 161 h 161"/>
                <a:gd name="T18" fmla="*/ 62 w 146"/>
                <a:gd name="T19" fmla="*/ 161 h 161"/>
                <a:gd name="T20" fmla="*/ 0 w 146"/>
                <a:gd name="T21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6" h="161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62" y="105"/>
                    <a:pt x="68" y="118"/>
                    <a:pt x="73" y="133"/>
                  </a:cubicBezTo>
                  <a:cubicBezTo>
                    <a:pt x="73" y="133"/>
                    <a:pt x="73" y="133"/>
                    <a:pt x="73" y="133"/>
                  </a:cubicBezTo>
                  <a:cubicBezTo>
                    <a:pt x="79" y="119"/>
                    <a:pt x="84" y="104"/>
                    <a:pt x="90" y="9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84" y="161"/>
                    <a:pt x="84" y="161"/>
                    <a:pt x="84" y="161"/>
                  </a:cubicBezTo>
                  <a:cubicBezTo>
                    <a:pt x="62" y="161"/>
                    <a:pt x="62" y="161"/>
                    <a:pt x="62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9">
              <a:extLst>
                <a:ext uri="{FF2B5EF4-FFF2-40B4-BE49-F238E27FC236}">
                  <a16:creationId xmlns:a16="http://schemas.microsoft.com/office/drawing/2014/main" id="{FBF65AFC-FBDA-47C5-B439-478D7B2EE3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00726" y="171450"/>
              <a:ext cx="100013" cy="171450"/>
            </a:xfrm>
            <a:custGeom>
              <a:avLst/>
              <a:gdLst>
                <a:gd name="T0" fmla="*/ 0 w 63"/>
                <a:gd name="T1" fmla="*/ 0 h 108"/>
                <a:gd name="T2" fmla="*/ 62 w 63"/>
                <a:gd name="T3" fmla="*/ 0 h 108"/>
                <a:gd name="T4" fmla="*/ 62 w 63"/>
                <a:gd name="T5" fmla="*/ 13 h 108"/>
                <a:gd name="T6" fmla="*/ 14 w 63"/>
                <a:gd name="T7" fmla="*/ 13 h 108"/>
                <a:gd name="T8" fmla="*/ 14 w 63"/>
                <a:gd name="T9" fmla="*/ 46 h 108"/>
                <a:gd name="T10" fmla="*/ 56 w 63"/>
                <a:gd name="T11" fmla="*/ 46 h 108"/>
                <a:gd name="T12" fmla="*/ 56 w 63"/>
                <a:gd name="T13" fmla="*/ 58 h 108"/>
                <a:gd name="T14" fmla="*/ 14 w 63"/>
                <a:gd name="T15" fmla="*/ 58 h 108"/>
                <a:gd name="T16" fmla="*/ 14 w 63"/>
                <a:gd name="T17" fmla="*/ 95 h 108"/>
                <a:gd name="T18" fmla="*/ 63 w 63"/>
                <a:gd name="T19" fmla="*/ 95 h 108"/>
                <a:gd name="T20" fmla="*/ 63 w 63"/>
                <a:gd name="T21" fmla="*/ 108 h 108"/>
                <a:gd name="T22" fmla="*/ 0 w 63"/>
                <a:gd name="T23" fmla="*/ 108 h 108"/>
                <a:gd name="T24" fmla="*/ 0 w 63"/>
                <a:gd name="T25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108">
                  <a:moveTo>
                    <a:pt x="0" y="0"/>
                  </a:moveTo>
                  <a:lnTo>
                    <a:pt x="62" y="0"/>
                  </a:lnTo>
                  <a:lnTo>
                    <a:pt x="62" y="13"/>
                  </a:lnTo>
                  <a:lnTo>
                    <a:pt x="14" y="13"/>
                  </a:lnTo>
                  <a:lnTo>
                    <a:pt x="14" y="46"/>
                  </a:lnTo>
                  <a:lnTo>
                    <a:pt x="56" y="46"/>
                  </a:lnTo>
                  <a:lnTo>
                    <a:pt x="56" y="58"/>
                  </a:lnTo>
                  <a:lnTo>
                    <a:pt x="14" y="58"/>
                  </a:lnTo>
                  <a:lnTo>
                    <a:pt x="14" y="95"/>
                  </a:lnTo>
                  <a:lnTo>
                    <a:pt x="63" y="95"/>
                  </a:lnTo>
                  <a:lnTo>
                    <a:pt x="63" y="108"/>
                  </a:lnTo>
                  <a:lnTo>
                    <a:pt x="0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10">
              <a:extLst>
                <a:ext uri="{FF2B5EF4-FFF2-40B4-BE49-F238E27FC236}">
                  <a16:creationId xmlns:a16="http://schemas.microsoft.com/office/drawing/2014/main" id="{A46F922E-3CD2-4375-8049-8F19383CC6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37251" y="169863"/>
              <a:ext cx="112713" cy="176213"/>
            </a:xfrm>
            <a:custGeom>
              <a:avLst/>
              <a:gdLst>
                <a:gd name="T0" fmla="*/ 4 w 106"/>
                <a:gd name="T1" fmla="*/ 130 h 166"/>
                <a:gd name="T2" fmla="*/ 52 w 106"/>
                <a:gd name="T3" fmla="*/ 146 h 166"/>
                <a:gd name="T4" fmla="*/ 85 w 106"/>
                <a:gd name="T5" fmla="*/ 120 h 166"/>
                <a:gd name="T6" fmla="*/ 45 w 106"/>
                <a:gd name="T7" fmla="*/ 90 h 166"/>
                <a:gd name="T8" fmla="*/ 0 w 106"/>
                <a:gd name="T9" fmla="*/ 45 h 166"/>
                <a:gd name="T10" fmla="*/ 52 w 106"/>
                <a:gd name="T11" fmla="*/ 0 h 166"/>
                <a:gd name="T12" fmla="*/ 99 w 106"/>
                <a:gd name="T13" fmla="*/ 12 h 166"/>
                <a:gd name="T14" fmla="*/ 99 w 106"/>
                <a:gd name="T15" fmla="*/ 34 h 166"/>
                <a:gd name="T16" fmla="*/ 52 w 106"/>
                <a:gd name="T17" fmla="*/ 19 h 166"/>
                <a:gd name="T18" fmla="*/ 21 w 106"/>
                <a:gd name="T19" fmla="*/ 43 h 166"/>
                <a:gd name="T20" fmla="*/ 60 w 106"/>
                <a:gd name="T21" fmla="*/ 72 h 166"/>
                <a:gd name="T22" fmla="*/ 106 w 106"/>
                <a:gd name="T23" fmla="*/ 119 h 166"/>
                <a:gd name="T24" fmla="*/ 52 w 106"/>
                <a:gd name="T25" fmla="*/ 166 h 166"/>
                <a:gd name="T26" fmla="*/ 4 w 106"/>
                <a:gd name="T27" fmla="*/ 153 h 166"/>
                <a:gd name="T28" fmla="*/ 4 w 106"/>
                <a:gd name="T29" fmla="*/ 13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6" h="166">
                  <a:moveTo>
                    <a:pt x="4" y="130"/>
                  </a:moveTo>
                  <a:cubicBezTo>
                    <a:pt x="19" y="141"/>
                    <a:pt x="38" y="146"/>
                    <a:pt x="52" y="146"/>
                  </a:cubicBezTo>
                  <a:cubicBezTo>
                    <a:pt x="72" y="146"/>
                    <a:pt x="85" y="138"/>
                    <a:pt x="85" y="120"/>
                  </a:cubicBezTo>
                  <a:cubicBezTo>
                    <a:pt x="85" y="99"/>
                    <a:pt x="66" y="96"/>
                    <a:pt x="45" y="90"/>
                  </a:cubicBezTo>
                  <a:cubicBezTo>
                    <a:pt x="22" y="83"/>
                    <a:pt x="0" y="74"/>
                    <a:pt x="0" y="45"/>
                  </a:cubicBezTo>
                  <a:cubicBezTo>
                    <a:pt x="0" y="16"/>
                    <a:pt x="21" y="0"/>
                    <a:pt x="52" y="0"/>
                  </a:cubicBezTo>
                  <a:cubicBezTo>
                    <a:pt x="68" y="0"/>
                    <a:pt x="86" y="4"/>
                    <a:pt x="99" y="12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84" y="24"/>
                    <a:pt x="66" y="19"/>
                    <a:pt x="52" y="19"/>
                  </a:cubicBezTo>
                  <a:cubicBezTo>
                    <a:pt x="34" y="19"/>
                    <a:pt x="21" y="27"/>
                    <a:pt x="21" y="43"/>
                  </a:cubicBezTo>
                  <a:cubicBezTo>
                    <a:pt x="21" y="63"/>
                    <a:pt x="40" y="67"/>
                    <a:pt x="60" y="72"/>
                  </a:cubicBezTo>
                  <a:cubicBezTo>
                    <a:pt x="83" y="79"/>
                    <a:pt x="106" y="88"/>
                    <a:pt x="106" y="119"/>
                  </a:cubicBezTo>
                  <a:cubicBezTo>
                    <a:pt x="106" y="148"/>
                    <a:pt x="84" y="166"/>
                    <a:pt x="52" y="166"/>
                  </a:cubicBezTo>
                  <a:cubicBezTo>
                    <a:pt x="37" y="166"/>
                    <a:pt x="18" y="161"/>
                    <a:pt x="4" y="153"/>
                  </a:cubicBezTo>
                  <a:lnTo>
                    <a:pt x="4" y="13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11">
              <a:extLst>
                <a:ext uri="{FF2B5EF4-FFF2-40B4-BE49-F238E27FC236}">
                  <a16:creationId xmlns:a16="http://schemas.microsoft.com/office/drawing/2014/main" id="{DE3CC004-BDC4-4520-AA41-7BB0AF7F18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7426" y="171450"/>
              <a:ext cx="136525" cy="171450"/>
            </a:xfrm>
            <a:custGeom>
              <a:avLst/>
              <a:gdLst>
                <a:gd name="T0" fmla="*/ 36 w 86"/>
                <a:gd name="T1" fmla="*/ 13 h 108"/>
                <a:gd name="T2" fmla="*/ 0 w 86"/>
                <a:gd name="T3" fmla="*/ 13 h 108"/>
                <a:gd name="T4" fmla="*/ 0 w 86"/>
                <a:gd name="T5" fmla="*/ 0 h 108"/>
                <a:gd name="T6" fmla="*/ 86 w 86"/>
                <a:gd name="T7" fmla="*/ 0 h 108"/>
                <a:gd name="T8" fmla="*/ 86 w 86"/>
                <a:gd name="T9" fmla="*/ 13 h 108"/>
                <a:gd name="T10" fmla="*/ 51 w 86"/>
                <a:gd name="T11" fmla="*/ 13 h 108"/>
                <a:gd name="T12" fmla="*/ 51 w 86"/>
                <a:gd name="T13" fmla="*/ 108 h 108"/>
                <a:gd name="T14" fmla="*/ 36 w 86"/>
                <a:gd name="T15" fmla="*/ 108 h 108"/>
                <a:gd name="T16" fmla="*/ 36 w 86"/>
                <a:gd name="T17" fmla="*/ 1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108">
                  <a:moveTo>
                    <a:pt x="36" y="13"/>
                  </a:moveTo>
                  <a:lnTo>
                    <a:pt x="0" y="13"/>
                  </a:lnTo>
                  <a:lnTo>
                    <a:pt x="0" y="0"/>
                  </a:lnTo>
                  <a:lnTo>
                    <a:pt x="86" y="0"/>
                  </a:lnTo>
                  <a:lnTo>
                    <a:pt x="86" y="13"/>
                  </a:lnTo>
                  <a:lnTo>
                    <a:pt x="51" y="13"/>
                  </a:lnTo>
                  <a:lnTo>
                    <a:pt x="51" y="108"/>
                  </a:lnTo>
                  <a:lnTo>
                    <a:pt x="36" y="108"/>
                  </a:lnTo>
                  <a:lnTo>
                    <a:pt x="36" y="13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12">
              <a:extLst>
                <a:ext uri="{FF2B5EF4-FFF2-40B4-BE49-F238E27FC236}">
                  <a16:creationId xmlns:a16="http://schemas.microsoft.com/office/drawing/2014/main" id="{D76FF390-B281-4D23-925D-CD83DFD21B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41951" y="406400"/>
              <a:ext cx="233363" cy="171450"/>
            </a:xfrm>
            <a:custGeom>
              <a:avLst/>
              <a:gdLst>
                <a:gd name="T0" fmla="*/ 0 w 220"/>
                <a:gd name="T1" fmla="*/ 0 h 161"/>
                <a:gd name="T2" fmla="*/ 22 w 220"/>
                <a:gd name="T3" fmla="*/ 0 h 161"/>
                <a:gd name="T4" fmla="*/ 49 w 220"/>
                <a:gd name="T5" fmla="*/ 87 h 161"/>
                <a:gd name="T6" fmla="*/ 62 w 220"/>
                <a:gd name="T7" fmla="*/ 129 h 161"/>
                <a:gd name="T8" fmla="*/ 62 w 220"/>
                <a:gd name="T9" fmla="*/ 129 h 161"/>
                <a:gd name="T10" fmla="*/ 75 w 220"/>
                <a:gd name="T11" fmla="*/ 87 h 161"/>
                <a:gd name="T12" fmla="*/ 103 w 220"/>
                <a:gd name="T13" fmla="*/ 0 h 161"/>
                <a:gd name="T14" fmla="*/ 118 w 220"/>
                <a:gd name="T15" fmla="*/ 0 h 161"/>
                <a:gd name="T16" fmla="*/ 146 w 220"/>
                <a:gd name="T17" fmla="*/ 87 h 161"/>
                <a:gd name="T18" fmla="*/ 158 w 220"/>
                <a:gd name="T19" fmla="*/ 129 h 161"/>
                <a:gd name="T20" fmla="*/ 159 w 220"/>
                <a:gd name="T21" fmla="*/ 129 h 161"/>
                <a:gd name="T22" fmla="*/ 172 w 220"/>
                <a:gd name="T23" fmla="*/ 87 h 161"/>
                <a:gd name="T24" fmla="*/ 198 w 220"/>
                <a:gd name="T25" fmla="*/ 0 h 161"/>
                <a:gd name="T26" fmla="*/ 220 w 220"/>
                <a:gd name="T27" fmla="*/ 0 h 161"/>
                <a:gd name="T28" fmla="*/ 170 w 220"/>
                <a:gd name="T29" fmla="*/ 161 h 161"/>
                <a:gd name="T30" fmla="*/ 147 w 220"/>
                <a:gd name="T31" fmla="*/ 161 h 161"/>
                <a:gd name="T32" fmla="*/ 122 w 220"/>
                <a:gd name="T33" fmla="*/ 79 h 161"/>
                <a:gd name="T34" fmla="*/ 110 w 220"/>
                <a:gd name="T35" fmla="*/ 42 h 161"/>
                <a:gd name="T36" fmla="*/ 110 w 220"/>
                <a:gd name="T37" fmla="*/ 42 h 161"/>
                <a:gd name="T38" fmla="*/ 98 w 220"/>
                <a:gd name="T39" fmla="*/ 79 h 161"/>
                <a:gd name="T40" fmla="*/ 73 w 220"/>
                <a:gd name="T41" fmla="*/ 161 h 161"/>
                <a:gd name="T42" fmla="*/ 50 w 220"/>
                <a:gd name="T43" fmla="*/ 161 h 161"/>
                <a:gd name="T44" fmla="*/ 0 w 220"/>
                <a:gd name="T45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0" h="161">
                  <a:moveTo>
                    <a:pt x="0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54" y="101"/>
                    <a:pt x="58" y="115"/>
                    <a:pt x="62" y="129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66" y="115"/>
                    <a:pt x="71" y="101"/>
                    <a:pt x="75" y="87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46" y="87"/>
                    <a:pt x="146" y="87"/>
                    <a:pt x="146" y="87"/>
                  </a:cubicBezTo>
                  <a:cubicBezTo>
                    <a:pt x="150" y="101"/>
                    <a:pt x="154" y="115"/>
                    <a:pt x="158" y="129"/>
                  </a:cubicBezTo>
                  <a:cubicBezTo>
                    <a:pt x="159" y="129"/>
                    <a:pt x="159" y="129"/>
                    <a:pt x="159" y="129"/>
                  </a:cubicBezTo>
                  <a:cubicBezTo>
                    <a:pt x="163" y="115"/>
                    <a:pt x="167" y="101"/>
                    <a:pt x="172" y="87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170" y="161"/>
                    <a:pt x="170" y="161"/>
                    <a:pt x="170" y="161"/>
                  </a:cubicBezTo>
                  <a:cubicBezTo>
                    <a:pt x="147" y="161"/>
                    <a:pt x="147" y="161"/>
                    <a:pt x="147" y="161"/>
                  </a:cubicBezTo>
                  <a:cubicBezTo>
                    <a:pt x="122" y="79"/>
                    <a:pt x="122" y="79"/>
                    <a:pt x="122" y="79"/>
                  </a:cubicBezTo>
                  <a:cubicBezTo>
                    <a:pt x="118" y="67"/>
                    <a:pt x="114" y="54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06" y="54"/>
                    <a:pt x="102" y="67"/>
                    <a:pt x="98" y="79"/>
                  </a:cubicBezTo>
                  <a:cubicBezTo>
                    <a:pt x="73" y="161"/>
                    <a:pt x="73" y="161"/>
                    <a:pt x="73" y="161"/>
                  </a:cubicBezTo>
                  <a:cubicBezTo>
                    <a:pt x="50" y="161"/>
                    <a:pt x="50" y="161"/>
                    <a:pt x="50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13">
              <a:extLst>
                <a:ext uri="{FF2B5EF4-FFF2-40B4-BE49-F238E27FC236}">
                  <a16:creationId xmlns:a16="http://schemas.microsoft.com/office/drawing/2014/main" id="{EDE494AB-0DB2-4EB8-80EB-ACEFAC6668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694363" y="403225"/>
              <a:ext cx="174625" cy="176213"/>
            </a:xfrm>
            <a:custGeom>
              <a:avLst/>
              <a:gdLst>
                <a:gd name="T0" fmla="*/ 81 w 163"/>
                <a:gd name="T1" fmla="*/ 0 h 165"/>
                <a:gd name="T2" fmla="*/ 163 w 163"/>
                <a:gd name="T3" fmla="*/ 83 h 165"/>
                <a:gd name="T4" fmla="*/ 81 w 163"/>
                <a:gd name="T5" fmla="*/ 165 h 165"/>
                <a:gd name="T6" fmla="*/ 0 w 163"/>
                <a:gd name="T7" fmla="*/ 83 h 165"/>
                <a:gd name="T8" fmla="*/ 81 w 163"/>
                <a:gd name="T9" fmla="*/ 0 h 165"/>
                <a:gd name="T10" fmla="*/ 81 w 163"/>
                <a:gd name="T11" fmla="*/ 146 h 165"/>
                <a:gd name="T12" fmla="*/ 142 w 163"/>
                <a:gd name="T13" fmla="*/ 83 h 165"/>
                <a:gd name="T14" fmla="*/ 81 w 163"/>
                <a:gd name="T15" fmla="*/ 19 h 165"/>
                <a:gd name="T16" fmla="*/ 21 w 163"/>
                <a:gd name="T17" fmla="*/ 83 h 165"/>
                <a:gd name="T18" fmla="*/ 81 w 163"/>
                <a:gd name="T19" fmla="*/ 146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3" h="165">
                  <a:moveTo>
                    <a:pt x="81" y="0"/>
                  </a:moveTo>
                  <a:cubicBezTo>
                    <a:pt x="128" y="0"/>
                    <a:pt x="163" y="36"/>
                    <a:pt x="163" y="83"/>
                  </a:cubicBezTo>
                  <a:cubicBezTo>
                    <a:pt x="163" y="129"/>
                    <a:pt x="128" y="165"/>
                    <a:pt x="81" y="165"/>
                  </a:cubicBezTo>
                  <a:cubicBezTo>
                    <a:pt x="35" y="165"/>
                    <a:pt x="0" y="129"/>
                    <a:pt x="0" y="83"/>
                  </a:cubicBezTo>
                  <a:cubicBezTo>
                    <a:pt x="0" y="36"/>
                    <a:pt x="35" y="0"/>
                    <a:pt x="81" y="0"/>
                  </a:cubicBezTo>
                  <a:close/>
                  <a:moveTo>
                    <a:pt x="81" y="146"/>
                  </a:moveTo>
                  <a:cubicBezTo>
                    <a:pt x="116" y="146"/>
                    <a:pt x="142" y="118"/>
                    <a:pt x="142" y="83"/>
                  </a:cubicBezTo>
                  <a:cubicBezTo>
                    <a:pt x="142" y="47"/>
                    <a:pt x="116" y="19"/>
                    <a:pt x="81" y="19"/>
                  </a:cubicBezTo>
                  <a:cubicBezTo>
                    <a:pt x="46" y="19"/>
                    <a:pt x="21" y="47"/>
                    <a:pt x="21" y="83"/>
                  </a:cubicBezTo>
                  <a:cubicBezTo>
                    <a:pt x="21" y="118"/>
                    <a:pt x="46" y="146"/>
                    <a:pt x="81" y="146"/>
                  </a:cubicBez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id="{C79D77CB-0202-4218-8FB6-8607652D35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08676" y="406400"/>
              <a:ext cx="130175" cy="171450"/>
            </a:xfrm>
            <a:custGeom>
              <a:avLst/>
              <a:gdLst>
                <a:gd name="T0" fmla="*/ 0 w 123"/>
                <a:gd name="T1" fmla="*/ 0 h 161"/>
                <a:gd name="T2" fmla="*/ 44 w 123"/>
                <a:gd name="T3" fmla="*/ 0 h 161"/>
                <a:gd name="T4" fmla="*/ 88 w 123"/>
                <a:gd name="T5" fmla="*/ 8 h 161"/>
                <a:gd name="T6" fmla="*/ 111 w 123"/>
                <a:gd name="T7" fmla="*/ 46 h 161"/>
                <a:gd name="T8" fmla="*/ 90 w 123"/>
                <a:gd name="T9" fmla="*/ 83 h 161"/>
                <a:gd name="T10" fmla="*/ 72 w 123"/>
                <a:gd name="T11" fmla="*/ 90 h 161"/>
                <a:gd name="T12" fmla="*/ 123 w 123"/>
                <a:gd name="T13" fmla="*/ 161 h 161"/>
                <a:gd name="T14" fmla="*/ 98 w 123"/>
                <a:gd name="T15" fmla="*/ 161 h 161"/>
                <a:gd name="T16" fmla="*/ 48 w 123"/>
                <a:gd name="T17" fmla="*/ 92 h 161"/>
                <a:gd name="T18" fmla="*/ 21 w 123"/>
                <a:gd name="T19" fmla="*/ 92 h 161"/>
                <a:gd name="T20" fmla="*/ 21 w 123"/>
                <a:gd name="T21" fmla="*/ 161 h 161"/>
                <a:gd name="T22" fmla="*/ 0 w 123"/>
                <a:gd name="T23" fmla="*/ 161 h 161"/>
                <a:gd name="T24" fmla="*/ 0 w 123"/>
                <a:gd name="T25" fmla="*/ 0 h 161"/>
                <a:gd name="T26" fmla="*/ 48 w 123"/>
                <a:gd name="T27" fmla="*/ 75 h 161"/>
                <a:gd name="T28" fmla="*/ 80 w 123"/>
                <a:gd name="T29" fmla="*/ 67 h 161"/>
                <a:gd name="T30" fmla="*/ 90 w 123"/>
                <a:gd name="T31" fmla="*/ 47 h 161"/>
                <a:gd name="T32" fmla="*/ 76 w 123"/>
                <a:gd name="T33" fmla="*/ 25 h 161"/>
                <a:gd name="T34" fmla="*/ 42 w 123"/>
                <a:gd name="T35" fmla="*/ 19 h 161"/>
                <a:gd name="T36" fmla="*/ 21 w 123"/>
                <a:gd name="T37" fmla="*/ 19 h 161"/>
                <a:gd name="T38" fmla="*/ 21 w 123"/>
                <a:gd name="T39" fmla="*/ 75 h 161"/>
                <a:gd name="T40" fmla="*/ 48 w 123"/>
                <a:gd name="T41" fmla="*/ 75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3" h="161">
                  <a:moveTo>
                    <a:pt x="0" y="0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60" y="0"/>
                    <a:pt x="75" y="1"/>
                    <a:pt x="88" y="8"/>
                  </a:cubicBezTo>
                  <a:cubicBezTo>
                    <a:pt x="102" y="15"/>
                    <a:pt x="111" y="28"/>
                    <a:pt x="111" y="46"/>
                  </a:cubicBezTo>
                  <a:cubicBezTo>
                    <a:pt x="111" y="63"/>
                    <a:pt x="102" y="76"/>
                    <a:pt x="90" y="83"/>
                  </a:cubicBezTo>
                  <a:cubicBezTo>
                    <a:pt x="84" y="87"/>
                    <a:pt x="78" y="89"/>
                    <a:pt x="72" y="90"/>
                  </a:cubicBezTo>
                  <a:cubicBezTo>
                    <a:pt x="123" y="161"/>
                    <a:pt x="123" y="161"/>
                    <a:pt x="123" y="161"/>
                  </a:cubicBezTo>
                  <a:cubicBezTo>
                    <a:pt x="98" y="161"/>
                    <a:pt x="98" y="161"/>
                    <a:pt x="98" y="161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0" y="161"/>
                    <a:pt x="0" y="161"/>
                    <a:pt x="0" y="161"/>
                  </a:cubicBezTo>
                  <a:lnTo>
                    <a:pt x="0" y="0"/>
                  </a:lnTo>
                  <a:close/>
                  <a:moveTo>
                    <a:pt x="48" y="75"/>
                  </a:moveTo>
                  <a:cubicBezTo>
                    <a:pt x="63" y="75"/>
                    <a:pt x="73" y="73"/>
                    <a:pt x="80" y="67"/>
                  </a:cubicBezTo>
                  <a:cubicBezTo>
                    <a:pt x="86" y="63"/>
                    <a:pt x="90" y="56"/>
                    <a:pt x="90" y="47"/>
                  </a:cubicBezTo>
                  <a:cubicBezTo>
                    <a:pt x="90" y="37"/>
                    <a:pt x="85" y="29"/>
                    <a:pt x="76" y="25"/>
                  </a:cubicBezTo>
                  <a:cubicBezTo>
                    <a:pt x="68" y="20"/>
                    <a:pt x="58" y="19"/>
                    <a:pt x="42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75"/>
                    <a:pt x="21" y="75"/>
                    <a:pt x="21" y="75"/>
                  </a:cubicBezTo>
                  <a:lnTo>
                    <a:pt x="48" y="75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id="{D707E65B-9C32-441A-8682-09F35150E2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81713" y="406400"/>
              <a:ext cx="131763" cy="171450"/>
            </a:xfrm>
            <a:custGeom>
              <a:avLst/>
              <a:gdLst>
                <a:gd name="T0" fmla="*/ 0 w 83"/>
                <a:gd name="T1" fmla="*/ 0 h 108"/>
                <a:gd name="T2" fmla="*/ 14 w 83"/>
                <a:gd name="T3" fmla="*/ 0 h 108"/>
                <a:gd name="T4" fmla="*/ 14 w 83"/>
                <a:gd name="T5" fmla="*/ 49 h 108"/>
                <a:gd name="T6" fmla="*/ 14 w 83"/>
                <a:gd name="T7" fmla="*/ 49 h 108"/>
                <a:gd name="T8" fmla="*/ 61 w 83"/>
                <a:gd name="T9" fmla="*/ 0 h 108"/>
                <a:gd name="T10" fmla="*/ 79 w 83"/>
                <a:gd name="T11" fmla="*/ 0 h 108"/>
                <a:gd name="T12" fmla="*/ 30 w 83"/>
                <a:gd name="T13" fmla="*/ 50 h 108"/>
                <a:gd name="T14" fmla="*/ 83 w 83"/>
                <a:gd name="T15" fmla="*/ 108 h 108"/>
                <a:gd name="T16" fmla="*/ 64 w 83"/>
                <a:gd name="T17" fmla="*/ 108 h 108"/>
                <a:gd name="T18" fmla="*/ 14 w 83"/>
                <a:gd name="T19" fmla="*/ 52 h 108"/>
                <a:gd name="T20" fmla="*/ 14 w 83"/>
                <a:gd name="T21" fmla="*/ 52 h 108"/>
                <a:gd name="T22" fmla="*/ 14 w 83"/>
                <a:gd name="T23" fmla="*/ 108 h 108"/>
                <a:gd name="T24" fmla="*/ 0 w 83"/>
                <a:gd name="T25" fmla="*/ 108 h 108"/>
                <a:gd name="T26" fmla="*/ 0 w 83"/>
                <a:gd name="T27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3" h="108">
                  <a:moveTo>
                    <a:pt x="0" y="0"/>
                  </a:moveTo>
                  <a:lnTo>
                    <a:pt x="14" y="0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61" y="0"/>
                  </a:lnTo>
                  <a:lnTo>
                    <a:pt x="79" y="0"/>
                  </a:lnTo>
                  <a:lnTo>
                    <a:pt x="30" y="50"/>
                  </a:lnTo>
                  <a:lnTo>
                    <a:pt x="83" y="108"/>
                  </a:lnTo>
                  <a:lnTo>
                    <a:pt x="64" y="108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108"/>
                  </a:lnTo>
                  <a:lnTo>
                    <a:pt x="0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id="{B61E5A0B-666F-4EFF-9BB0-94AAAF440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9438" y="639763"/>
              <a:ext cx="100013" cy="171450"/>
            </a:xfrm>
            <a:custGeom>
              <a:avLst/>
              <a:gdLst>
                <a:gd name="T0" fmla="*/ 0 w 63"/>
                <a:gd name="T1" fmla="*/ 0 h 108"/>
                <a:gd name="T2" fmla="*/ 63 w 63"/>
                <a:gd name="T3" fmla="*/ 0 h 108"/>
                <a:gd name="T4" fmla="*/ 63 w 63"/>
                <a:gd name="T5" fmla="*/ 13 h 108"/>
                <a:gd name="T6" fmla="*/ 14 w 63"/>
                <a:gd name="T7" fmla="*/ 13 h 108"/>
                <a:gd name="T8" fmla="*/ 14 w 63"/>
                <a:gd name="T9" fmla="*/ 48 h 108"/>
                <a:gd name="T10" fmla="*/ 58 w 63"/>
                <a:gd name="T11" fmla="*/ 48 h 108"/>
                <a:gd name="T12" fmla="*/ 58 w 63"/>
                <a:gd name="T13" fmla="*/ 60 h 108"/>
                <a:gd name="T14" fmla="*/ 14 w 63"/>
                <a:gd name="T15" fmla="*/ 60 h 108"/>
                <a:gd name="T16" fmla="*/ 14 w 63"/>
                <a:gd name="T17" fmla="*/ 108 h 108"/>
                <a:gd name="T18" fmla="*/ 0 w 63"/>
                <a:gd name="T19" fmla="*/ 108 h 108"/>
                <a:gd name="T20" fmla="*/ 0 w 63"/>
                <a:gd name="T21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3" h="108">
                  <a:moveTo>
                    <a:pt x="0" y="0"/>
                  </a:moveTo>
                  <a:lnTo>
                    <a:pt x="63" y="0"/>
                  </a:lnTo>
                  <a:lnTo>
                    <a:pt x="63" y="13"/>
                  </a:lnTo>
                  <a:lnTo>
                    <a:pt x="14" y="13"/>
                  </a:lnTo>
                  <a:lnTo>
                    <a:pt x="14" y="48"/>
                  </a:lnTo>
                  <a:lnTo>
                    <a:pt x="58" y="48"/>
                  </a:lnTo>
                  <a:lnTo>
                    <a:pt x="58" y="60"/>
                  </a:lnTo>
                  <a:lnTo>
                    <a:pt x="14" y="60"/>
                  </a:lnTo>
                  <a:lnTo>
                    <a:pt x="14" y="108"/>
                  </a:lnTo>
                  <a:lnTo>
                    <a:pt x="0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Rectangle 17">
              <a:extLst>
                <a:ext uri="{FF2B5EF4-FFF2-40B4-BE49-F238E27FC236}">
                  <a16:creationId xmlns:a16="http://schemas.microsoft.com/office/drawing/2014/main" id="{22AFE816-98DC-4E43-9B3B-F3C53F86B29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807076" y="639763"/>
              <a:ext cx="22225" cy="171450"/>
            </a:xfrm>
            <a:prstGeom prst="rect">
              <a:avLst/>
            </a:pr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id="{85C855E3-4ECC-4A29-832A-0295B7E77A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84863" y="639763"/>
              <a:ext cx="103188" cy="171450"/>
            </a:xfrm>
            <a:custGeom>
              <a:avLst/>
              <a:gdLst>
                <a:gd name="T0" fmla="*/ 0 w 65"/>
                <a:gd name="T1" fmla="*/ 0 h 108"/>
                <a:gd name="T2" fmla="*/ 14 w 65"/>
                <a:gd name="T3" fmla="*/ 0 h 108"/>
                <a:gd name="T4" fmla="*/ 14 w 65"/>
                <a:gd name="T5" fmla="*/ 95 h 108"/>
                <a:gd name="T6" fmla="*/ 65 w 65"/>
                <a:gd name="T7" fmla="*/ 95 h 108"/>
                <a:gd name="T8" fmla="*/ 65 w 65"/>
                <a:gd name="T9" fmla="*/ 108 h 108"/>
                <a:gd name="T10" fmla="*/ 0 w 65"/>
                <a:gd name="T11" fmla="*/ 108 h 108"/>
                <a:gd name="T12" fmla="*/ 0 w 65"/>
                <a:gd name="T1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108">
                  <a:moveTo>
                    <a:pt x="0" y="0"/>
                  </a:moveTo>
                  <a:lnTo>
                    <a:pt x="14" y="0"/>
                  </a:lnTo>
                  <a:lnTo>
                    <a:pt x="14" y="95"/>
                  </a:lnTo>
                  <a:lnTo>
                    <a:pt x="65" y="95"/>
                  </a:lnTo>
                  <a:lnTo>
                    <a:pt x="65" y="108"/>
                  </a:lnTo>
                  <a:lnTo>
                    <a:pt x="0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id="{3463165B-F8AA-4158-BA7B-7334A89A89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26151" y="639763"/>
              <a:ext cx="165100" cy="171450"/>
            </a:xfrm>
            <a:custGeom>
              <a:avLst/>
              <a:gdLst>
                <a:gd name="T0" fmla="*/ 42 w 155"/>
                <a:gd name="T1" fmla="*/ 67 h 161"/>
                <a:gd name="T2" fmla="*/ 21 w 155"/>
                <a:gd name="T3" fmla="*/ 36 h 161"/>
                <a:gd name="T4" fmla="*/ 20 w 155"/>
                <a:gd name="T5" fmla="*/ 36 h 161"/>
                <a:gd name="T6" fmla="*/ 21 w 155"/>
                <a:gd name="T7" fmla="*/ 71 h 161"/>
                <a:gd name="T8" fmla="*/ 21 w 155"/>
                <a:gd name="T9" fmla="*/ 161 h 161"/>
                <a:gd name="T10" fmla="*/ 0 w 155"/>
                <a:gd name="T11" fmla="*/ 161 h 161"/>
                <a:gd name="T12" fmla="*/ 0 w 155"/>
                <a:gd name="T13" fmla="*/ 0 h 161"/>
                <a:gd name="T14" fmla="*/ 21 w 155"/>
                <a:gd name="T15" fmla="*/ 0 h 161"/>
                <a:gd name="T16" fmla="*/ 78 w 155"/>
                <a:gd name="T17" fmla="*/ 82 h 161"/>
                <a:gd name="T18" fmla="*/ 135 w 155"/>
                <a:gd name="T19" fmla="*/ 0 h 161"/>
                <a:gd name="T20" fmla="*/ 155 w 155"/>
                <a:gd name="T21" fmla="*/ 0 h 161"/>
                <a:gd name="T22" fmla="*/ 155 w 155"/>
                <a:gd name="T23" fmla="*/ 161 h 161"/>
                <a:gd name="T24" fmla="*/ 134 w 155"/>
                <a:gd name="T25" fmla="*/ 161 h 161"/>
                <a:gd name="T26" fmla="*/ 134 w 155"/>
                <a:gd name="T27" fmla="*/ 71 h 161"/>
                <a:gd name="T28" fmla="*/ 134 w 155"/>
                <a:gd name="T29" fmla="*/ 36 h 161"/>
                <a:gd name="T30" fmla="*/ 134 w 155"/>
                <a:gd name="T31" fmla="*/ 36 h 161"/>
                <a:gd name="T32" fmla="*/ 112 w 155"/>
                <a:gd name="T33" fmla="*/ 67 h 161"/>
                <a:gd name="T34" fmla="*/ 77 w 155"/>
                <a:gd name="T35" fmla="*/ 117 h 161"/>
                <a:gd name="T36" fmla="*/ 42 w 155"/>
                <a:gd name="T37" fmla="*/ 6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61">
                  <a:moveTo>
                    <a:pt x="42" y="67"/>
                  </a:moveTo>
                  <a:cubicBezTo>
                    <a:pt x="35" y="57"/>
                    <a:pt x="28" y="46"/>
                    <a:pt x="21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45"/>
                    <a:pt x="21" y="58"/>
                    <a:pt x="21" y="71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5" y="161"/>
                    <a:pt x="155" y="161"/>
                    <a:pt x="155" y="161"/>
                  </a:cubicBezTo>
                  <a:cubicBezTo>
                    <a:pt x="134" y="161"/>
                    <a:pt x="134" y="161"/>
                    <a:pt x="134" y="161"/>
                  </a:cubicBezTo>
                  <a:cubicBezTo>
                    <a:pt x="134" y="71"/>
                    <a:pt x="134" y="71"/>
                    <a:pt x="134" y="71"/>
                  </a:cubicBezTo>
                  <a:cubicBezTo>
                    <a:pt x="134" y="58"/>
                    <a:pt x="134" y="45"/>
                    <a:pt x="134" y="36"/>
                  </a:cubicBezTo>
                  <a:cubicBezTo>
                    <a:pt x="134" y="36"/>
                    <a:pt x="134" y="36"/>
                    <a:pt x="134" y="36"/>
                  </a:cubicBezTo>
                  <a:cubicBezTo>
                    <a:pt x="127" y="46"/>
                    <a:pt x="120" y="57"/>
                    <a:pt x="112" y="67"/>
                  </a:cubicBezTo>
                  <a:cubicBezTo>
                    <a:pt x="77" y="117"/>
                    <a:pt x="77" y="117"/>
                    <a:pt x="77" y="117"/>
                  </a:cubicBezTo>
                  <a:lnTo>
                    <a:pt x="42" y="67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20">
              <a:extLst>
                <a:ext uri="{FF2B5EF4-FFF2-40B4-BE49-F238E27FC236}">
                  <a16:creationId xmlns:a16="http://schemas.microsoft.com/office/drawing/2014/main" id="{C4215318-4CE4-4477-B635-1FA44F1FF6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38488" y="171450"/>
              <a:ext cx="776288" cy="639763"/>
            </a:xfrm>
            <a:custGeom>
              <a:avLst/>
              <a:gdLst>
                <a:gd name="T0" fmla="*/ 90 w 489"/>
                <a:gd name="T1" fmla="*/ 403 h 403"/>
                <a:gd name="T2" fmla="*/ 0 w 489"/>
                <a:gd name="T3" fmla="*/ 403 h 403"/>
                <a:gd name="T4" fmla="*/ 204 w 489"/>
                <a:gd name="T5" fmla="*/ 0 h 403"/>
                <a:gd name="T6" fmla="*/ 285 w 489"/>
                <a:gd name="T7" fmla="*/ 0 h 403"/>
                <a:gd name="T8" fmla="*/ 489 w 489"/>
                <a:gd name="T9" fmla="*/ 403 h 403"/>
                <a:gd name="T10" fmla="*/ 397 w 489"/>
                <a:gd name="T11" fmla="*/ 403 h 403"/>
                <a:gd name="T12" fmla="*/ 243 w 489"/>
                <a:gd name="T13" fmla="*/ 106 h 403"/>
                <a:gd name="T14" fmla="*/ 90 w 489"/>
                <a:gd name="T15" fmla="*/ 403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9" h="403">
                  <a:moveTo>
                    <a:pt x="90" y="403"/>
                  </a:moveTo>
                  <a:lnTo>
                    <a:pt x="0" y="403"/>
                  </a:lnTo>
                  <a:lnTo>
                    <a:pt x="204" y="0"/>
                  </a:lnTo>
                  <a:lnTo>
                    <a:pt x="285" y="0"/>
                  </a:lnTo>
                  <a:lnTo>
                    <a:pt x="489" y="403"/>
                  </a:lnTo>
                  <a:lnTo>
                    <a:pt x="397" y="403"/>
                  </a:lnTo>
                  <a:lnTo>
                    <a:pt x="243" y="106"/>
                  </a:lnTo>
                  <a:lnTo>
                    <a:pt x="90" y="403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21">
              <a:extLst>
                <a:ext uri="{FF2B5EF4-FFF2-40B4-BE49-F238E27FC236}">
                  <a16:creationId xmlns:a16="http://schemas.microsoft.com/office/drawing/2014/main" id="{FDFB0C5F-94BB-4D8D-A686-B6B93542A7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11613" y="176213"/>
              <a:ext cx="538163" cy="635000"/>
            </a:xfrm>
            <a:custGeom>
              <a:avLst/>
              <a:gdLst>
                <a:gd name="T0" fmla="*/ 0 w 506"/>
                <a:gd name="T1" fmla="*/ 596 h 596"/>
                <a:gd name="T2" fmla="*/ 75 w 506"/>
                <a:gd name="T3" fmla="*/ 596 h 596"/>
                <a:gd name="T4" fmla="*/ 127 w 506"/>
                <a:gd name="T5" fmla="*/ 596 h 596"/>
                <a:gd name="T6" fmla="*/ 283 w 506"/>
                <a:gd name="T7" fmla="*/ 596 h 596"/>
                <a:gd name="T8" fmla="*/ 506 w 506"/>
                <a:gd name="T9" fmla="*/ 433 h 596"/>
                <a:gd name="T10" fmla="*/ 395 w 506"/>
                <a:gd name="T11" fmla="*/ 285 h 596"/>
                <a:gd name="T12" fmla="*/ 473 w 506"/>
                <a:gd name="T13" fmla="*/ 156 h 596"/>
                <a:gd name="T14" fmla="*/ 432 w 506"/>
                <a:gd name="T15" fmla="*/ 53 h 596"/>
                <a:gd name="T16" fmla="*/ 276 w 506"/>
                <a:gd name="T17" fmla="*/ 0 h 596"/>
                <a:gd name="T18" fmla="*/ 0 w 506"/>
                <a:gd name="T19" fmla="*/ 0 h 596"/>
                <a:gd name="T20" fmla="*/ 0 w 506"/>
                <a:gd name="T21" fmla="*/ 115 h 596"/>
                <a:gd name="T22" fmla="*/ 257 w 506"/>
                <a:gd name="T23" fmla="*/ 115 h 596"/>
                <a:gd name="T24" fmla="*/ 343 w 506"/>
                <a:gd name="T25" fmla="*/ 177 h 596"/>
                <a:gd name="T26" fmla="*/ 248 w 506"/>
                <a:gd name="T27" fmla="*/ 241 h 596"/>
                <a:gd name="T28" fmla="*/ 0 w 506"/>
                <a:gd name="T29" fmla="*/ 241 h 596"/>
                <a:gd name="T30" fmla="*/ 0 w 506"/>
                <a:gd name="T31" fmla="*/ 596 h 596"/>
                <a:gd name="T32" fmla="*/ 283 w 506"/>
                <a:gd name="T33" fmla="*/ 481 h 596"/>
                <a:gd name="T34" fmla="*/ 127 w 506"/>
                <a:gd name="T35" fmla="*/ 481 h 596"/>
                <a:gd name="T36" fmla="*/ 127 w 506"/>
                <a:gd name="T37" fmla="*/ 350 h 596"/>
                <a:gd name="T38" fmla="*/ 279 w 506"/>
                <a:gd name="T39" fmla="*/ 350 h 596"/>
                <a:gd name="T40" fmla="*/ 376 w 506"/>
                <a:gd name="T41" fmla="*/ 415 h 596"/>
                <a:gd name="T42" fmla="*/ 283 w 506"/>
                <a:gd name="T43" fmla="*/ 481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06" h="596">
                  <a:moveTo>
                    <a:pt x="0" y="596"/>
                  </a:moveTo>
                  <a:cubicBezTo>
                    <a:pt x="75" y="596"/>
                    <a:pt x="75" y="596"/>
                    <a:pt x="75" y="596"/>
                  </a:cubicBezTo>
                  <a:cubicBezTo>
                    <a:pt x="127" y="596"/>
                    <a:pt x="127" y="596"/>
                    <a:pt x="127" y="596"/>
                  </a:cubicBezTo>
                  <a:cubicBezTo>
                    <a:pt x="283" y="596"/>
                    <a:pt x="283" y="596"/>
                    <a:pt x="283" y="596"/>
                  </a:cubicBezTo>
                  <a:cubicBezTo>
                    <a:pt x="418" y="596"/>
                    <a:pt x="506" y="542"/>
                    <a:pt x="506" y="433"/>
                  </a:cubicBezTo>
                  <a:cubicBezTo>
                    <a:pt x="506" y="351"/>
                    <a:pt x="464" y="311"/>
                    <a:pt x="395" y="285"/>
                  </a:cubicBezTo>
                  <a:cubicBezTo>
                    <a:pt x="437" y="261"/>
                    <a:pt x="473" y="223"/>
                    <a:pt x="473" y="156"/>
                  </a:cubicBezTo>
                  <a:cubicBezTo>
                    <a:pt x="473" y="114"/>
                    <a:pt x="459" y="80"/>
                    <a:pt x="432" y="53"/>
                  </a:cubicBezTo>
                  <a:cubicBezTo>
                    <a:pt x="398" y="19"/>
                    <a:pt x="345" y="0"/>
                    <a:pt x="27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257" y="115"/>
                    <a:pt x="257" y="115"/>
                    <a:pt x="257" y="115"/>
                  </a:cubicBezTo>
                  <a:cubicBezTo>
                    <a:pt x="312" y="115"/>
                    <a:pt x="343" y="137"/>
                    <a:pt x="343" y="177"/>
                  </a:cubicBezTo>
                  <a:cubicBezTo>
                    <a:pt x="343" y="223"/>
                    <a:pt x="306" y="241"/>
                    <a:pt x="248" y="241"/>
                  </a:cubicBezTo>
                  <a:cubicBezTo>
                    <a:pt x="0" y="241"/>
                    <a:pt x="0" y="241"/>
                    <a:pt x="0" y="241"/>
                  </a:cubicBezTo>
                  <a:lnTo>
                    <a:pt x="0" y="596"/>
                  </a:lnTo>
                  <a:close/>
                  <a:moveTo>
                    <a:pt x="283" y="481"/>
                  </a:moveTo>
                  <a:cubicBezTo>
                    <a:pt x="127" y="481"/>
                    <a:pt x="127" y="481"/>
                    <a:pt x="127" y="481"/>
                  </a:cubicBezTo>
                  <a:cubicBezTo>
                    <a:pt x="127" y="350"/>
                    <a:pt x="127" y="350"/>
                    <a:pt x="127" y="350"/>
                  </a:cubicBezTo>
                  <a:cubicBezTo>
                    <a:pt x="279" y="350"/>
                    <a:pt x="279" y="350"/>
                    <a:pt x="279" y="350"/>
                  </a:cubicBezTo>
                  <a:cubicBezTo>
                    <a:pt x="346" y="350"/>
                    <a:pt x="376" y="375"/>
                    <a:pt x="376" y="415"/>
                  </a:cubicBezTo>
                  <a:cubicBezTo>
                    <a:pt x="376" y="461"/>
                    <a:pt x="341" y="481"/>
                    <a:pt x="283" y="481"/>
                  </a:cubicBez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22">
              <a:extLst>
                <a:ext uri="{FF2B5EF4-FFF2-40B4-BE49-F238E27FC236}">
                  <a16:creationId xmlns:a16="http://schemas.microsoft.com/office/drawing/2014/main" id="{37B80D1E-1378-453F-8D10-6ADB679471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41663" y="1006475"/>
              <a:ext cx="138113" cy="160338"/>
            </a:xfrm>
            <a:custGeom>
              <a:avLst/>
              <a:gdLst>
                <a:gd name="T0" fmla="*/ 52 w 87"/>
                <a:gd name="T1" fmla="*/ 101 h 101"/>
                <a:gd name="T2" fmla="*/ 34 w 87"/>
                <a:gd name="T3" fmla="*/ 101 h 101"/>
                <a:gd name="T4" fmla="*/ 34 w 87"/>
                <a:gd name="T5" fmla="*/ 62 h 101"/>
                <a:gd name="T6" fmla="*/ 0 w 87"/>
                <a:gd name="T7" fmla="*/ 0 h 101"/>
                <a:gd name="T8" fmla="*/ 19 w 87"/>
                <a:gd name="T9" fmla="*/ 0 h 101"/>
                <a:gd name="T10" fmla="*/ 44 w 87"/>
                <a:gd name="T11" fmla="*/ 45 h 101"/>
                <a:gd name="T12" fmla="*/ 68 w 87"/>
                <a:gd name="T13" fmla="*/ 0 h 101"/>
                <a:gd name="T14" fmla="*/ 87 w 87"/>
                <a:gd name="T15" fmla="*/ 0 h 101"/>
                <a:gd name="T16" fmla="*/ 52 w 87"/>
                <a:gd name="T17" fmla="*/ 62 h 101"/>
                <a:gd name="T18" fmla="*/ 52 w 87"/>
                <a:gd name="T1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101">
                  <a:moveTo>
                    <a:pt x="52" y="101"/>
                  </a:moveTo>
                  <a:lnTo>
                    <a:pt x="34" y="101"/>
                  </a:lnTo>
                  <a:lnTo>
                    <a:pt x="34" y="62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4" y="45"/>
                  </a:lnTo>
                  <a:lnTo>
                    <a:pt x="68" y="0"/>
                  </a:lnTo>
                  <a:lnTo>
                    <a:pt x="87" y="0"/>
                  </a:lnTo>
                  <a:lnTo>
                    <a:pt x="52" y="62"/>
                  </a:lnTo>
                  <a:lnTo>
                    <a:pt x="52" y="101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23">
              <a:extLst>
                <a:ext uri="{FF2B5EF4-FFF2-40B4-BE49-F238E27FC236}">
                  <a16:creationId xmlns:a16="http://schemas.microsoft.com/office/drawing/2014/main" id="{0EA9BDD0-666E-46A9-A329-58C04B8509D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67076" y="1055688"/>
              <a:ext cx="115888" cy="114300"/>
            </a:xfrm>
            <a:custGeom>
              <a:avLst/>
              <a:gdLst>
                <a:gd name="T0" fmla="*/ 76 w 109"/>
                <a:gd name="T1" fmla="*/ 4 h 108"/>
                <a:gd name="T2" fmla="*/ 93 w 109"/>
                <a:gd name="T3" fmla="*/ 16 h 108"/>
                <a:gd name="T4" fmla="*/ 105 w 109"/>
                <a:gd name="T5" fmla="*/ 33 h 108"/>
                <a:gd name="T6" fmla="*/ 109 w 109"/>
                <a:gd name="T7" fmla="*/ 54 h 108"/>
                <a:gd name="T8" fmla="*/ 105 w 109"/>
                <a:gd name="T9" fmla="*/ 75 h 108"/>
                <a:gd name="T10" fmla="*/ 93 w 109"/>
                <a:gd name="T11" fmla="*/ 92 h 108"/>
                <a:gd name="T12" fmla="*/ 76 w 109"/>
                <a:gd name="T13" fmla="*/ 104 h 108"/>
                <a:gd name="T14" fmla="*/ 54 w 109"/>
                <a:gd name="T15" fmla="*/ 108 h 108"/>
                <a:gd name="T16" fmla="*/ 33 w 109"/>
                <a:gd name="T17" fmla="*/ 104 h 108"/>
                <a:gd name="T18" fmla="*/ 15 w 109"/>
                <a:gd name="T19" fmla="*/ 92 h 108"/>
                <a:gd name="T20" fmla="*/ 4 w 109"/>
                <a:gd name="T21" fmla="*/ 75 h 108"/>
                <a:gd name="T22" fmla="*/ 0 w 109"/>
                <a:gd name="T23" fmla="*/ 54 h 108"/>
                <a:gd name="T24" fmla="*/ 4 w 109"/>
                <a:gd name="T25" fmla="*/ 33 h 108"/>
                <a:gd name="T26" fmla="*/ 15 w 109"/>
                <a:gd name="T27" fmla="*/ 16 h 108"/>
                <a:gd name="T28" fmla="*/ 33 w 109"/>
                <a:gd name="T29" fmla="*/ 4 h 108"/>
                <a:gd name="T30" fmla="*/ 54 w 109"/>
                <a:gd name="T31" fmla="*/ 0 h 108"/>
                <a:gd name="T32" fmla="*/ 76 w 109"/>
                <a:gd name="T33" fmla="*/ 4 h 108"/>
                <a:gd name="T34" fmla="*/ 66 w 109"/>
                <a:gd name="T35" fmla="*/ 81 h 108"/>
                <a:gd name="T36" fmla="*/ 75 w 109"/>
                <a:gd name="T37" fmla="*/ 75 h 108"/>
                <a:gd name="T38" fmla="*/ 81 w 109"/>
                <a:gd name="T39" fmla="*/ 65 h 108"/>
                <a:gd name="T40" fmla="*/ 83 w 109"/>
                <a:gd name="T41" fmla="*/ 54 h 108"/>
                <a:gd name="T42" fmla="*/ 81 w 109"/>
                <a:gd name="T43" fmla="*/ 42 h 108"/>
                <a:gd name="T44" fmla="*/ 75 w 109"/>
                <a:gd name="T45" fmla="*/ 33 h 108"/>
                <a:gd name="T46" fmla="*/ 66 w 109"/>
                <a:gd name="T47" fmla="*/ 27 h 108"/>
                <a:gd name="T48" fmla="*/ 54 w 109"/>
                <a:gd name="T49" fmla="*/ 24 h 108"/>
                <a:gd name="T50" fmla="*/ 43 w 109"/>
                <a:gd name="T51" fmla="*/ 27 h 108"/>
                <a:gd name="T52" fmla="*/ 34 w 109"/>
                <a:gd name="T53" fmla="*/ 33 h 108"/>
                <a:gd name="T54" fmla="*/ 28 w 109"/>
                <a:gd name="T55" fmla="*/ 42 h 108"/>
                <a:gd name="T56" fmla="*/ 26 w 109"/>
                <a:gd name="T57" fmla="*/ 54 h 108"/>
                <a:gd name="T58" fmla="*/ 28 w 109"/>
                <a:gd name="T59" fmla="*/ 65 h 108"/>
                <a:gd name="T60" fmla="*/ 34 w 109"/>
                <a:gd name="T61" fmla="*/ 75 h 108"/>
                <a:gd name="T62" fmla="*/ 43 w 109"/>
                <a:gd name="T63" fmla="*/ 81 h 108"/>
                <a:gd name="T64" fmla="*/ 54 w 109"/>
                <a:gd name="T65" fmla="*/ 84 h 108"/>
                <a:gd name="T66" fmla="*/ 66 w 109"/>
                <a:gd name="T67" fmla="*/ 8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" h="108">
                  <a:moveTo>
                    <a:pt x="76" y="4"/>
                  </a:moveTo>
                  <a:cubicBezTo>
                    <a:pt x="82" y="7"/>
                    <a:pt x="88" y="11"/>
                    <a:pt x="93" y="16"/>
                  </a:cubicBezTo>
                  <a:cubicBezTo>
                    <a:pt x="98" y="21"/>
                    <a:pt x="102" y="26"/>
                    <a:pt x="105" y="33"/>
                  </a:cubicBezTo>
                  <a:cubicBezTo>
                    <a:pt x="108" y="39"/>
                    <a:pt x="109" y="46"/>
                    <a:pt x="109" y="54"/>
                  </a:cubicBezTo>
                  <a:cubicBezTo>
                    <a:pt x="109" y="61"/>
                    <a:pt x="108" y="69"/>
                    <a:pt x="105" y="75"/>
                  </a:cubicBezTo>
                  <a:cubicBezTo>
                    <a:pt x="102" y="82"/>
                    <a:pt x="98" y="87"/>
                    <a:pt x="93" y="92"/>
                  </a:cubicBezTo>
                  <a:cubicBezTo>
                    <a:pt x="88" y="97"/>
                    <a:pt x="82" y="101"/>
                    <a:pt x="76" y="104"/>
                  </a:cubicBezTo>
                  <a:cubicBezTo>
                    <a:pt x="69" y="106"/>
                    <a:pt x="62" y="108"/>
                    <a:pt x="54" y="108"/>
                  </a:cubicBezTo>
                  <a:cubicBezTo>
                    <a:pt x="47" y="108"/>
                    <a:pt x="40" y="106"/>
                    <a:pt x="33" y="104"/>
                  </a:cubicBezTo>
                  <a:cubicBezTo>
                    <a:pt x="26" y="101"/>
                    <a:pt x="20" y="97"/>
                    <a:pt x="15" y="92"/>
                  </a:cubicBezTo>
                  <a:cubicBezTo>
                    <a:pt x="11" y="87"/>
                    <a:pt x="7" y="82"/>
                    <a:pt x="4" y="75"/>
                  </a:cubicBezTo>
                  <a:cubicBezTo>
                    <a:pt x="1" y="69"/>
                    <a:pt x="0" y="61"/>
                    <a:pt x="0" y="54"/>
                  </a:cubicBezTo>
                  <a:cubicBezTo>
                    <a:pt x="0" y="46"/>
                    <a:pt x="1" y="39"/>
                    <a:pt x="4" y="33"/>
                  </a:cubicBezTo>
                  <a:cubicBezTo>
                    <a:pt x="7" y="26"/>
                    <a:pt x="11" y="21"/>
                    <a:pt x="15" y="16"/>
                  </a:cubicBezTo>
                  <a:cubicBezTo>
                    <a:pt x="20" y="11"/>
                    <a:pt x="26" y="7"/>
                    <a:pt x="33" y="4"/>
                  </a:cubicBezTo>
                  <a:cubicBezTo>
                    <a:pt x="40" y="1"/>
                    <a:pt x="47" y="0"/>
                    <a:pt x="54" y="0"/>
                  </a:cubicBezTo>
                  <a:cubicBezTo>
                    <a:pt x="62" y="0"/>
                    <a:pt x="69" y="1"/>
                    <a:pt x="76" y="4"/>
                  </a:cubicBezTo>
                  <a:close/>
                  <a:moveTo>
                    <a:pt x="66" y="81"/>
                  </a:moveTo>
                  <a:cubicBezTo>
                    <a:pt x="70" y="80"/>
                    <a:pt x="73" y="77"/>
                    <a:pt x="75" y="75"/>
                  </a:cubicBezTo>
                  <a:cubicBezTo>
                    <a:pt x="78" y="72"/>
                    <a:pt x="79" y="69"/>
                    <a:pt x="81" y="65"/>
                  </a:cubicBezTo>
                  <a:cubicBezTo>
                    <a:pt x="82" y="62"/>
                    <a:pt x="83" y="58"/>
                    <a:pt x="83" y="54"/>
                  </a:cubicBezTo>
                  <a:cubicBezTo>
                    <a:pt x="83" y="50"/>
                    <a:pt x="82" y="46"/>
                    <a:pt x="81" y="42"/>
                  </a:cubicBezTo>
                  <a:cubicBezTo>
                    <a:pt x="79" y="39"/>
                    <a:pt x="78" y="36"/>
                    <a:pt x="75" y="33"/>
                  </a:cubicBezTo>
                  <a:cubicBezTo>
                    <a:pt x="73" y="30"/>
                    <a:pt x="70" y="28"/>
                    <a:pt x="66" y="27"/>
                  </a:cubicBezTo>
                  <a:cubicBezTo>
                    <a:pt x="63" y="25"/>
                    <a:pt x="59" y="24"/>
                    <a:pt x="54" y="24"/>
                  </a:cubicBezTo>
                  <a:cubicBezTo>
                    <a:pt x="50" y="24"/>
                    <a:pt x="46" y="25"/>
                    <a:pt x="43" y="27"/>
                  </a:cubicBezTo>
                  <a:cubicBezTo>
                    <a:pt x="39" y="28"/>
                    <a:pt x="36" y="30"/>
                    <a:pt x="34" y="33"/>
                  </a:cubicBezTo>
                  <a:cubicBezTo>
                    <a:pt x="31" y="36"/>
                    <a:pt x="29" y="39"/>
                    <a:pt x="28" y="42"/>
                  </a:cubicBezTo>
                  <a:cubicBezTo>
                    <a:pt x="27" y="46"/>
                    <a:pt x="26" y="50"/>
                    <a:pt x="26" y="54"/>
                  </a:cubicBezTo>
                  <a:cubicBezTo>
                    <a:pt x="26" y="58"/>
                    <a:pt x="27" y="62"/>
                    <a:pt x="28" y="65"/>
                  </a:cubicBezTo>
                  <a:cubicBezTo>
                    <a:pt x="29" y="69"/>
                    <a:pt x="31" y="72"/>
                    <a:pt x="34" y="75"/>
                  </a:cubicBezTo>
                  <a:cubicBezTo>
                    <a:pt x="36" y="77"/>
                    <a:pt x="39" y="80"/>
                    <a:pt x="43" y="81"/>
                  </a:cubicBezTo>
                  <a:cubicBezTo>
                    <a:pt x="46" y="83"/>
                    <a:pt x="50" y="84"/>
                    <a:pt x="54" y="84"/>
                  </a:cubicBezTo>
                  <a:cubicBezTo>
                    <a:pt x="59" y="84"/>
                    <a:pt x="63" y="83"/>
                    <a:pt x="66" y="81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Freeform 24">
              <a:extLst>
                <a:ext uri="{FF2B5EF4-FFF2-40B4-BE49-F238E27FC236}">
                  <a16:creationId xmlns:a16="http://schemas.microsoft.com/office/drawing/2014/main" id="{B27EF9B8-CE88-4E8B-9FC6-9C68A802F8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4713" y="1058863"/>
              <a:ext cx="98425" cy="111125"/>
            </a:xfrm>
            <a:custGeom>
              <a:avLst/>
              <a:gdLst>
                <a:gd name="T0" fmla="*/ 24 w 93"/>
                <a:gd name="T1" fmla="*/ 102 h 105"/>
                <a:gd name="T2" fmla="*/ 12 w 93"/>
                <a:gd name="T3" fmla="*/ 95 h 105"/>
                <a:gd name="T4" fmla="*/ 3 w 93"/>
                <a:gd name="T5" fmla="*/ 83 h 105"/>
                <a:gd name="T6" fmla="*/ 0 w 93"/>
                <a:gd name="T7" fmla="*/ 66 h 105"/>
                <a:gd name="T8" fmla="*/ 0 w 93"/>
                <a:gd name="T9" fmla="*/ 0 h 105"/>
                <a:gd name="T10" fmla="*/ 26 w 93"/>
                <a:gd name="T11" fmla="*/ 0 h 105"/>
                <a:gd name="T12" fmla="*/ 26 w 93"/>
                <a:gd name="T13" fmla="*/ 59 h 105"/>
                <a:gd name="T14" fmla="*/ 31 w 93"/>
                <a:gd name="T15" fmla="*/ 76 h 105"/>
                <a:gd name="T16" fmla="*/ 47 w 93"/>
                <a:gd name="T17" fmla="*/ 81 h 105"/>
                <a:gd name="T18" fmla="*/ 55 w 93"/>
                <a:gd name="T19" fmla="*/ 79 h 105"/>
                <a:gd name="T20" fmla="*/ 62 w 93"/>
                <a:gd name="T21" fmla="*/ 74 h 105"/>
                <a:gd name="T22" fmla="*/ 67 w 93"/>
                <a:gd name="T23" fmla="*/ 68 h 105"/>
                <a:gd name="T24" fmla="*/ 67 w 93"/>
                <a:gd name="T25" fmla="*/ 0 h 105"/>
                <a:gd name="T26" fmla="*/ 93 w 93"/>
                <a:gd name="T27" fmla="*/ 0 h 105"/>
                <a:gd name="T28" fmla="*/ 93 w 93"/>
                <a:gd name="T29" fmla="*/ 102 h 105"/>
                <a:gd name="T30" fmla="*/ 69 w 93"/>
                <a:gd name="T31" fmla="*/ 102 h 105"/>
                <a:gd name="T32" fmla="*/ 69 w 93"/>
                <a:gd name="T33" fmla="*/ 87 h 105"/>
                <a:gd name="T34" fmla="*/ 61 w 93"/>
                <a:gd name="T35" fmla="*/ 96 h 105"/>
                <a:gd name="T36" fmla="*/ 52 w 93"/>
                <a:gd name="T37" fmla="*/ 102 h 105"/>
                <a:gd name="T38" fmla="*/ 38 w 93"/>
                <a:gd name="T39" fmla="*/ 105 h 105"/>
                <a:gd name="T40" fmla="*/ 24 w 93"/>
                <a:gd name="T41" fmla="*/ 102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" h="105">
                  <a:moveTo>
                    <a:pt x="24" y="102"/>
                  </a:moveTo>
                  <a:cubicBezTo>
                    <a:pt x="19" y="101"/>
                    <a:pt x="15" y="98"/>
                    <a:pt x="12" y="95"/>
                  </a:cubicBezTo>
                  <a:cubicBezTo>
                    <a:pt x="8" y="91"/>
                    <a:pt x="5" y="87"/>
                    <a:pt x="3" y="83"/>
                  </a:cubicBezTo>
                  <a:cubicBezTo>
                    <a:pt x="1" y="78"/>
                    <a:pt x="0" y="72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7"/>
                    <a:pt x="28" y="72"/>
                    <a:pt x="31" y="76"/>
                  </a:cubicBezTo>
                  <a:cubicBezTo>
                    <a:pt x="35" y="79"/>
                    <a:pt x="40" y="81"/>
                    <a:pt x="47" y="81"/>
                  </a:cubicBezTo>
                  <a:cubicBezTo>
                    <a:pt x="50" y="81"/>
                    <a:pt x="53" y="80"/>
                    <a:pt x="55" y="79"/>
                  </a:cubicBezTo>
                  <a:cubicBezTo>
                    <a:pt x="58" y="77"/>
                    <a:pt x="60" y="76"/>
                    <a:pt x="62" y="74"/>
                  </a:cubicBezTo>
                  <a:cubicBezTo>
                    <a:pt x="64" y="72"/>
                    <a:pt x="65" y="70"/>
                    <a:pt x="67" y="68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69" y="102"/>
                    <a:pt x="69" y="102"/>
                    <a:pt x="69" y="102"/>
                  </a:cubicBezTo>
                  <a:cubicBezTo>
                    <a:pt x="69" y="87"/>
                    <a:pt x="69" y="87"/>
                    <a:pt x="69" y="87"/>
                  </a:cubicBezTo>
                  <a:cubicBezTo>
                    <a:pt x="67" y="91"/>
                    <a:pt x="64" y="94"/>
                    <a:pt x="61" y="96"/>
                  </a:cubicBezTo>
                  <a:cubicBezTo>
                    <a:pt x="59" y="98"/>
                    <a:pt x="55" y="100"/>
                    <a:pt x="52" y="102"/>
                  </a:cubicBezTo>
                  <a:cubicBezTo>
                    <a:pt x="48" y="104"/>
                    <a:pt x="43" y="105"/>
                    <a:pt x="38" y="105"/>
                  </a:cubicBezTo>
                  <a:cubicBezTo>
                    <a:pt x="33" y="105"/>
                    <a:pt x="28" y="104"/>
                    <a:pt x="24" y="102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25">
              <a:extLst>
                <a:ext uri="{FF2B5EF4-FFF2-40B4-BE49-F238E27FC236}">
                  <a16:creationId xmlns:a16="http://schemas.microsoft.com/office/drawing/2014/main" id="{BB44DDD1-3950-4C71-A6FC-647B4122E0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2826" y="1055688"/>
              <a:ext cx="74613" cy="111125"/>
            </a:xfrm>
            <a:custGeom>
              <a:avLst/>
              <a:gdLst>
                <a:gd name="T0" fmla="*/ 59 w 70"/>
                <a:gd name="T1" fmla="*/ 1 h 105"/>
                <a:gd name="T2" fmla="*/ 65 w 70"/>
                <a:gd name="T3" fmla="*/ 2 h 105"/>
                <a:gd name="T4" fmla="*/ 70 w 70"/>
                <a:gd name="T5" fmla="*/ 3 h 105"/>
                <a:gd name="T6" fmla="*/ 61 w 70"/>
                <a:gd name="T7" fmla="*/ 27 h 105"/>
                <a:gd name="T8" fmla="*/ 58 w 70"/>
                <a:gd name="T9" fmla="*/ 25 h 105"/>
                <a:gd name="T10" fmla="*/ 54 w 70"/>
                <a:gd name="T11" fmla="*/ 25 h 105"/>
                <a:gd name="T12" fmla="*/ 49 w 70"/>
                <a:gd name="T13" fmla="*/ 24 h 105"/>
                <a:gd name="T14" fmla="*/ 39 w 70"/>
                <a:gd name="T15" fmla="*/ 26 h 105"/>
                <a:gd name="T16" fmla="*/ 32 w 70"/>
                <a:gd name="T17" fmla="*/ 31 h 105"/>
                <a:gd name="T18" fmla="*/ 26 w 70"/>
                <a:gd name="T19" fmla="*/ 38 h 105"/>
                <a:gd name="T20" fmla="*/ 26 w 70"/>
                <a:gd name="T21" fmla="*/ 105 h 105"/>
                <a:gd name="T22" fmla="*/ 0 w 70"/>
                <a:gd name="T23" fmla="*/ 105 h 105"/>
                <a:gd name="T24" fmla="*/ 0 w 70"/>
                <a:gd name="T25" fmla="*/ 3 h 105"/>
                <a:gd name="T26" fmla="*/ 25 w 70"/>
                <a:gd name="T27" fmla="*/ 3 h 105"/>
                <a:gd name="T28" fmla="*/ 25 w 70"/>
                <a:gd name="T29" fmla="*/ 18 h 105"/>
                <a:gd name="T30" fmla="*/ 32 w 70"/>
                <a:gd name="T31" fmla="*/ 9 h 105"/>
                <a:gd name="T32" fmla="*/ 40 w 70"/>
                <a:gd name="T33" fmla="*/ 3 h 105"/>
                <a:gd name="T34" fmla="*/ 53 w 70"/>
                <a:gd name="T35" fmla="*/ 0 h 105"/>
                <a:gd name="T36" fmla="*/ 59 w 70"/>
                <a:gd name="T37" fmla="*/ 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0" h="105">
                  <a:moveTo>
                    <a:pt x="59" y="1"/>
                  </a:moveTo>
                  <a:cubicBezTo>
                    <a:pt x="62" y="1"/>
                    <a:pt x="63" y="1"/>
                    <a:pt x="65" y="2"/>
                  </a:cubicBezTo>
                  <a:cubicBezTo>
                    <a:pt x="67" y="2"/>
                    <a:pt x="69" y="3"/>
                    <a:pt x="70" y="3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0" y="26"/>
                    <a:pt x="59" y="26"/>
                    <a:pt x="58" y="25"/>
                  </a:cubicBezTo>
                  <a:cubicBezTo>
                    <a:pt x="57" y="25"/>
                    <a:pt x="56" y="25"/>
                    <a:pt x="54" y="25"/>
                  </a:cubicBezTo>
                  <a:cubicBezTo>
                    <a:pt x="53" y="24"/>
                    <a:pt x="51" y="24"/>
                    <a:pt x="49" y="24"/>
                  </a:cubicBezTo>
                  <a:cubicBezTo>
                    <a:pt x="45" y="24"/>
                    <a:pt x="42" y="25"/>
                    <a:pt x="39" y="26"/>
                  </a:cubicBezTo>
                  <a:cubicBezTo>
                    <a:pt x="36" y="28"/>
                    <a:pt x="33" y="29"/>
                    <a:pt x="32" y="31"/>
                  </a:cubicBezTo>
                  <a:cubicBezTo>
                    <a:pt x="29" y="33"/>
                    <a:pt x="27" y="36"/>
                    <a:pt x="26" y="38"/>
                  </a:cubicBezTo>
                  <a:cubicBezTo>
                    <a:pt x="26" y="105"/>
                    <a:pt x="26" y="105"/>
                    <a:pt x="26" y="105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7" y="14"/>
                    <a:pt x="29" y="11"/>
                    <a:pt x="32" y="9"/>
                  </a:cubicBezTo>
                  <a:cubicBezTo>
                    <a:pt x="34" y="7"/>
                    <a:pt x="37" y="5"/>
                    <a:pt x="40" y="3"/>
                  </a:cubicBezTo>
                  <a:cubicBezTo>
                    <a:pt x="44" y="1"/>
                    <a:pt x="48" y="0"/>
                    <a:pt x="53" y="0"/>
                  </a:cubicBezTo>
                  <a:cubicBezTo>
                    <a:pt x="55" y="0"/>
                    <a:pt x="57" y="0"/>
                    <a:pt x="59" y="1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26">
              <a:extLst>
                <a:ext uri="{FF2B5EF4-FFF2-40B4-BE49-F238E27FC236}">
                  <a16:creationId xmlns:a16="http://schemas.microsoft.com/office/drawing/2014/main" id="{B2C90030-8520-4F4B-AFF3-BE6420760C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94113" y="1055688"/>
              <a:ext cx="111125" cy="114300"/>
            </a:xfrm>
            <a:custGeom>
              <a:avLst/>
              <a:gdLst>
                <a:gd name="T0" fmla="*/ 72 w 104"/>
                <a:gd name="T1" fmla="*/ 4 h 108"/>
                <a:gd name="T2" fmla="*/ 88 w 104"/>
                <a:gd name="T3" fmla="*/ 15 h 108"/>
                <a:gd name="T4" fmla="*/ 99 w 104"/>
                <a:gd name="T5" fmla="*/ 32 h 108"/>
                <a:gd name="T6" fmla="*/ 104 w 104"/>
                <a:gd name="T7" fmla="*/ 54 h 108"/>
                <a:gd name="T8" fmla="*/ 104 w 104"/>
                <a:gd name="T9" fmla="*/ 58 h 108"/>
                <a:gd name="T10" fmla="*/ 103 w 104"/>
                <a:gd name="T11" fmla="*/ 63 h 108"/>
                <a:gd name="T12" fmla="*/ 27 w 104"/>
                <a:gd name="T13" fmla="*/ 63 h 108"/>
                <a:gd name="T14" fmla="*/ 30 w 104"/>
                <a:gd name="T15" fmla="*/ 70 h 108"/>
                <a:gd name="T16" fmla="*/ 36 w 104"/>
                <a:gd name="T17" fmla="*/ 77 h 108"/>
                <a:gd name="T18" fmla="*/ 44 w 104"/>
                <a:gd name="T19" fmla="*/ 82 h 108"/>
                <a:gd name="T20" fmla="*/ 55 w 104"/>
                <a:gd name="T21" fmla="*/ 84 h 108"/>
                <a:gd name="T22" fmla="*/ 67 w 104"/>
                <a:gd name="T23" fmla="*/ 82 h 108"/>
                <a:gd name="T24" fmla="*/ 76 w 104"/>
                <a:gd name="T25" fmla="*/ 79 h 108"/>
                <a:gd name="T26" fmla="*/ 84 w 104"/>
                <a:gd name="T27" fmla="*/ 74 h 108"/>
                <a:gd name="T28" fmla="*/ 97 w 104"/>
                <a:gd name="T29" fmla="*/ 93 h 108"/>
                <a:gd name="T30" fmla="*/ 85 w 104"/>
                <a:gd name="T31" fmla="*/ 101 h 108"/>
                <a:gd name="T32" fmla="*/ 72 w 104"/>
                <a:gd name="T33" fmla="*/ 106 h 108"/>
                <a:gd name="T34" fmla="*/ 55 w 104"/>
                <a:gd name="T35" fmla="*/ 108 h 108"/>
                <a:gd name="T36" fmla="*/ 34 w 104"/>
                <a:gd name="T37" fmla="*/ 104 h 108"/>
                <a:gd name="T38" fmla="*/ 16 w 104"/>
                <a:gd name="T39" fmla="*/ 92 h 108"/>
                <a:gd name="T40" fmla="*/ 4 w 104"/>
                <a:gd name="T41" fmla="*/ 75 h 108"/>
                <a:gd name="T42" fmla="*/ 0 w 104"/>
                <a:gd name="T43" fmla="*/ 54 h 108"/>
                <a:gd name="T44" fmla="*/ 4 w 104"/>
                <a:gd name="T45" fmla="*/ 33 h 108"/>
                <a:gd name="T46" fmla="*/ 15 w 104"/>
                <a:gd name="T47" fmla="*/ 16 h 108"/>
                <a:gd name="T48" fmla="*/ 31 w 104"/>
                <a:gd name="T49" fmla="*/ 4 h 108"/>
                <a:gd name="T50" fmla="*/ 52 w 104"/>
                <a:gd name="T51" fmla="*/ 0 h 108"/>
                <a:gd name="T52" fmla="*/ 72 w 104"/>
                <a:gd name="T53" fmla="*/ 4 h 108"/>
                <a:gd name="T54" fmla="*/ 78 w 104"/>
                <a:gd name="T55" fmla="*/ 44 h 108"/>
                <a:gd name="T56" fmla="*/ 76 w 104"/>
                <a:gd name="T57" fmla="*/ 38 h 108"/>
                <a:gd name="T58" fmla="*/ 71 w 104"/>
                <a:gd name="T59" fmla="*/ 31 h 108"/>
                <a:gd name="T60" fmla="*/ 63 w 104"/>
                <a:gd name="T61" fmla="*/ 26 h 108"/>
                <a:gd name="T62" fmla="*/ 52 w 104"/>
                <a:gd name="T63" fmla="*/ 24 h 108"/>
                <a:gd name="T64" fmla="*/ 41 w 104"/>
                <a:gd name="T65" fmla="*/ 26 h 108"/>
                <a:gd name="T66" fmla="*/ 33 w 104"/>
                <a:gd name="T67" fmla="*/ 31 h 108"/>
                <a:gd name="T68" fmla="*/ 29 w 104"/>
                <a:gd name="T69" fmla="*/ 37 h 108"/>
                <a:gd name="T70" fmla="*/ 27 w 104"/>
                <a:gd name="T71" fmla="*/ 44 h 108"/>
                <a:gd name="T72" fmla="*/ 78 w 104"/>
                <a:gd name="T73" fmla="*/ 4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4" h="108">
                  <a:moveTo>
                    <a:pt x="72" y="4"/>
                  </a:moveTo>
                  <a:cubicBezTo>
                    <a:pt x="78" y="7"/>
                    <a:pt x="84" y="10"/>
                    <a:pt x="88" y="15"/>
                  </a:cubicBezTo>
                  <a:cubicBezTo>
                    <a:pt x="93" y="20"/>
                    <a:pt x="97" y="25"/>
                    <a:pt x="99" y="32"/>
                  </a:cubicBezTo>
                  <a:cubicBezTo>
                    <a:pt x="102" y="38"/>
                    <a:pt x="104" y="46"/>
                    <a:pt x="104" y="54"/>
                  </a:cubicBezTo>
                  <a:cubicBezTo>
                    <a:pt x="104" y="55"/>
                    <a:pt x="104" y="56"/>
                    <a:pt x="104" y="58"/>
                  </a:cubicBezTo>
                  <a:cubicBezTo>
                    <a:pt x="104" y="59"/>
                    <a:pt x="103" y="61"/>
                    <a:pt x="103" y="63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7" y="66"/>
                    <a:pt x="28" y="68"/>
                    <a:pt x="30" y="70"/>
                  </a:cubicBezTo>
                  <a:cubicBezTo>
                    <a:pt x="31" y="73"/>
                    <a:pt x="33" y="75"/>
                    <a:pt x="36" y="77"/>
                  </a:cubicBezTo>
                  <a:cubicBezTo>
                    <a:pt x="38" y="79"/>
                    <a:pt x="41" y="81"/>
                    <a:pt x="44" y="82"/>
                  </a:cubicBezTo>
                  <a:cubicBezTo>
                    <a:pt x="48" y="83"/>
                    <a:pt x="51" y="84"/>
                    <a:pt x="55" y="84"/>
                  </a:cubicBezTo>
                  <a:cubicBezTo>
                    <a:pt x="60" y="84"/>
                    <a:pt x="64" y="84"/>
                    <a:pt x="67" y="82"/>
                  </a:cubicBezTo>
                  <a:cubicBezTo>
                    <a:pt x="71" y="81"/>
                    <a:pt x="74" y="80"/>
                    <a:pt x="76" y="79"/>
                  </a:cubicBezTo>
                  <a:cubicBezTo>
                    <a:pt x="79" y="77"/>
                    <a:pt x="82" y="76"/>
                    <a:pt x="84" y="74"/>
                  </a:cubicBezTo>
                  <a:cubicBezTo>
                    <a:pt x="97" y="93"/>
                    <a:pt x="97" y="93"/>
                    <a:pt x="97" y="93"/>
                  </a:cubicBezTo>
                  <a:cubicBezTo>
                    <a:pt x="93" y="96"/>
                    <a:pt x="90" y="98"/>
                    <a:pt x="85" y="101"/>
                  </a:cubicBezTo>
                  <a:cubicBezTo>
                    <a:pt x="82" y="102"/>
                    <a:pt x="77" y="104"/>
                    <a:pt x="72" y="106"/>
                  </a:cubicBezTo>
                  <a:cubicBezTo>
                    <a:pt x="67" y="107"/>
                    <a:pt x="62" y="108"/>
                    <a:pt x="55" y="108"/>
                  </a:cubicBezTo>
                  <a:cubicBezTo>
                    <a:pt x="48" y="108"/>
                    <a:pt x="40" y="106"/>
                    <a:pt x="34" y="104"/>
                  </a:cubicBezTo>
                  <a:cubicBezTo>
                    <a:pt x="27" y="101"/>
                    <a:pt x="21" y="97"/>
                    <a:pt x="16" y="92"/>
                  </a:cubicBezTo>
                  <a:cubicBezTo>
                    <a:pt x="11" y="87"/>
                    <a:pt x="7" y="82"/>
                    <a:pt x="4" y="75"/>
                  </a:cubicBezTo>
                  <a:cubicBezTo>
                    <a:pt x="2" y="69"/>
                    <a:pt x="0" y="61"/>
                    <a:pt x="0" y="54"/>
                  </a:cubicBezTo>
                  <a:cubicBezTo>
                    <a:pt x="0" y="46"/>
                    <a:pt x="2" y="39"/>
                    <a:pt x="4" y="33"/>
                  </a:cubicBezTo>
                  <a:cubicBezTo>
                    <a:pt x="7" y="26"/>
                    <a:pt x="10" y="21"/>
                    <a:pt x="15" y="16"/>
                  </a:cubicBezTo>
                  <a:cubicBezTo>
                    <a:pt x="19" y="11"/>
                    <a:pt x="25" y="7"/>
                    <a:pt x="31" y="4"/>
                  </a:cubicBezTo>
                  <a:cubicBezTo>
                    <a:pt x="38" y="1"/>
                    <a:pt x="44" y="0"/>
                    <a:pt x="52" y="0"/>
                  </a:cubicBezTo>
                  <a:cubicBezTo>
                    <a:pt x="59" y="0"/>
                    <a:pt x="66" y="1"/>
                    <a:pt x="72" y="4"/>
                  </a:cubicBezTo>
                  <a:close/>
                  <a:moveTo>
                    <a:pt x="78" y="44"/>
                  </a:moveTo>
                  <a:cubicBezTo>
                    <a:pt x="77" y="42"/>
                    <a:pt x="77" y="40"/>
                    <a:pt x="76" y="38"/>
                  </a:cubicBezTo>
                  <a:cubicBezTo>
                    <a:pt x="75" y="35"/>
                    <a:pt x="73" y="33"/>
                    <a:pt x="71" y="31"/>
                  </a:cubicBezTo>
                  <a:cubicBezTo>
                    <a:pt x="69" y="29"/>
                    <a:pt x="66" y="27"/>
                    <a:pt x="63" y="26"/>
                  </a:cubicBezTo>
                  <a:cubicBezTo>
                    <a:pt x="60" y="24"/>
                    <a:pt x="56" y="24"/>
                    <a:pt x="52" y="24"/>
                  </a:cubicBezTo>
                  <a:cubicBezTo>
                    <a:pt x="48" y="24"/>
                    <a:pt x="44" y="24"/>
                    <a:pt x="41" y="26"/>
                  </a:cubicBezTo>
                  <a:cubicBezTo>
                    <a:pt x="38" y="27"/>
                    <a:pt x="35" y="29"/>
                    <a:pt x="33" y="31"/>
                  </a:cubicBezTo>
                  <a:cubicBezTo>
                    <a:pt x="31" y="33"/>
                    <a:pt x="30" y="35"/>
                    <a:pt x="29" y="37"/>
                  </a:cubicBezTo>
                  <a:cubicBezTo>
                    <a:pt x="28" y="40"/>
                    <a:pt x="27" y="42"/>
                    <a:pt x="27" y="44"/>
                  </a:cubicBezTo>
                  <a:lnTo>
                    <a:pt x="78" y="44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27">
              <a:extLst>
                <a:ext uri="{FF2B5EF4-FFF2-40B4-BE49-F238E27FC236}">
                  <a16:creationId xmlns:a16="http://schemas.microsoft.com/office/drawing/2014/main" id="{50988FCC-C277-48E2-B04E-7FB14BDD10B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30638" y="1055688"/>
              <a:ext cx="100013" cy="114300"/>
            </a:xfrm>
            <a:custGeom>
              <a:avLst/>
              <a:gdLst>
                <a:gd name="T0" fmla="*/ 83 w 95"/>
                <a:gd name="T1" fmla="*/ 10 h 108"/>
                <a:gd name="T2" fmla="*/ 95 w 95"/>
                <a:gd name="T3" fmla="*/ 38 h 108"/>
                <a:gd name="T4" fmla="*/ 95 w 95"/>
                <a:gd name="T5" fmla="*/ 105 h 108"/>
                <a:gd name="T6" fmla="*/ 71 w 95"/>
                <a:gd name="T7" fmla="*/ 105 h 108"/>
                <a:gd name="T8" fmla="*/ 71 w 95"/>
                <a:gd name="T9" fmla="*/ 92 h 108"/>
                <a:gd name="T10" fmla="*/ 63 w 95"/>
                <a:gd name="T11" fmla="*/ 100 h 108"/>
                <a:gd name="T12" fmla="*/ 52 w 95"/>
                <a:gd name="T13" fmla="*/ 106 h 108"/>
                <a:gd name="T14" fmla="*/ 37 w 95"/>
                <a:gd name="T15" fmla="*/ 108 h 108"/>
                <a:gd name="T16" fmla="*/ 23 w 95"/>
                <a:gd name="T17" fmla="*/ 106 h 108"/>
                <a:gd name="T18" fmla="*/ 11 w 95"/>
                <a:gd name="T19" fmla="*/ 99 h 108"/>
                <a:gd name="T20" fmla="*/ 3 w 95"/>
                <a:gd name="T21" fmla="*/ 88 h 108"/>
                <a:gd name="T22" fmla="*/ 0 w 95"/>
                <a:gd name="T23" fmla="*/ 73 h 108"/>
                <a:gd name="T24" fmla="*/ 3 w 95"/>
                <a:gd name="T25" fmla="*/ 60 h 108"/>
                <a:gd name="T26" fmla="*/ 12 w 95"/>
                <a:gd name="T27" fmla="*/ 49 h 108"/>
                <a:gd name="T28" fmla="*/ 25 w 95"/>
                <a:gd name="T29" fmla="*/ 42 h 108"/>
                <a:gd name="T30" fmla="*/ 40 w 95"/>
                <a:gd name="T31" fmla="*/ 39 h 108"/>
                <a:gd name="T32" fmla="*/ 53 w 95"/>
                <a:gd name="T33" fmla="*/ 41 h 108"/>
                <a:gd name="T34" fmla="*/ 62 w 95"/>
                <a:gd name="T35" fmla="*/ 43 h 108"/>
                <a:gd name="T36" fmla="*/ 69 w 95"/>
                <a:gd name="T37" fmla="*/ 47 h 108"/>
                <a:gd name="T38" fmla="*/ 69 w 95"/>
                <a:gd name="T39" fmla="*/ 41 h 108"/>
                <a:gd name="T40" fmla="*/ 67 w 95"/>
                <a:gd name="T41" fmla="*/ 33 h 108"/>
                <a:gd name="T42" fmla="*/ 61 w 95"/>
                <a:gd name="T43" fmla="*/ 27 h 108"/>
                <a:gd name="T44" fmla="*/ 54 w 95"/>
                <a:gd name="T45" fmla="*/ 24 h 108"/>
                <a:gd name="T46" fmla="*/ 47 w 95"/>
                <a:gd name="T47" fmla="*/ 23 h 108"/>
                <a:gd name="T48" fmla="*/ 36 w 95"/>
                <a:gd name="T49" fmla="*/ 24 h 108"/>
                <a:gd name="T50" fmla="*/ 26 w 95"/>
                <a:gd name="T51" fmla="*/ 27 h 108"/>
                <a:gd name="T52" fmla="*/ 16 w 95"/>
                <a:gd name="T53" fmla="*/ 31 h 108"/>
                <a:gd name="T54" fmla="*/ 8 w 95"/>
                <a:gd name="T55" fmla="*/ 9 h 108"/>
                <a:gd name="T56" fmla="*/ 20 w 95"/>
                <a:gd name="T57" fmla="*/ 5 h 108"/>
                <a:gd name="T58" fmla="*/ 33 w 95"/>
                <a:gd name="T59" fmla="*/ 1 h 108"/>
                <a:gd name="T60" fmla="*/ 48 w 95"/>
                <a:gd name="T61" fmla="*/ 0 h 108"/>
                <a:gd name="T62" fmla="*/ 83 w 95"/>
                <a:gd name="T63" fmla="*/ 10 h 108"/>
                <a:gd name="T64" fmla="*/ 55 w 95"/>
                <a:gd name="T65" fmla="*/ 84 h 108"/>
                <a:gd name="T66" fmla="*/ 63 w 95"/>
                <a:gd name="T67" fmla="*/ 80 h 108"/>
                <a:gd name="T68" fmla="*/ 69 w 95"/>
                <a:gd name="T69" fmla="*/ 74 h 108"/>
                <a:gd name="T70" fmla="*/ 69 w 95"/>
                <a:gd name="T71" fmla="*/ 64 h 108"/>
                <a:gd name="T72" fmla="*/ 62 w 95"/>
                <a:gd name="T73" fmla="*/ 61 h 108"/>
                <a:gd name="T74" fmla="*/ 55 w 95"/>
                <a:gd name="T75" fmla="*/ 59 h 108"/>
                <a:gd name="T76" fmla="*/ 45 w 95"/>
                <a:gd name="T77" fmla="*/ 59 h 108"/>
                <a:gd name="T78" fmla="*/ 39 w 95"/>
                <a:gd name="T79" fmla="*/ 59 h 108"/>
                <a:gd name="T80" fmla="*/ 33 w 95"/>
                <a:gd name="T81" fmla="*/ 62 h 108"/>
                <a:gd name="T82" fmla="*/ 28 w 95"/>
                <a:gd name="T83" fmla="*/ 66 h 108"/>
                <a:gd name="T84" fmla="*/ 26 w 95"/>
                <a:gd name="T85" fmla="*/ 73 h 108"/>
                <a:gd name="T86" fmla="*/ 28 w 95"/>
                <a:gd name="T87" fmla="*/ 80 h 108"/>
                <a:gd name="T88" fmla="*/ 33 w 95"/>
                <a:gd name="T89" fmla="*/ 84 h 108"/>
                <a:gd name="T90" fmla="*/ 39 w 95"/>
                <a:gd name="T91" fmla="*/ 86 h 108"/>
                <a:gd name="T92" fmla="*/ 45 w 95"/>
                <a:gd name="T93" fmla="*/ 86 h 108"/>
                <a:gd name="T94" fmla="*/ 55 w 95"/>
                <a:gd name="T95" fmla="*/ 8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5" h="108">
                  <a:moveTo>
                    <a:pt x="83" y="10"/>
                  </a:moveTo>
                  <a:cubicBezTo>
                    <a:pt x="91" y="17"/>
                    <a:pt x="95" y="27"/>
                    <a:pt x="95" y="38"/>
                  </a:cubicBezTo>
                  <a:cubicBezTo>
                    <a:pt x="95" y="105"/>
                    <a:pt x="95" y="105"/>
                    <a:pt x="95" y="105"/>
                  </a:cubicBezTo>
                  <a:cubicBezTo>
                    <a:pt x="71" y="105"/>
                    <a:pt x="71" y="105"/>
                    <a:pt x="71" y="105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9" y="95"/>
                    <a:pt x="66" y="98"/>
                    <a:pt x="63" y="100"/>
                  </a:cubicBezTo>
                  <a:cubicBezTo>
                    <a:pt x="60" y="102"/>
                    <a:pt x="56" y="104"/>
                    <a:pt x="52" y="106"/>
                  </a:cubicBezTo>
                  <a:cubicBezTo>
                    <a:pt x="48" y="107"/>
                    <a:pt x="43" y="108"/>
                    <a:pt x="37" y="108"/>
                  </a:cubicBezTo>
                  <a:cubicBezTo>
                    <a:pt x="32" y="108"/>
                    <a:pt x="28" y="107"/>
                    <a:pt x="23" y="106"/>
                  </a:cubicBezTo>
                  <a:cubicBezTo>
                    <a:pt x="19" y="104"/>
                    <a:pt x="15" y="102"/>
                    <a:pt x="11" y="99"/>
                  </a:cubicBezTo>
                  <a:cubicBezTo>
                    <a:pt x="8" y="96"/>
                    <a:pt x="5" y="92"/>
                    <a:pt x="3" y="88"/>
                  </a:cubicBezTo>
                  <a:cubicBezTo>
                    <a:pt x="1" y="84"/>
                    <a:pt x="0" y="79"/>
                    <a:pt x="0" y="73"/>
                  </a:cubicBezTo>
                  <a:cubicBezTo>
                    <a:pt x="0" y="69"/>
                    <a:pt x="1" y="64"/>
                    <a:pt x="3" y="60"/>
                  </a:cubicBezTo>
                  <a:cubicBezTo>
                    <a:pt x="5" y="56"/>
                    <a:pt x="8" y="52"/>
                    <a:pt x="12" y="49"/>
                  </a:cubicBezTo>
                  <a:cubicBezTo>
                    <a:pt x="15" y="46"/>
                    <a:pt x="20" y="44"/>
                    <a:pt x="25" y="42"/>
                  </a:cubicBezTo>
                  <a:cubicBezTo>
                    <a:pt x="29" y="40"/>
                    <a:pt x="35" y="39"/>
                    <a:pt x="40" y="39"/>
                  </a:cubicBezTo>
                  <a:cubicBezTo>
                    <a:pt x="45" y="39"/>
                    <a:pt x="49" y="40"/>
                    <a:pt x="53" y="41"/>
                  </a:cubicBezTo>
                  <a:cubicBezTo>
                    <a:pt x="56" y="41"/>
                    <a:pt x="59" y="42"/>
                    <a:pt x="62" y="43"/>
                  </a:cubicBezTo>
                  <a:cubicBezTo>
                    <a:pt x="64" y="44"/>
                    <a:pt x="67" y="45"/>
                    <a:pt x="69" y="47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38"/>
                    <a:pt x="68" y="35"/>
                    <a:pt x="67" y="33"/>
                  </a:cubicBezTo>
                  <a:cubicBezTo>
                    <a:pt x="65" y="30"/>
                    <a:pt x="63" y="28"/>
                    <a:pt x="61" y="27"/>
                  </a:cubicBezTo>
                  <a:cubicBezTo>
                    <a:pt x="59" y="26"/>
                    <a:pt x="57" y="25"/>
                    <a:pt x="54" y="24"/>
                  </a:cubicBezTo>
                  <a:cubicBezTo>
                    <a:pt x="52" y="23"/>
                    <a:pt x="49" y="23"/>
                    <a:pt x="47" y="23"/>
                  </a:cubicBezTo>
                  <a:cubicBezTo>
                    <a:pt x="43" y="23"/>
                    <a:pt x="39" y="24"/>
                    <a:pt x="36" y="24"/>
                  </a:cubicBezTo>
                  <a:cubicBezTo>
                    <a:pt x="32" y="25"/>
                    <a:pt x="29" y="26"/>
                    <a:pt x="26" y="27"/>
                  </a:cubicBezTo>
                  <a:cubicBezTo>
                    <a:pt x="22" y="28"/>
                    <a:pt x="19" y="29"/>
                    <a:pt x="16" y="31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1" y="8"/>
                    <a:pt x="15" y="6"/>
                    <a:pt x="20" y="5"/>
                  </a:cubicBezTo>
                  <a:cubicBezTo>
                    <a:pt x="23" y="3"/>
                    <a:pt x="28" y="2"/>
                    <a:pt x="33" y="1"/>
                  </a:cubicBezTo>
                  <a:cubicBezTo>
                    <a:pt x="38" y="1"/>
                    <a:pt x="43" y="0"/>
                    <a:pt x="48" y="0"/>
                  </a:cubicBezTo>
                  <a:cubicBezTo>
                    <a:pt x="63" y="0"/>
                    <a:pt x="74" y="3"/>
                    <a:pt x="83" y="10"/>
                  </a:cubicBezTo>
                  <a:close/>
                  <a:moveTo>
                    <a:pt x="55" y="84"/>
                  </a:moveTo>
                  <a:cubicBezTo>
                    <a:pt x="58" y="83"/>
                    <a:pt x="61" y="82"/>
                    <a:pt x="63" y="80"/>
                  </a:cubicBezTo>
                  <a:cubicBezTo>
                    <a:pt x="65" y="78"/>
                    <a:pt x="67" y="76"/>
                    <a:pt x="69" y="7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7" y="63"/>
                    <a:pt x="65" y="62"/>
                    <a:pt x="62" y="61"/>
                  </a:cubicBezTo>
                  <a:cubicBezTo>
                    <a:pt x="60" y="60"/>
                    <a:pt x="58" y="60"/>
                    <a:pt x="55" y="59"/>
                  </a:cubicBezTo>
                  <a:cubicBezTo>
                    <a:pt x="52" y="59"/>
                    <a:pt x="49" y="59"/>
                    <a:pt x="45" y="59"/>
                  </a:cubicBezTo>
                  <a:cubicBezTo>
                    <a:pt x="43" y="59"/>
                    <a:pt x="41" y="59"/>
                    <a:pt x="39" y="59"/>
                  </a:cubicBezTo>
                  <a:cubicBezTo>
                    <a:pt x="37" y="60"/>
                    <a:pt x="35" y="61"/>
                    <a:pt x="33" y="62"/>
                  </a:cubicBezTo>
                  <a:cubicBezTo>
                    <a:pt x="31" y="63"/>
                    <a:pt x="29" y="64"/>
                    <a:pt x="28" y="66"/>
                  </a:cubicBezTo>
                  <a:cubicBezTo>
                    <a:pt x="27" y="68"/>
                    <a:pt x="26" y="70"/>
                    <a:pt x="26" y="73"/>
                  </a:cubicBezTo>
                  <a:cubicBezTo>
                    <a:pt x="26" y="76"/>
                    <a:pt x="27" y="78"/>
                    <a:pt x="28" y="80"/>
                  </a:cubicBezTo>
                  <a:cubicBezTo>
                    <a:pt x="29" y="81"/>
                    <a:pt x="31" y="83"/>
                    <a:pt x="33" y="84"/>
                  </a:cubicBezTo>
                  <a:cubicBezTo>
                    <a:pt x="35" y="85"/>
                    <a:pt x="37" y="85"/>
                    <a:pt x="39" y="86"/>
                  </a:cubicBezTo>
                  <a:cubicBezTo>
                    <a:pt x="41" y="86"/>
                    <a:pt x="43" y="86"/>
                    <a:pt x="45" y="86"/>
                  </a:cubicBezTo>
                  <a:cubicBezTo>
                    <a:pt x="49" y="86"/>
                    <a:pt x="52" y="86"/>
                    <a:pt x="55" y="84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28">
              <a:extLst>
                <a:ext uri="{FF2B5EF4-FFF2-40B4-BE49-F238E27FC236}">
                  <a16:creationId xmlns:a16="http://schemas.microsoft.com/office/drawing/2014/main" id="{1D999085-7E95-4A15-82FA-6AD6D0AA56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60813" y="1055688"/>
              <a:ext cx="96838" cy="114300"/>
            </a:xfrm>
            <a:custGeom>
              <a:avLst/>
              <a:gdLst>
                <a:gd name="T0" fmla="*/ 15 w 91"/>
                <a:gd name="T1" fmla="*/ 70 h 108"/>
                <a:gd name="T2" fmla="*/ 24 w 91"/>
                <a:gd name="T3" fmla="*/ 78 h 108"/>
                <a:gd name="T4" fmla="*/ 33 w 91"/>
                <a:gd name="T5" fmla="*/ 83 h 108"/>
                <a:gd name="T6" fmla="*/ 46 w 91"/>
                <a:gd name="T7" fmla="*/ 85 h 108"/>
                <a:gd name="T8" fmla="*/ 59 w 91"/>
                <a:gd name="T9" fmla="*/ 83 h 108"/>
                <a:gd name="T10" fmla="*/ 65 w 91"/>
                <a:gd name="T11" fmla="*/ 76 h 108"/>
                <a:gd name="T12" fmla="*/ 61 w 91"/>
                <a:gd name="T13" fmla="*/ 69 h 108"/>
                <a:gd name="T14" fmla="*/ 45 w 91"/>
                <a:gd name="T15" fmla="*/ 65 h 108"/>
                <a:gd name="T16" fmla="*/ 30 w 91"/>
                <a:gd name="T17" fmla="*/ 60 h 108"/>
                <a:gd name="T18" fmla="*/ 18 w 91"/>
                <a:gd name="T19" fmla="*/ 54 h 108"/>
                <a:gd name="T20" fmla="*/ 10 w 91"/>
                <a:gd name="T21" fmla="*/ 45 h 108"/>
                <a:gd name="T22" fmla="*/ 7 w 91"/>
                <a:gd name="T23" fmla="*/ 32 h 108"/>
                <a:gd name="T24" fmla="*/ 9 w 91"/>
                <a:gd name="T25" fmla="*/ 20 h 108"/>
                <a:gd name="T26" fmla="*/ 18 w 91"/>
                <a:gd name="T27" fmla="*/ 10 h 108"/>
                <a:gd name="T28" fmla="*/ 32 w 91"/>
                <a:gd name="T29" fmla="*/ 3 h 108"/>
                <a:gd name="T30" fmla="*/ 51 w 91"/>
                <a:gd name="T31" fmla="*/ 0 h 108"/>
                <a:gd name="T32" fmla="*/ 67 w 91"/>
                <a:gd name="T33" fmla="*/ 2 h 108"/>
                <a:gd name="T34" fmla="*/ 79 w 91"/>
                <a:gd name="T35" fmla="*/ 6 h 108"/>
                <a:gd name="T36" fmla="*/ 89 w 91"/>
                <a:gd name="T37" fmla="*/ 13 h 108"/>
                <a:gd name="T38" fmla="*/ 76 w 91"/>
                <a:gd name="T39" fmla="*/ 32 h 108"/>
                <a:gd name="T40" fmla="*/ 69 w 91"/>
                <a:gd name="T41" fmla="*/ 27 h 108"/>
                <a:gd name="T42" fmla="*/ 61 w 91"/>
                <a:gd name="T43" fmla="*/ 24 h 108"/>
                <a:gd name="T44" fmla="*/ 51 w 91"/>
                <a:gd name="T45" fmla="*/ 23 h 108"/>
                <a:gd name="T46" fmla="*/ 38 w 91"/>
                <a:gd name="T47" fmla="*/ 25 h 108"/>
                <a:gd name="T48" fmla="*/ 32 w 91"/>
                <a:gd name="T49" fmla="*/ 33 h 108"/>
                <a:gd name="T50" fmla="*/ 38 w 91"/>
                <a:gd name="T51" fmla="*/ 39 h 108"/>
                <a:gd name="T52" fmla="*/ 56 w 91"/>
                <a:gd name="T53" fmla="*/ 44 h 108"/>
                <a:gd name="T54" fmla="*/ 70 w 91"/>
                <a:gd name="T55" fmla="*/ 48 h 108"/>
                <a:gd name="T56" fmla="*/ 81 w 91"/>
                <a:gd name="T57" fmla="*/ 54 h 108"/>
                <a:gd name="T58" fmla="*/ 89 w 91"/>
                <a:gd name="T59" fmla="*/ 63 h 108"/>
                <a:gd name="T60" fmla="*/ 91 w 91"/>
                <a:gd name="T61" fmla="*/ 76 h 108"/>
                <a:gd name="T62" fmla="*/ 88 w 91"/>
                <a:gd name="T63" fmla="*/ 89 h 108"/>
                <a:gd name="T64" fmla="*/ 79 w 91"/>
                <a:gd name="T65" fmla="*/ 99 h 108"/>
                <a:gd name="T66" fmla="*/ 64 w 91"/>
                <a:gd name="T67" fmla="*/ 105 h 108"/>
                <a:gd name="T68" fmla="*/ 46 w 91"/>
                <a:gd name="T69" fmla="*/ 108 h 108"/>
                <a:gd name="T70" fmla="*/ 26 w 91"/>
                <a:gd name="T71" fmla="*/ 105 h 108"/>
                <a:gd name="T72" fmla="*/ 12 w 91"/>
                <a:gd name="T73" fmla="*/ 99 h 108"/>
                <a:gd name="T74" fmla="*/ 0 w 91"/>
                <a:gd name="T75" fmla="*/ 89 h 108"/>
                <a:gd name="T76" fmla="*/ 15 w 91"/>
                <a:gd name="T77" fmla="*/ 7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1" h="108">
                  <a:moveTo>
                    <a:pt x="15" y="70"/>
                  </a:moveTo>
                  <a:cubicBezTo>
                    <a:pt x="17" y="73"/>
                    <a:pt x="20" y="76"/>
                    <a:pt x="24" y="78"/>
                  </a:cubicBezTo>
                  <a:cubicBezTo>
                    <a:pt x="26" y="80"/>
                    <a:pt x="30" y="81"/>
                    <a:pt x="33" y="83"/>
                  </a:cubicBezTo>
                  <a:cubicBezTo>
                    <a:pt x="37" y="84"/>
                    <a:pt x="41" y="85"/>
                    <a:pt x="46" y="85"/>
                  </a:cubicBezTo>
                  <a:cubicBezTo>
                    <a:pt x="51" y="85"/>
                    <a:pt x="55" y="84"/>
                    <a:pt x="59" y="83"/>
                  </a:cubicBezTo>
                  <a:cubicBezTo>
                    <a:pt x="63" y="81"/>
                    <a:pt x="65" y="79"/>
                    <a:pt x="65" y="76"/>
                  </a:cubicBezTo>
                  <a:cubicBezTo>
                    <a:pt x="65" y="73"/>
                    <a:pt x="64" y="70"/>
                    <a:pt x="61" y="69"/>
                  </a:cubicBezTo>
                  <a:cubicBezTo>
                    <a:pt x="58" y="68"/>
                    <a:pt x="52" y="66"/>
                    <a:pt x="45" y="65"/>
                  </a:cubicBezTo>
                  <a:cubicBezTo>
                    <a:pt x="40" y="63"/>
                    <a:pt x="35" y="62"/>
                    <a:pt x="30" y="60"/>
                  </a:cubicBezTo>
                  <a:cubicBezTo>
                    <a:pt x="26" y="59"/>
                    <a:pt x="21" y="57"/>
                    <a:pt x="18" y="54"/>
                  </a:cubicBezTo>
                  <a:cubicBezTo>
                    <a:pt x="15" y="51"/>
                    <a:pt x="12" y="48"/>
                    <a:pt x="10" y="45"/>
                  </a:cubicBezTo>
                  <a:cubicBezTo>
                    <a:pt x="8" y="41"/>
                    <a:pt x="7" y="37"/>
                    <a:pt x="7" y="32"/>
                  </a:cubicBezTo>
                  <a:cubicBezTo>
                    <a:pt x="7" y="28"/>
                    <a:pt x="8" y="24"/>
                    <a:pt x="9" y="20"/>
                  </a:cubicBezTo>
                  <a:cubicBezTo>
                    <a:pt x="11" y="16"/>
                    <a:pt x="14" y="13"/>
                    <a:pt x="18" y="10"/>
                  </a:cubicBezTo>
                  <a:cubicBezTo>
                    <a:pt x="22" y="7"/>
                    <a:pt x="26" y="5"/>
                    <a:pt x="32" y="3"/>
                  </a:cubicBezTo>
                  <a:cubicBezTo>
                    <a:pt x="37" y="1"/>
                    <a:pt x="44" y="0"/>
                    <a:pt x="51" y="0"/>
                  </a:cubicBezTo>
                  <a:cubicBezTo>
                    <a:pt x="57" y="0"/>
                    <a:pt x="62" y="1"/>
                    <a:pt x="67" y="2"/>
                  </a:cubicBezTo>
                  <a:cubicBezTo>
                    <a:pt x="71" y="3"/>
                    <a:pt x="75" y="5"/>
                    <a:pt x="79" y="6"/>
                  </a:cubicBezTo>
                  <a:cubicBezTo>
                    <a:pt x="83" y="8"/>
                    <a:pt x="86" y="10"/>
                    <a:pt x="89" y="13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74" y="30"/>
                    <a:pt x="71" y="29"/>
                    <a:pt x="69" y="27"/>
                  </a:cubicBezTo>
                  <a:cubicBezTo>
                    <a:pt x="66" y="26"/>
                    <a:pt x="64" y="25"/>
                    <a:pt x="61" y="24"/>
                  </a:cubicBezTo>
                  <a:cubicBezTo>
                    <a:pt x="57" y="23"/>
                    <a:pt x="54" y="23"/>
                    <a:pt x="51" y="23"/>
                  </a:cubicBezTo>
                  <a:cubicBezTo>
                    <a:pt x="46" y="23"/>
                    <a:pt x="41" y="24"/>
                    <a:pt x="38" y="25"/>
                  </a:cubicBezTo>
                  <a:cubicBezTo>
                    <a:pt x="34" y="27"/>
                    <a:pt x="32" y="29"/>
                    <a:pt x="32" y="33"/>
                  </a:cubicBezTo>
                  <a:cubicBezTo>
                    <a:pt x="32" y="36"/>
                    <a:pt x="34" y="38"/>
                    <a:pt x="38" y="39"/>
                  </a:cubicBezTo>
                  <a:cubicBezTo>
                    <a:pt x="41" y="41"/>
                    <a:pt x="48" y="42"/>
                    <a:pt x="56" y="44"/>
                  </a:cubicBezTo>
                  <a:cubicBezTo>
                    <a:pt x="61" y="45"/>
                    <a:pt x="66" y="46"/>
                    <a:pt x="70" y="48"/>
                  </a:cubicBezTo>
                  <a:cubicBezTo>
                    <a:pt x="75" y="49"/>
                    <a:pt x="78" y="51"/>
                    <a:pt x="81" y="54"/>
                  </a:cubicBezTo>
                  <a:cubicBezTo>
                    <a:pt x="84" y="56"/>
                    <a:pt x="87" y="59"/>
                    <a:pt x="89" y="63"/>
                  </a:cubicBezTo>
                  <a:cubicBezTo>
                    <a:pt x="90" y="66"/>
                    <a:pt x="91" y="71"/>
                    <a:pt x="91" y="76"/>
                  </a:cubicBezTo>
                  <a:cubicBezTo>
                    <a:pt x="91" y="81"/>
                    <a:pt x="90" y="85"/>
                    <a:pt x="88" y="89"/>
                  </a:cubicBezTo>
                  <a:cubicBezTo>
                    <a:pt x="86" y="93"/>
                    <a:pt x="83" y="96"/>
                    <a:pt x="79" y="99"/>
                  </a:cubicBezTo>
                  <a:cubicBezTo>
                    <a:pt x="75" y="101"/>
                    <a:pt x="70" y="104"/>
                    <a:pt x="64" y="105"/>
                  </a:cubicBezTo>
                  <a:cubicBezTo>
                    <a:pt x="59" y="107"/>
                    <a:pt x="53" y="108"/>
                    <a:pt x="46" y="108"/>
                  </a:cubicBezTo>
                  <a:cubicBezTo>
                    <a:pt x="39" y="108"/>
                    <a:pt x="32" y="107"/>
                    <a:pt x="26" y="105"/>
                  </a:cubicBezTo>
                  <a:cubicBezTo>
                    <a:pt x="21" y="103"/>
                    <a:pt x="16" y="101"/>
                    <a:pt x="12" y="99"/>
                  </a:cubicBezTo>
                  <a:cubicBezTo>
                    <a:pt x="7" y="96"/>
                    <a:pt x="3" y="93"/>
                    <a:pt x="0" y="89"/>
                  </a:cubicBezTo>
                  <a:lnTo>
                    <a:pt x="15" y="70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29">
              <a:extLst>
                <a:ext uri="{FF2B5EF4-FFF2-40B4-BE49-F238E27FC236}">
                  <a16:creationId xmlns:a16="http://schemas.microsoft.com/office/drawing/2014/main" id="{9372C604-68AB-4477-AE72-677FF516C6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8288" y="1058863"/>
              <a:ext cx="125413" cy="165100"/>
            </a:xfrm>
            <a:custGeom>
              <a:avLst/>
              <a:gdLst>
                <a:gd name="T0" fmla="*/ 15 w 118"/>
                <a:gd name="T1" fmla="*/ 124 h 155"/>
                <a:gd name="T2" fmla="*/ 19 w 118"/>
                <a:gd name="T3" fmla="*/ 127 h 155"/>
                <a:gd name="T4" fmla="*/ 23 w 118"/>
                <a:gd name="T5" fmla="*/ 129 h 155"/>
                <a:gd name="T6" fmla="*/ 28 w 118"/>
                <a:gd name="T7" fmla="*/ 130 h 155"/>
                <a:gd name="T8" fmla="*/ 34 w 118"/>
                <a:gd name="T9" fmla="*/ 130 h 155"/>
                <a:gd name="T10" fmla="*/ 38 w 118"/>
                <a:gd name="T11" fmla="*/ 128 h 155"/>
                <a:gd name="T12" fmla="*/ 42 w 118"/>
                <a:gd name="T13" fmla="*/ 123 h 155"/>
                <a:gd name="T14" fmla="*/ 46 w 118"/>
                <a:gd name="T15" fmla="*/ 115 h 155"/>
                <a:gd name="T16" fmla="*/ 50 w 118"/>
                <a:gd name="T17" fmla="*/ 105 h 155"/>
                <a:gd name="T18" fmla="*/ 0 w 118"/>
                <a:gd name="T19" fmla="*/ 0 h 155"/>
                <a:gd name="T20" fmla="*/ 29 w 118"/>
                <a:gd name="T21" fmla="*/ 0 h 155"/>
                <a:gd name="T22" fmla="*/ 63 w 118"/>
                <a:gd name="T23" fmla="*/ 75 h 155"/>
                <a:gd name="T24" fmla="*/ 90 w 118"/>
                <a:gd name="T25" fmla="*/ 0 h 155"/>
                <a:gd name="T26" fmla="*/ 118 w 118"/>
                <a:gd name="T27" fmla="*/ 0 h 155"/>
                <a:gd name="T28" fmla="*/ 69 w 118"/>
                <a:gd name="T29" fmla="*/ 125 h 155"/>
                <a:gd name="T30" fmla="*/ 52 w 118"/>
                <a:gd name="T31" fmla="*/ 148 h 155"/>
                <a:gd name="T32" fmla="*/ 30 w 118"/>
                <a:gd name="T33" fmla="*/ 155 h 155"/>
                <a:gd name="T34" fmla="*/ 19 w 118"/>
                <a:gd name="T35" fmla="*/ 153 h 155"/>
                <a:gd name="T36" fmla="*/ 11 w 118"/>
                <a:gd name="T37" fmla="*/ 149 h 155"/>
                <a:gd name="T38" fmla="*/ 2 w 118"/>
                <a:gd name="T39" fmla="*/ 144 h 155"/>
                <a:gd name="T40" fmla="*/ 15 w 118"/>
                <a:gd name="T41" fmla="*/ 124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8" h="155">
                  <a:moveTo>
                    <a:pt x="15" y="124"/>
                  </a:moveTo>
                  <a:cubicBezTo>
                    <a:pt x="16" y="125"/>
                    <a:pt x="17" y="126"/>
                    <a:pt x="19" y="127"/>
                  </a:cubicBezTo>
                  <a:cubicBezTo>
                    <a:pt x="20" y="128"/>
                    <a:pt x="22" y="129"/>
                    <a:pt x="23" y="129"/>
                  </a:cubicBezTo>
                  <a:cubicBezTo>
                    <a:pt x="25" y="130"/>
                    <a:pt x="27" y="130"/>
                    <a:pt x="28" y="130"/>
                  </a:cubicBezTo>
                  <a:cubicBezTo>
                    <a:pt x="30" y="130"/>
                    <a:pt x="32" y="130"/>
                    <a:pt x="34" y="130"/>
                  </a:cubicBezTo>
                  <a:cubicBezTo>
                    <a:pt x="36" y="129"/>
                    <a:pt x="37" y="129"/>
                    <a:pt x="38" y="128"/>
                  </a:cubicBezTo>
                  <a:cubicBezTo>
                    <a:pt x="40" y="126"/>
                    <a:pt x="41" y="125"/>
                    <a:pt x="42" y="123"/>
                  </a:cubicBezTo>
                  <a:cubicBezTo>
                    <a:pt x="43" y="121"/>
                    <a:pt x="45" y="118"/>
                    <a:pt x="46" y="11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4" y="137"/>
                    <a:pt x="58" y="144"/>
                    <a:pt x="52" y="148"/>
                  </a:cubicBezTo>
                  <a:cubicBezTo>
                    <a:pt x="45" y="153"/>
                    <a:pt x="38" y="155"/>
                    <a:pt x="30" y="155"/>
                  </a:cubicBezTo>
                  <a:cubicBezTo>
                    <a:pt x="26" y="155"/>
                    <a:pt x="22" y="154"/>
                    <a:pt x="19" y="153"/>
                  </a:cubicBezTo>
                  <a:cubicBezTo>
                    <a:pt x="16" y="152"/>
                    <a:pt x="13" y="151"/>
                    <a:pt x="11" y="149"/>
                  </a:cubicBezTo>
                  <a:cubicBezTo>
                    <a:pt x="7" y="148"/>
                    <a:pt x="5" y="146"/>
                    <a:pt x="2" y="144"/>
                  </a:cubicBezTo>
                  <a:lnTo>
                    <a:pt x="15" y="124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30">
              <a:extLst>
                <a:ext uri="{FF2B5EF4-FFF2-40B4-BE49-F238E27FC236}">
                  <a16:creationId xmlns:a16="http://schemas.microsoft.com/office/drawing/2014/main" id="{74D356EF-EA71-4FE4-B96B-27938F5F22F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78313" y="1055688"/>
              <a:ext cx="100013" cy="114300"/>
            </a:xfrm>
            <a:custGeom>
              <a:avLst/>
              <a:gdLst>
                <a:gd name="T0" fmla="*/ 83 w 95"/>
                <a:gd name="T1" fmla="*/ 10 h 108"/>
                <a:gd name="T2" fmla="*/ 95 w 95"/>
                <a:gd name="T3" fmla="*/ 38 h 108"/>
                <a:gd name="T4" fmla="*/ 95 w 95"/>
                <a:gd name="T5" fmla="*/ 105 h 108"/>
                <a:gd name="T6" fmla="*/ 71 w 95"/>
                <a:gd name="T7" fmla="*/ 105 h 108"/>
                <a:gd name="T8" fmla="*/ 71 w 95"/>
                <a:gd name="T9" fmla="*/ 92 h 108"/>
                <a:gd name="T10" fmla="*/ 63 w 95"/>
                <a:gd name="T11" fmla="*/ 100 h 108"/>
                <a:gd name="T12" fmla="*/ 53 w 95"/>
                <a:gd name="T13" fmla="*/ 106 h 108"/>
                <a:gd name="T14" fmla="*/ 37 w 95"/>
                <a:gd name="T15" fmla="*/ 108 h 108"/>
                <a:gd name="T16" fmla="*/ 24 w 95"/>
                <a:gd name="T17" fmla="*/ 106 h 108"/>
                <a:gd name="T18" fmla="*/ 12 w 95"/>
                <a:gd name="T19" fmla="*/ 99 h 108"/>
                <a:gd name="T20" fmla="*/ 3 w 95"/>
                <a:gd name="T21" fmla="*/ 88 h 108"/>
                <a:gd name="T22" fmla="*/ 0 w 95"/>
                <a:gd name="T23" fmla="*/ 73 h 108"/>
                <a:gd name="T24" fmla="*/ 4 w 95"/>
                <a:gd name="T25" fmla="*/ 60 h 108"/>
                <a:gd name="T26" fmla="*/ 12 w 95"/>
                <a:gd name="T27" fmla="*/ 49 h 108"/>
                <a:gd name="T28" fmla="*/ 25 w 95"/>
                <a:gd name="T29" fmla="*/ 42 h 108"/>
                <a:gd name="T30" fmla="*/ 41 w 95"/>
                <a:gd name="T31" fmla="*/ 39 h 108"/>
                <a:gd name="T32" fmla="*/ 53 w 95"/>
                <a:gd name="T33" fmla="*/ 41 h 108"/>
                <a:gd name="T34" fmla="*/ 62 w 95"/>
                <a:gd name="T35" fmla="*/ 43 h 108"/>
                <a:gd name="T36" fmla="*/ 69 w 95"/>
                <a:gd name="T37" fmla="*/ 47 h 108"/>
                <a:gd name="T38" fmla="*/ 69 w 95"/>
                <a:gd name="T39" fmla="*/ 41 h 108"/>
                <a:gd name="T40" fmla="*/ 67 w 95"/>
                <a:gd name="T41" fmla="*/ 33 h 108"/>
                <a:gd name="T42" fmla="*/ 62 w 95"/>
                <a:gd name="T43" fmla="*/ 27 h 108"/>
                <a:gd name="T44" fmla="*/ 55 w 95"/>
                <a:gd name="T45" fmla="*/ 24 h 108"/>
                <a:gd name="T46" fmla="*/ 47 w 95"/>
                <a:gd name="T47" fmla="*/ 23 h 108"/>
                <a:gd name="T48" fmla="*/ 36 w 95"/>
                <a:gd name="T49" fmla="*/ 24 h 108"/>
                <a:gd name="T50" fmla="*/ 26 w 95"/>
                <a:gd name="T51" fmla="*/ 27 h 108"/>
                <a:gd name="T52" fmla="*/ 16 w 95"/>
                <a:gd name="T53" fmla="*/ 31 h 108"/>
                <a:gd name="T54" fmla="*/ 8 w 95"/>
                <a:gd name="T55" fmla="*/ 9 h 108"/>
                <a:gd name="T56" fmla="*/ 20 w 95"/>
                <a:gd name="T57" fmla="*/ 5 h 108"/>
                <a:gd name="T58" fmla="*/ 33 w 95"/>
                <a:gd name="T59" fmla="*/ 1 h 108"/>
                <a:gd name="T60" fmla="*/ 48 w 95"/>
                <a:gd name="T61" fmla="*/ 0 h 108"/>
                <a:gd name="T62" fmla="*/ 83 w 95"/>
                <a:gd name="T63" fmla="*/ 10 h 108"/>
                <a:gd name="T64" fmla="*/ 56 w 95"/>
                <a:gd name="T65" fmla="*/ 84 h 108"/>
                <a:gd name="T66" fmla="*/ 63 w 95"/>
                <a:gd name="T67" fmla="*/ 80 h 108"/>
                <a:gd name="T68" fmla="*/ 69 w 95"/>
                <a:gd name="T69" fmla="*/ 74 h 108"/>
                <a:gd name="T70" fmla="*/ 69 w 95"/>
                <a:gd name="T71" fmla="*/ 64 h 108"/>
                <a:gd name="T72" fmla="*/ 63 w 95"/>
                <a:gd name="T73" fmla="*/ 61 h 108"/>
                <a:gd name="T74" fmla="*/ 55 w 95"/>
                <a:gd name="T75" fmla="*/ 59 h 108"/>
                <a:gd name="T76" fmla="*/ 46 w 95"/>
                <a:gd name="T77" fmla="*/ 59 h 108"/>
                <a:gd name="T78" fmla="*/ 39 w 95"/>
                <a:gd name="T79" fmla="*/ 59 h 108"/>
                <a:gd name="T80" fmla="*/ 33 w 95"/>
                <a:gd name="T81" fmla="*/ 62 h 108"/>
                <a:gd name="T82" fmla="*/ 29 w 95"/>
                <a:gd name="T83" fmla="*/ 66 h 108"/>
                <a:gd name="T84" fmla="*/ 27 w 95"/>
                <a:gd name="T85" fmla="*/ 73 h 108"/>
                <a:gd name="T86" fmla="*/ 29 w 95"/>
                <a:gd name="T87" fmla="*/ 80 h 108"/>
                <a:gd name="T88" fmla="*/ 33 w 95"/>
                <a:gd name="T89" fmla="*/ 84 h 108"/>
                <a:gd name="T90" fmla="*/ 39 w 95"/>
                <a:gd name="T91" fmla="*/ 86 h 108"/>
                <a:gd name="T92" fmla="*/ 45 w 95"/>
                <a:gd name="T93" fmla="*/ 86 h 108"/>
                <a:gd name="T94" fmla="*/ 56 w 95"/>
                <a:gd name="T95" fmla="*/ 8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5" h="108">
                  <a:moveTo>
                    <a:pt x="83" y="10"/>
                  </a:moveTo>
                  <a:cubicBezTo>
                    <a:pt x="91" y="17"/>
                    <a:pt x="95" y="27"/>
                    <a:pt x="95" y="38"/>
                  </a:cubicBezTo>
                  <a:cubicBezTo>
                    <a:pt x="95" y="105"/>
                    <a:pt x="95" y="105"/>
                    <a:pt x="95" y="105"/>
                  </a:cubicBezTo>
                  <a:cubicBezTo>
                    <a:pt x="71" y="105"/>
                    <a:pt x="71" y="105"/>
                    <a:pt x="71" y="105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9" y="95"/>
                    <a:pt x="66" y="98"/>
                    <a:pt x="63" y="100"/>
                  </a:cubicBezTo>
                  <a:cubicBezTo>
                    <a:pt x="60" y="102"/>
                    <a:pt x="57" y="104"/>
                    <a:pt x="53" y="106"/>
                  </a:cubicBezTo>
                  <a:cubicBezTo>
                    <a:pt x="48" y="107"/>
                    <a:pt x="43" y="108"/>
                    <a:pt x="37" y="108"/>
                  </a:cubicBezTo>
                  <a:cubicBezTo>
                    <a:pt x="33" y="108"/>
                    <a:pt x="28" y="107"/>
                    <a:pt x="24" y="106"/>
                  </a:cubicBezTo>
                  <a:cubicBezTo>
                    <a:pt x="19" y="104"/>
                    <a:pt x="15" y="102"/>
                    <a:pt x="12" y="99"/>
                  </a:cubicBezTo>
                  <a:cubicBezTo>
                    <a:pt x="8" y="96"/>
                    <a:pt x="5" y="92"/>
                    <a:pt x="3" y="88"/>
                  </a:cubicBezTo>
                  <a:cubicBezTo>
                    <a:pt x="1" y="84"/>
                    <a:pt x="0" y="79"/>
                    <a:pt x="0" y="73"/>
                  </a:cubicBezTo>
                  <a:cubicBezTo>
                    <a:pt x="0" y="69"/>
                    <a:pt x="1" y="64"/>
                    <a:pt x="4" y="60"/>
                  </a:cubicBezTo>
                  <a:cubicBezTo>
                    <a:pt x="6" y="56"/>
                    <a:pt x="8" y="52"/>
                    <a:pt x="12" y="49"/>
                  </a:cubicBezTo>
                  <a:cubicBezTo>
                    <a:pt x="16" y="46"/>
                    <a:pt x="20" y="44"/>
                    <a:pt x="25" y="42"/>
                  </a:cubicBezTo>
                  <a:cubicBezTo>
                    <a:pt x="30" y="40"/>
                    <a:pt x="35" y="39"/>
                    <a:pt x="41" y="39"/>
                  </a:cubicBezTo>
                  <a:cubicBezTo>
                    <a:pt x="45" y="39"/>
                    <a:pt x="50" y="40"/>
                    <a:pt x="53" y="41"/>
                  </a:cubicBezTo>
                  <a:cubicBezTo>
                    <a:pt x="57" y="41"/>
                    <a:pt x="60" y="42"/>
                    <a:pt x="62" y="43"/>
                  </a:cubicBezTo>
                  <a:cubicBezTo>
                    <a:pt x="65" y="44"/>
                    <a:pt x="67" y="45"/>
                    <a:pt x="69" y="47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38"/>
                    <a:pt x="69" y="35"/>
                    <a:pt x="67" y="33"/>
                  </a:cubicBezTo>
                  <a:cubicBezTo>
                    <a:pt x="66" y="30"/>
                    <a:pt x="64" y="28"/>
                    <a:pt x="62" y="27"/>
                  </a:cubicBezTo>
                  <a:cubicBezTo>
                    <a:pt x="59" y="26"/>
                    <a:pt x="57" y="25"/>
                    <a:pt x="55" y="24"/>
                  </a:cubicBezTo>
                  <a:cubicBezTo>
                    <a:pt x="52" y="23"/>
                    <a:pt x="49" y="23"/>
                    <a:pt x="47" y="23"/>
                  </a:cubicBezTo>
                  <a:cubicBezTo>
                    <a:pt x="43" y="23"/>
                    <a:pt x="40" y="24"/>
                    <a:pt x="36" y="24"/>
                  </a:cubicBezTo>
                  <a:cubicBezTo>
                    <a:pt x="32" y="25"/>
                    <a:pt x="29" y="26"/>
                    <a:pt x="26" y="27"/>
                  </a:cubicBezTo>
                  <a:cubicBezTo>
                    <a:pt x="23" y="28"/>
                    <a:pt x="19" y="29"/>
                    <a:pt x="16" y="31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2" y="8"/>
                    <a:pt x="16" y="6"/>
                    <a:pt x="20" y="5"/>
                  </a:cubicBezTo>
                  <a:cubicBezTo>
                    <a:pt x="24" y="3"/>
                    <a:pt x="28" y="2"/>
                    <a:pt x="33" y="1"/>
                  </a:cubicBezTo>
                  <a:cubicBezTo>
                    <a:pt x="38" y="1"/>
                    <a:pt x="43" y="0"/>
                    <a:pt x="48" y="0"/>
                  </a:cubicBezTo>
                  <a:cubicBezTo>
                    <a:pt x="63" y="0"/>
                    <a:pt x="75" y="3"/>
                    <a:pt x="83" y="10"/>
                  </a:cubicBezTo>
                  <a:close/>
                  <a:moveTo>
                    <a:pt x="56" y="84"/>
                  </a:moveTo>
                  <a:cubicBezTo>
                    <a:pt x="59" y="83"/>
                    <a:pt x="61" y="82"/>
                    <a:pt x="63" y="80"/>
                  </a:cubicBezTo>
                  <a:cubicBezTo>
                    <a:pt x="65" y="78"/>
                    <a:pt x="68" y="76"/>
                    <a:pt x="69" y="7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7" y="63"/>
                    <a:pt x="65" y="62"/>
                    <a:pt x="63" y="61"/>
                  </a:cubicBezTo>
                  <a:cubicBezTo>
                    <a:pt x="61" y="60"/>
                    <a:pt x="58" y="60"/>
                    <a:pt x="55" y="59"/>
                  </a:cubicBezTo>
                  <a:cubicBezTo>
                    <a:pt x="53" y="59"/>
                    <a:pt x="49" y="59"/>
                    <a:pt x="46" y="59"/>
                  </a:cubicBezTo>
                  <a:cubicBezTo>
                    <a:pt x="44" y="59"/>
                    <a:pt x="42" y="59"/>
                    <a:pt x="39" y="59"/>
                  </a:cubicBezTo>
                  <a:cubicBezTo>
                    <a:pt x="37" y="60"/>
                    <a:pt x="35" y="61"/>
                    <a:pt x="33" y="62"/>
                  </a:cubicBezTo>
                  <a:cubicBezTo>
                    <a:pt x="31" y="63"/>
                    <a:pt x="30" y="64"/>
                    <a:pt x="29" y="66"/>
                  </a:cubicBezTo>
                  <a:cubicBezTo>
                    <a:pt x="27" y="68"/>
                    <a:pt x="27" y="70"/>
                    <a:pt x="27" y="73"/>
                  </a:cubicBezTo>
                  <a:cubicBezTo>
                    <a:pt x="27" y="76"/>
                    <a:pt x="27" y="78"/>
                    <a:pt x="29" y="80"/>
                  </a:cubicBezTo>
                  <a:cubicBezTo>
                    <a:pt x="30" y="81"/>
                    <a:pt x="31" y="83"/>
                    <a:pt x="33" y="84"/>
                  </a:cubicBezTo>
                  <a:cubicBezTo>
                    <a:pt x="35" y="85"/>
                    <a:pt x="37" y="85"/>
                    <a:pt x="39" y="86"/>
                  </a:cubicBezTo>
                  <a:cubicBezTo>
                    <a:pt x="41" y="86"/>
                    <a:pt x="43" y="86"/>
                    <a:pt x="45" y="86"/>
                  </a:cubicBezTo>
                  <a:cubicBezTo>
                    <a:pt x="49" y="86"/>
                    <a:pt x="53" y="86"/>
                    <a:pt x="56" y="84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26845878-6581-42E7-A4FB-876FC9F74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11663" y="1055688"/>
              <a:ext cx="103188" cy="114300"/>
            </a:xfrm>
            <a:custGeom>
              <a:avLst/>
              <a:gdLst>
                <a:gd name="T0" fmla="*/ 67 w 98"/>
                <a:gd name="T1" fmla="*/ 82 h 108"/>
                <a:gd name="T2" fmla="*/ 75 w 98"/>
                <a:gd name="T3" fmla="*/ 77 h 108"/>
                <a:gd name="T4" fmla="*/ 81 w 98"/>
                <a:gd name="T5" fmla="*/ 71 h 108"/>
                <a:gd name="T6" fmla="*/ 98 w 98"/>
                <a:gd name="T7" fmla="*/ 88 h 108"/>
                <a:gd name="T8" fmla="*/ 87 w 98"/>
                <a:gd name="T9" fmla="*/ 98 h 108"/>
                <a:gd name="T10" fmla="*/ 74 w 98"/>
                <a:gd name="T11" fmla="*/ 105 h 108"/>
                <a:gd name="T12" fmla="*/ 55 w 98"/>
                <a:gd name="T13" fmla="*/ 108 h 108"/>
                <a:gd name="T14" fmla="*/ 34 w 98"/>
                <a:gd name="T15" fmla="*/ 104 h 108"/>
                <a:gd name="T16" fmla="*/ 16 w 98"/>
                <a:gd name="T17" fmla="*/ 92 h 108"/>
                <a:gd name="T18" fmla="*/ 5 w 98"/>
                <a:gd name="T19" fmla="*/ 75 h 108"/>
                <a:gd name="T20" fmla="*/ 0 w 98"/>
                <a:gd name="T21" fmla="*/ 54 h 108"/>
                <a:gd name="T22" fmla="*/ 5 w 98"/>
                <a:gd name="T23" fmla="*/ 33 h 108"/>
                <a:gd name="T24" fmla="*/ 16 w 98"/>
                <a:gd name="T25" fmla="*/ 16 h 108"/>
                <a:gd name="T26" fmla="*/ 34 w 98"/>
                <a:gd name="T27" fmla="*/ 4 h 108"/>
                <a:gd name="T28" fmla="*/ 55 w 98"/>
                <a:gd name="T29" fmla="*/ 0 h 108"/>
                <a:gd name="T30" fmla="*/ 74 w 98"/>
                <a:gd name="T31" fmla="*/ 3 h 108"/>
                <a:gd name="T32" fmla="*/ 87 w 98"/>
                <a:gd name="T33" fmla="*/ 10 h 108"/>
                <a:gd name="T34" fmla="*/ 97 w 98"/>
                <a:gd name="T35" fmla="*/ 19 h 108"/>
                <a:gd name="T36" fmla="*/ 79 w 98"/>
                <a:gd name="T37" fmla="*/ 35 h 108"/>
                <a:gd name="T38" fmla="*/ 73 w 98"/>
                <a:gd name="T39" fmla="*/ 30 h 108"/>
                <a:gd name="T40" fmla="*/ 66 w 98"/>
                <a:gd name="T41" fmla="*/ 26 h 108"/>
                <a:gd name="T42" fmla="*/ 55 w 98"/>
                <a:gd name="T43" fmla="*/ 24 h 108"/>
                <a:gd name="T44" fmla="*/ 43 w 98"/>
                <a:gd name="T45" fmla="*/ 27 h 108"/>
                <a:gd name="T46" fmla="*/ 34 w 98"/>
                <a:gd name="T47" fmla="*/ 33 h 108"/>
                <a:gd name="T48" fmla="*/ 29 w 98"/>
                <a:gd name="T49" fmla="*/ 42 h 108"/>
                <a:gd name="T50" fmla="*/ 27 w 98"/>
                <a:gd name="T51" fmla="*/ 54 h 108"/>
                <a:gd name="T52" fmla="*/ 29 w 98"/>
                <a:gd name="T53" fmla="*/ 65 h 108"/>
                <a:gd name="T54" fmla="*/ 34 w 98"/>
                <a:gd name="T55" fmla="*/ 75 h 108"/>
                <a:gd name="T56" fmla="*/ 43 w 98"/>
                <a:gd name="T57" fmla="*/ 81 h 108"/>
                <a:gd name="T58" fmla="*/ 55 w 98"/>
                <a:gd name="T59" fmla="*/ 84 h 108"/>
                <a:gd name="T60" fmla="*/ 67 w 98"/>
                <a:gd name="T61" fmla="*/ 8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8" h="108">
                  <a:moveTo>
                    <a:pt x="67" y="82"/>
                  </a:moveTo>
                  <a:cubicBezTo>
                    <a:pt x="70" y="80"/>
                    <a:pt x="73" y="79"/>
                    <a:pt x="75" y="77"/>
                  </a:cubicBezTo>
                  <a:cubicBezTo>
                    <a:pt x="77" y="75"/>
                    <a:pt x="79" y="73"/>
                    <a:pt x="81" y="71"/>
                  </a:cubicBezTo>
                  <a:cubicBezTo>
                    <a:pt x="98" y="88"/>
                    <a:pt x="98" y="88"/>
                    <a:pt x="98" y="88"/>
                  </a:cubicBezTo>
                  <a:cubicBezTo>
                    <a:pt x="95" y="92"/>
                    <a:pt x="91" y="95"/>
                    <a:pt x="87" y="98"/>
                  </a:cubicBezTo>
                  <a:cubicBezTo>
                    <a:pt x="83" y="101"/>
                    <a:pt x="79" y="103"/>
                    <a:pt x="74" y="105"/>
                  </a:cubicBezTo>
                  <a:cubicBezTo>
                    <a:pt x="68" y="107"/>
                    <a:pt x="62" y="108"/>
                    <a:pt x="55" y="108"/>
                  </a:cubicBezTo>
                  <a:cubicBezTo>
                    <a:pt x="48" y="108"/>
                    <a:pt x="41" y="106"/>
                    <a:pt x="34" y="104"/>
                  </a:cubicBezTo>
                  <a:cubicBezTo>
                    <a:pt x="27" y="101"/>
                    <a:pt x="21" y="97"/>
                    <a:pt x="16" y="92"/>
                  </a:cubicBezTo>
                  <a:cubicBezTo>
                    <a:pt x="11" y="87"/>
                    <a:pt x="7" y="82"/>
                    <a:pt x="5" y="75"/>
                  </a:cubicBezTo>
                  <a:cubicBezTo>
                    <a:pt x="2" y="69"/>
                    <a:pt x="0" y="61"/>
                    <a:pt x="0" y="54"/>
                  </a:cubicBezTo>
                  <a:cubicBezTo>
                    <a:pt x="0" y="46"/>
                    <a:pt x="2" y="39"/>
                    <a:pt x="5" y="33"/>
                  </a:cubicBezTo>
                  <a:cubicBezTo>
                    <a:pt x="7" y="26"/>
                    <a:pt x="11" y="21"/>
                    <a:pt x="16" y="16"/>
                  </a:cubicBezTo>
                  <a:cubicBezTo>
                    <a:pt x="21" y="11"/>
                    <a:pt x="27" y="7"/>
                    <a:pt x="34" y="4"/>
                  </a:cubicBezTo>
                  <a:cubicBezTo>
                    <a:pt x="41" y="1"/>
                    <a:pt x="48" y="0"/>
                    <a:pt x="55" y="0"/>
                  </a:cubicBezTo>
                  <a:cubicBezTo>
                    <a:pt x="62" y="0"/>
                    <a:pt x="68" y="1"/>
                    <a:pt x="74" y="3"/>
                  </a:cubicBezTo>
                  <a:cubicBezTo>
                    <a:pt x="79" y="5"/>
                    <a:pt x="83" y="7"/>
                    <a:pt x="87" y="10"/>
                  </a:cubicBezTo>
                  <a:cubicBezTo>
                    <a:pt x="91" y="12"/>
                    <a:pt x="94" y="15"/>
                    <a:pt x="97" y="19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78" y="33"/>
                    <a:pt x="76" y="31"/>
                    <a:pt x="73" y="30"/>
                  </a:cubicBezTo>
                  <a:cubicBezTo>
                    <a:pt x="71" y="28"/>
                    <a:pt x="69" y="27"/>
                    <a:pt x="66" y="26"/>
                  </a:cubicBezTo>
                  <a:cubicBezTo>
                    <a:pt x="63" y="25"/>
                    <a:pt x="59" y="24"/>
                    <a:pt x="55" y="24"/>
                  </a:cubicBezTo>
                  <a:cubicBezTo>
                    <a:pt x="51" y="24"/>
                    <a:pt x="47" y="25"/>
                    <a:pt x="43" y="27"/>
                  </a:cubicBezTo>
                  <a:cubicBezTo>
                    <a:pt x="40" y="28"/>
                    <a:pt x="37" y="30"/>
                    <a:pt x="34" y="33"/>
                  </a:cubicBezTo>
                  <a:cubicBezTo>
                    <a:pt x="32" y="36"/>
                    <a:pt x="30" y="39"/>
                    <a:pt x="29" y="42"/>
                  </a:cubicBezTo>
                  <a:cubicBezTo>
                    <a:pt x="27" y="46"/>
                    <a:pt x="27" y="50"/>
                    <a:pt x="27" y="54"/>
                  </a:cubicBezTo>
                  <a:cubicBezTo>
                    <a:pt x="27" y="58"/>
                    <a:pt x="27" y="62"/>
                    <a:pt x="29" y="65"/>
                  </a:cubicBezTo>
                  <a:cubicBezTo>
                    <a:pt x="30" y="69"/>
                    <a:pt x="32" y="72"/>
                    <a:pt x="34" y="75"/>
                  </a:cubicBezTo>
                  <a:cubicBezTo>
                    <a:pt x="37" y="77"/>
                    <a:pt x="40" y="80"/>
                    <a:pt x="43" y="81"/>
                  </a:cubicBezTo>
                  <a:cubicBezTo>
                    <a:pt x="47" y="83"/>
                    <a:pt x="51" y="84"/>
                    <a:pt x="55" y="84"/>
                  </a:cubicBezTo>
                  <a:cubicBezTo>
                    <a:pt x="60" y="84"/>
                    <a:pt x="64" y="83"/>
                    <a:pt x="67" y="82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32">
              <a:extLst>
                <a:ext uri="{FF2B5EF4-FFF2-40B4-BE49-F238E27FC236}">
                  <a16:creationId xmlns:a16="http://schemas.microsoft.com/office/drawing/2014/main" id="{C7633EF0-FE39-4612-8A49-19236B552C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1" y="1055688"/>
              <a:ext cx="104775" cy="114300"/>
            </a:xfrm>
            <a:custGeom>
              <a:avLst/>
              <a:gdLst>
                <a:gd name="T0" fmla="*/ 67 w 98"/>
                <a:gd name="T1" fmla="*/ 82 h 108"/>
                <a:gd name="T2" fmla="*/ 75 w 98"/>
                <a:gd name="T3" fmla="*/ 77 h 108"/>
                <a:gd name="T4" fmla="*/ 81 w 98"/>
                <a:gd name="T5" fmla="*/ 71 h 108"/>
                <a:gd name="T6" fmla="*/ 98 w 98"/>
                <a:gd name="T7" fmla="*/ 88 h 108"/>
                <a:gd name="T8" fmla="*/ 87 w 98"/>
                <a:gd name="T9" fmla="*/ 98 h 108"/>
                <a:gd name="T10" fmla="*/ 74 w 98"/>
                <a:gd name="T11" fmla="*/ 105 h 108"/>
                <a:gd name="T12" fmla="*/ 55 w 98"/>
                <a:gd name="T13" fmla="*/ 108 h 108"/>
                <a:gd name="T14" fmla="*/ 34 w 98"/>
                <a:gd name="T15" fmla="*/ 104 h 108"/>
                <a:gd name="T16" fmla="*/ 16 w 98"/>
                <a:gd name="T17" fmla="*/ 92 h 108"/>
                <a:gd name="T18" fmla="*/ 5 w 98"/>
                <a:gd name="T19" fmla="*/ 75 h 108"/>
                <a:gd name="T20" fmla="*/ 0 w 98"/>
                <a:gd name="T21" fmla="*/ 54 h 108"/>
                <a:gd name="T22" fmla="*/ 5 w 98"/>
                <a:gd name="T23" fmla="*/ 33 h 108"/>
                <a:gd name="T24" fmla="*/ 16 w 98"/>
                <a:gd name="T25" fmla="*/ 16 h 108"/>
                <a:gd name="T26" fmla="*/ 34 w 98"/>
                <a:gd name="T27" fmla="*/ 4 h 108"/>
                <a:gd name="T28" fmla="*/ 55 w 98"/>
                <a:gd name="T29" fmla="*/ 0 h 108"/>
                <a:gd name="T30" fmla="*/ 74 w 98"/>
                <a:gd name="T31" fmla="*/ 3 h 108"/>
                <a:gd name="T32" fmla="*/ 87 w 98"/>
                <a:gd name="T33" fmla="*/ 10 h 108"/>
                <a:gd name="T34" fmla="*/ 97 w 98"/>
                <a:gd name="T35" fmla="*/ 19 h 108"/>
                <a:gd name="T36" fmla="*/ 79 w 98"/>
                <a:gd name="T37" fmla="*/ 35 h 108"/>
                <a:gd name="T38" fmla="*/ 73 w 98"/>
                <a:gd name="T39" fmla="*/ 30 h 108"/>
                <a:gd name="T40" fmla="*/ 66 w 98"/>
                <a:gd name="T41" fmla="*/ 26 h 108"/>
                <a:gd name="T42" fmla="*/ 55 w 98"/>
                <a:gd name="T43" fmla="*/ 24 h 108"/>
                <a:gd name="T44" fmla="*/ 44 w 98"/>
                <a:gd name="T45" fmla="*/ 27 h 108"/>
                <a:gd name="T46" fmla="*/ 34 w 98"/>
                <a:gd name="T47" fmla="*/ 33 h 108"/>
                <a:gd name="T48" fmla="*/ 29 w 98"/>
                <a:gd name="T49" fmla="*/ 42 h 108"/>
                <a:gd name="T50" fmla="*/ 27 w 98"/>
                <a:gd name="T51" fmla="*/ 54 h 108"/>
                <a:gd name="T52" fmla="*/ 29 w 98"/>
                <a:gd name="T53" fmla="*/ 65 h 108"/>
                <a:gd name="T54" fmla="*/ 34 w 98"/>
                <a:gd name="T55" fmla="*/ 75 h 108"/>
                <a:gd name="T56" fmla="*/ 44 w 98"/>
                <a:gd name="T57" fmla="*/ 81 h 108"/>
                <a:gd name="T58" fmla="*/ 55 w 98"/>
                <a:gd name="T59" fmla="*/ 84 h 108"/>
                <a:gd name="T60" fmla="*/ 67 w 98"/>
                <a:gd name="T61" fmla="*/ 8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8" h="108">
                  <a:moveTo>
                    <a:pt x="67" y="82"/>
                  </a:moveTo>
                  <a:cubicBezTo>
                    <a:pt x="70" y="80"/>
                    <a:pt x="73" y="79"/>
                    <a:pt x="75" y="77"/>
                  </a:cubicBezTo>
                  <a:cubicBezTo>
                    <a:pt x="77" y="75"/>
                    <a:pt x="79" y="73"/>
                    <a:pt x="81" y="71"/>
                  </a:cubicBezTo>
                  <a:cubicBezTo>
                    <a:pt x="98" y="88"/>
                    <a:pt x="98" y="88"/>
                    <a:pt x="98" y="88"/>
                  </a:cubicBezTo>
                  <a:cubicBezTo>
                    <a:pt x="95" y="92"/>
                    <a:pt x="91" y="95"/>
                    <a:pt x="87" y="98"/>
                  </a:cubicBezTo>
                  <a:cubicBezTo>
                    <a:pt x="83" y="101"/>
                    <a:pt x="79" y="103"/>
                    <a:pt x="74" y="105"/>
                  </a:cubicBezTo>
                  <a:cubicBezTo>
                    <a:pt x="68" y="107"/>
                    <a:pt x="62" y="108"/>
                    <a:pt x="55" y="108"/>
                  </a:cubicBezTo>
                  <a:cubicBezTo>
                    <a:pt x="48" y="108"/>
                    <a:pt x="41" y="106"/>
                    <a:pt x="34" y="104"/>
                  </a:cubicBezTo>
                  <a:cubicBezTo>
                    <a:pt x="27" y="101"/>
                    <a:pt x="21" y="97"/>
                    <a:pt x="16" y="92"/>
                  </a:cubicBezTo>
                  <a:cubicBezTo>
                    <a:pt x="11" y="87"/>
                    <a:pt x="7" y="82"/>
                    <a:pt x="5" y="75"/>
                  </a:cubicBezTo>
                  <a:cubicBezTo>
                    <a:pt x="2" y="69"/>
                    <a:pt x="0" y="61"/>
                    <a:pt x="0" y="54"/>
                  </a:cubicBezTo>
                  <a:cubicBezTo>
                    <a:pt x="0" y="46"/>
                    <a:pt x="2" y="39"/>
                    <a:pt x="5" y="33"/>
                  </a:cubicBezTo>
                  <a:cubicBezTo>
                    <a:pt x="7" y="26"/>
                    <a:pt x="11" y="21"/>
                    <a:pt x="16" y="16"/>
                  </a:cubicBezTo>
                  <a:cubicBezTo>
                    <a:pt x="21" y="11"/>
                    <a:pt x="27" y="7"/>
                    <a:pt x="34" y="4"/>
                  </a:cubicBezTo>
                  <a:cubicBezTo>
                    <a:pt x="41" y="1"/>
                    <a:pt x="48" y="0"/>
                    <a:pt x="55" y="0"/>
                  </a:cubicBezTo>
                  <a:cubicBezTo>
                    <a:pt x="62" y="0"/>
                    <a:pt x="68" y="1"/>
                    <a:pt x="74" y="3"/>
                  </a:cubicBezTo>
                  <a:cubicBezTo>
                    <a:pt x="79" y="5"/>
                    <a:pt x="83" y="7"/>
                    <a:pt x="87" y="10"/>
                  </a:cubicBezTo>
                  <a:cubicBezTo>
                    <a:pt x="91" y="12"/>
                    <a:pt x="94" y="15"/>
                    <a:pt x="97" y="19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78" y="33"/>
                    <a:pt x="76" y="31"/>
                    <a:pt x="73" y="30"/>
                  </a:cubicBezTo>
                  <a:cubicBezTo>
                    <a:pt x="71" y="28"/>
                    <a:pt x="69" y="27"/>
                    <a:pt x="66" y="26"/>
                  </a:cubicBezTo>
                  <a:cubicBezTo>
                    <a:pt x="63" y="25"/>
                    <a:pt x="59" y="24"/>
                    <a:pt x="55" y="24"/>
                  </a:cubicBezTo>
                  <a:cubicBezTo>
                    <a:pt x="51" y="24"/>
                    <a:pt x="47" y="25"/>
                    <a:pt x="44" y="27"/>
                  </a:cubicBezTo>
                  <a:cubicBezTo>
                    <a:pt x="40" y="28"/>
                    <a:pt x="37" y="30"/>
                    <a:pt x="34" y="33"/>
                  </a:cubicBezTo>
                  <a:cubicBezTo>
                    <a:pt x="32" y="36"/>
                    <a:pt x="30" y="39"/>
                    <a:pt x="29" y="42"/>
                  </a:cubicBezTo>
                  <a:cubicBezTo>
                    <a:pt x="27" y="46"/>
                    <a:pt x="27" y="50"/>
                    <a:pt x="27" y="54"/>
                  </a:cubicBezTo>
                  <a:cubicBezTo>
                    <a:pt x="27" y="58"/>
                    <a:pt x="27" y="62"/>
                    <a:pt x="29" y="65"/>
                  </a:cubicBezTo>
                  <a:cubicBezTo>
                    <a:pt x="30" y="69"/>
                    <a:pt x="32" y="72"/>
                    <a:pt x="34" y="75"/>
                  </a:cubicBezTo>
                  <a:cubicBezTo>
                    <a:pt x="37" y="77"/>
                    <a:pt x="40" y="80"/>
                    <a:pt x="44" y="81"/>
                  </a:cubicBezTo>
                  <a:cubicBezTo>
                    <a:pt x="47" y="83"/>
                    <a:pt x="51" y="84"/>
                    <a:pt x="55" y="84"/>
                  </a:cubicBezTo>
                  <a:cubicBezTo>
                    <a:pt x="60" y="84"/>
                    <a:pt x="64" y="83"/>
                    <a:pt x="67" y="82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33">
              <a:extLst>
                <a:ext uri="{FF2B5EF4-FFF2-40B4-BE49-F238E27FC236}">
                  <a16:creationId xmlns:a16="http://schemas.microsoft.com/office/drawing/2014/main" id="{56A23D21-952A-4A1A-A157-96525208000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657726" y="1055688"/>
              <a:ext cx="111125" cy="114300"/>
            </a:xfrm>
            <a:custGeom>
              <a:avLst/>
              <a:gdLst>
                <a:gd name="T0" fmla="*/ 72 w 104"/>
                <a:gd name="T1" fmla="*/ 4 h 108"/>
                <a:gd name="T2" fmla="*/ 88 w 104"/>
                <a:gd name="T3" fmla="*/ 15 h 108"/>
                <a:gd name="T4" fmla="*/ 99 w 104"/>
                <a:gd name="T5" fmla="*/ 32 h 108"/>
                <a:gd name="T6" fmla="*/ 104 w 104"/>
                <a:gd name="T7" fmla="*/ 54 h 108"/>
                <a:gd name="T8" fmla="*/ 104 w 104"/>
                <a:gd name="T9" fmla="*/ 58 h 108"/>
                <a:gd name="T10" fmla="*/ 103 w 104"/>
                <a:gd name="T11" fmla="*/ 63 h 108"/>
                <a:gd name="T12" fmla="*/ 27 w 104"/>
                <a:gd name="T13" fmla="*/ 63 h 108"/>
                <a:gd name="T14" fmla="*/ 30 w 104"/>
                <a:gd name="T15" fmla="*/ 70 h 108"/>
                <a:gd name="T16" fmla="*/ 36 w 104"/>
                <a:gd name="T17" fmla="*/ 77 h 108"/>
                <a:gd name="T18" fmla="*/ 44 w 104"/>
                <a:gd name="T19" fmla="*/ 82 h 108"/>
                <a:gd name="T20" fmla="*/ 56 w 104"/>
                <a:gd name="T21" fmla="*/ 84 h 108"/>
                <a:gd name="T22" fmla="*/ 68 w 104"/>
                <a:gd name="T23" fmla="*/ 82 h 108"/>
                <a:gd name="T24" fmla="*/ 76 w 104"/>
                <a:gd name="T25" fmla="*/ 79 h 108"/>
                <a:gd name="T26" fmla="*/ 84 w 104"/>
                <a:gd name="T27" fmla="*/ 74 h 108"/>
                <a:gd name="T28" fmla="*/ 97 w 104"/>
                <a:gd name="T29" fmla="*/ 93 h 108"/>
                <a:gd name="T30" fmla="*/ 85 w 104"/>
                <a:gd name="T31" fmla="*/ 101 h 108"/>
                <a:gd name="T32" fmla="*/ 73 w 104"/>
                <a:gd name="T33" fmla="*/ 106 h 108"/>
                <a:gd name="T34" fmla="*/ 56 w 104"/>
                <a:gd name="T35" fmla="*/ 108 h 108"/>
                <a:gd name="T36" fmla="*/ 34 w 104"/>
                <a:gd name="T37" fmla="*/ 104 h 108"/>
                <a:gd name="T38" fmla="*/ 16 w 104"/>
                <a:gd name="T39" fmla="*/ 92 h 108"/>
                <a:gd name="T40" fmla="*/ 5 w 104"/>
                <a:gd name="T41" fmla="*/ 75 h 108"/>
                <a:gd name="T42" fmla="*/ 0 w 104"/>
                <a:gd name="T43" fmla="*/ 54 h 108"/>
                <a:gd name="T44" fmla="*/ 4 w 104"/>
                <a:gd name="T45" fmla="*/ 33 h 108"/>
                <a:gd name="T46" fmla="*/ 15 w 104"/>
                <a:gd name="T47" fmla="*/ 16 h 108"/>
                <a:gd name="T48" fmla="*/ 31 w 104"/>
                <a:gd name="T49" fmla="*/ 4 h 108"/>
                <a:gd name="T50" fmla="*/ 52 w 104"/>
                <a:gd name="T51" fmla="*/ 0 h 108"/>
                <a:gd name="T52" fmla="*/ 72 w 104"/>
                <a:gd name="T53" fmla="*/ 4 h 108"/>
                <a:gd name="T54" fmla="*/ 78 w 104"/>
                <a:gd name="T55" fmla="*/ 44 h 108"/>
                <a:gd name="T56" fmla="*/ 76 w 104"/>
                <a:gd name="T57" fmla="*/ 38 h 108"/>
                <a:gd name="T58" fmla="*/ 71 w 104"/>
                <a:gd name="T59" fmla="*/ 31 h 108"/>
                <a:gd name="T60" fmla="*/ 63 w 104"/>
                <a:gd name="T61" fmla="*/ 26 h 108"/>
                <a:gd name="T62" fmla="*/ 52 w 104"/>
                <a:gd name="T63" fmla="*/ 24 h 108"/>
                <a:gd name="T64" fmla="*/ 41 w 104"/>
                <a:gd name="T65" fmla="*/ 26 h 108"/>
                <a:gd name="T66" fmla="*/ 33 w 104"/>
                <a:gd name="T67" fmla="*/ 31 h 108"/>
                <a:gd name="T68" fmla="*/ 29 w 104"/>
                <a:gd name="T69" fmla="*/ 37 h 108"/>
                <a:gd name="T70" fmla="*/ 27 w 104"/>
                <a:gd name="T71" fmla="*/ 44 h 108"/>
                <a:gd name="T72" fmla="*/ 78 w 104"/>
                <a:gd name="T73" fmla="*/ 4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4" h="108">
                  <a:moveTo>
                    <a:pt x="72" y="4"/>
                  </a:moveTo>
                  <a:cubicBezTo>
                    <a:pt x="78" y="7"/>
                    <a:pt x="84" y="10"/>
                    <a:pt x="88" y="15"/>
                  </a:cubicBezTo>
                  <a:cubicBezTo>
                    <a:pt x="93" y="20"/>
                    <a:pt x="97" y="25"/>
                    <a:pt x="99" y="32"/>
                  </a:cubicBezTo>
                  <a:cubicBezTo>
                    <a:pt x="102" y="38"/>
                    <a:pt x="104" y="46"/>
                    <a:pt x="104" y="54"/>
                  </a:cubicBezTo>
                  <a:cubicBezTo>
                    <a:pt x="104" y="55"/>
                    <a:pt x="104" y="56"/>
                    <a:pt x="104" y="58"/>
                  </a:cubicBezTo>
                  <a:cubicBezTo>
                    <a:pt x="104" y="59"/>
                    <a:pt x="104" y="61"/>
                    <a:pt x="103" y="63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7" y="66"/>
                    <a:pt x="28" y="68"/>
                    <a:pt x="30" y="70"/>
                  </a:cubicBezTo>
                  <a:cubicBezTo>
                    <a:pt x="31" y="73"/>
                    <a:pt x="33" y="75"/>
                    <a:pt x="36" y="77"/>
                  </a:cubicBezTo>
                  <a:cubicBezTo>
                    <a:pt x="38" y="79"/>
                    <a:pt x="41" y="81"/>
                    <a:pt x="44" y="82"/>
                  </a:cubicBezTo>
                  <a:cubicBezTo>
                    <a:pt x="48" y="83"/>
                    <a:pt x="51" y="84"/>
                    <a:pt x="56" y="84"/>
                  </a:cubicBezTo>
                  <a:cubicBezTo>
                    <a:pt x="60" y="84"/>
                    <a:pt x="64" y="84"/>
                    <a:pt x="68" y="82"/>
                  </a:cubicBezTo>
                  <a:cubicBezTo>
                    <a:pt x="71" y="81"/>
                    <a:pt x="74" y="80"/>
                    <a:pt x="76" y="79"/>
                  </a:cubicBezTo>
                  <a:cubicBezTo>
                    <a:pt x="79" y="77"/>
                    <a:pt x="82" y="76"/>
                    <a:pt x="84" y="74"/>
                  </a:cubicBezTo>
                  <a:cubicBezTo>
                    <a:pt x="97" y="93"/>
                    <a:pt x="97" y="93"/>
                    <a:pt x="97" y="93"/>
                  </a:cubicBezTo>
                  <a:cubicBezTo>
                    <a:pt x="93" y="96"/>
                    <a:pt x="90" y="98"/>
                    <a:pt x="85" y="101"/>
                  </a:cubicBezTo>
                  <a:cubicBezTo>
                    <a:pt x="82" y="102"/>
                    <a:pt x="77" y="104"/>
                    <a:pt x="73" y="106"/>
                  </a:cubicBezTo>
                  <a:cubicBezTo>
                    <a:pt x="68" y="107"/>
                    <a:pt x="62" y="108"/>
                    <a:pt x="56" y="108"/>
                  </a:cubicBezTo>
                  <a:cubicBezTo>
                    <a:pt x="48" y="108"/>
                    <a:pt x="40" y="106"/>
                    <a:pt x="34" y="104"/>
                  </a:cubicBezTo>
                  <a:cubicBezTo>
                    <a:pt x="27" y="101"/>
                    <a:pt x="21" y="97"/>
                    <a:pt x="16" y="92"/>
                  </a:cubicBezTo>
                  <a:cubicBezTo>
                    <a:pt x="11" y="87"/>
                    <a:pt x="7" y="82"/>
                    <a:pt x="5" y="75"/>
                  </a:cubicBezTo>
                  <a:cubicBezTo>
                    <a:pt x="2" y="69"/>
                    <a:pt x="0" y="61"/>
                    <a:pt x="0" y="54"/>
                  </a:cubicBezTo>
                  <a:cubicBezTo>
                    <a:pt x="0" y="46"/>
                    <a:pt x="2" y="39"/>
                    <a:pt x="4" y="33"/>
                  </a:cubicBezTo>
                  <a:cubicBezTo>
                    <a:pt x="7" y="26"/>
                    <a:pt x="10" y="21"/>
                    <a:pt x="15" y="16"/>
                  </a:cubicBezTo>
                  <a:cubicBezTo>
                    <a:pt x="19" y="11"/>
                    <a:pt x="25" y="7"/>
                    <a:pt x="31" y="4"/>
                  </a:cubicBezTo>
                  <a:cubicBezTo>
                    <a:pt x="38" y="1"/>
                    <a:pt x="44" y="0"/>
                    <a:pt x="52" y="0"/>
                  </a:cubicBezTo>
                  <a:cubicBezTo>
                    <a:pt x="59" y="0"/>
                    <a:pt x="66" y="1"/>
                    <a:pt x="72" y="4"/>
                  </a:cubicBezTo>
                  <a:close/>
                  <a:moveTo>
                    <a:pt x="78" y="44"/>
                  </a:moveTo>
                  <a:cubicBezTo>
                    <a:pt x="77" y="42"/>
                    <a:pt x="77" y="40"/>
                    <a:pt x="76" y="38"/>
                  </a:cubicBezTo>
                  <a:cubicBezTo>
                    <a:pt x="75" y="35"/>
                    <a:pt x="73" y="33"/>
                    <a:pt x="71" y="31"/>
                  </a:cubicBezTo>
                  <a:cubicBezTo>
                    <a:pt x="69" y="29"/>
                    <a:pt x="66" y="27"/>
                    <a:pt x="63" y="26"/>
                  </a:cubicBezTo>
                  <a:cubicBezTo>
                    <a:pt x="60" y="24"/>
                    <a:pt x="56" y="24"/>
                    <a:pt x="52" y="24"/>
                  </a:cubicBezTo>
                  <a:cubicBezTo>
                    <a:pt x="48" y="24"/>
                    <a:pt x="44" y="24"/>
                    <a:pt x="41" y="26"/>
                  </a:cubicBezTo>
                  <a:cubicBezTo>
                    <a:pt x="38" y="27"/>
                    <a:pt x="35" y="29"/>
                    <a:pt x="33" y="31"/>
                  </a:cubicBezTo>
                  <a:cubicBezTo>
                    <a:pt x="31" y="33"/>
                    <a:pt x="30" y="35"/>
                    <a:pt x="29" y="37"/>
                  </a:cubicBezTo>
                  <a:cubicBezTo>
                    <a:pt x="28" y="40"/>
                    <a:pt x="27" y="42"/>
                    <a:pt x="27" y="44"/>
                  </a:cubicBezTo>
                  <a:lnTo>
                    <a:pt x="78" y="44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Freeform 34">
              <a:extLst>
                <a:ext uri="{FF2B5EF4-FFF2-40B4-BE49-F238E27FC236}">
                  <a16:creationId xmlns:a16="http://schemas.microsoft.com/office/drawing/2014/main" id="{CA19857A-A213-4A64-B52F-74AA41539F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1076" y="1055688"/>
              <a:ext cx="96838" cy="114300"/>
            </a:xfrm>
            <a:custGeom>
              <a:avLst/>
              <a:gdLst>
                <a:gd name="T0" fmla="*/ 15 w 91"/>
                <a:gd name="T1" fmla="*/ 70 h 108"/>
                <a:gd name="T2" fmla="*/ 24 w 91"/>
                <a:gd name="T3" fmla="*/ 78 h 108"/>
                <a:gd name="T4" fmla="*/ 33 w 91"/>
                <a:gd name="T5" fmla="*/ 83 h 108"/>
                <a:gd name="T6" fmla="*/ 46 w 91"/>
                <a:gd name="T7" fmla="*/ 85 h 108"/>
                <a:gd name="T8" fmla="*/ 59 w 91"/>
                <a:gd name="T9" fmla="*/ 83 h 108"/>
                <a:gd name="T10" fmla="*/ 65 w 91"/>
                <a:gd name="T11" fmla="*/ 76 h 108"/>
                <a:gd name="T12" fmla="*/ 61 w 91"/>
                <a:gd name="T13" fmla="*/ 69 h 108"/>
                <a:gd name="T14" fmla="*/ 45 w 91"/>
                <a:gd name="T15" fmla="*/ 65 h 108"/>
                <a:gd name="T16" fmla="*/ 30 w 91"/>
                <a:gd name="T17" fmla="*/ 60 h 108"/>
                <a:gd name="T18" fmla="*/ 18 w 91"/>
                <a:gd name="T19" fmla="*/ 54 h 108"/>
                <a:gd name="T20" fmla="*/ 10 w 91"/>
                <a:gd name="T21" fmla="*/ 45 h 108"/>
                <a:gd name="T22" fmla="*/ 7 w 91"/>
                <a:gd name="T23" fmla="*/ 32 h 108"/>
                <a:gd name="T24" fmla="*/ 10 w 91"/>
                <a:gd name="T25" fmla="*/ 20 h 108"/>
                <a:gd name="T26" fmla="*/ 18 w 91"/>
                <a:gd name="T27" fmla="*/ 10 h 108"/>
                <a:gd name="T28" fmla="*/ 32 w 91"/>
                <a:gd name="T29" fmla="*/ 3 h 108"/>
                <a:gd name="T30" fmla="*/ 51 w 91"/>
                <a:gd name="T31" fmla="*/ 0 h 108"/>
                <a:gd name="T32" fmla="*/ 67 w 91"/>
                <a:gd name="T33" fmla="*/ 2 h 108"/>
                <a:gd name="T34" fmla="*/ 79 w 91"/>
                <a:gd name="T35" fmla="*/ 6 h 108"/>
                <a:gd name="T36" fmla="*/ 89 w 91"/>
                <a:gd name="T37" fmla="*/ 13 h 108"/>
                <a:gd name="T38" fmla="*/ 76 w 91"/>
                <a:gd name="T39" fmla="*/ 32 h 108"/>
                <a:gd name="T40" fmla="*/ 69 w 91"/>
                <a:gd name="T41" fmla="*/ 27 h 108"/>
                <a:gd name="T42" fmla="*/ 61 w 91"/>
                <a:gd name="T43" fmla="*/ 24 h 108"/>
                <a:gd name="T44" fmla="*/ 51 w 91"/>
                <a:gd name="T45" fmla="*/ 23 h 108"/>
                <a:gd name="T46" fmla="*/ 38 w 91"/>
                <a:gd name="T47" fmla="*/ 25 h 108"/>
                <a:gd name="T48" fmla="*/ 32 w 91"/>
                <a:gd name="T49" fmla="*/ 33 h 108"/>
                <a:gd name="T50" fmla="*/ 38 w 91"/>
                <a:gd name="T51" fmla="*/ 39 h 108"/>
                <a:gd name="T52" fmla="*/ 56 w 91"/>
                <a:gd name="T53" fmla="*/ 44 h 108"/>
                <a:gd name="T54" fmla="*/ 70 w 91"/>
                <a:gd name="T55" fmla="*/ 48 h 108"/>
                <a:gd name="T56" fmla="*/ 81 w 91"/>
                <a:gd name="T57" fmla="*/ 54 h 108"/>
                <a:gd name="T58" fmla="*/ 89 w 91"/>
                <a:gd name="T59" fmla="*/ 63 h 108"/>
                <a:gd name="T60" fmla="*/ 91 w 91"/>
                <a:gd name="T61" fmla="*/ 76 h 108"/>
                <a:gd name="T62" fmla="*/ 88 w 91"/>
                <a:gd name="T63" fmla="*/ 89 h 108"/>
                <a:gd name="T64" fmla="*/ 79 w 91"/>
                <a:gd name="T65" fmla="*/ 99 h 108"/>
                <a:gd name="T66" fmla="*/ 64 w 91"/>
                <a:gd name="T67" fmla="*/ 105 h 108"/>
                <a:gd name="T68" fmla="*/ 46 w 91"/>
                <a:gd name="T69" fmla="*/ 108 h 108"/>
                <a:gd name="T70" fmla="*/ 27 w 91"/>
                <a:gd name="T71" fmla="*/ 105 h 108"/>
                <a:gd name="T72" fmla="*/ 12 w 91"/>
                <a:gd name="T73" fmla="*/ 99 h 108"/>
                <a:gd name="T74" fmla="*/ 0 w 91"/>
                <a:gd name="T75" fmla="*/ 89 h 108"/>
                <a:gd name="T76" fmla="*/ 15 w 91"/>
                <a:gd name="T77" fmla="*/ 7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1" h="108">
                  <a:moveTo>
                    <a:pt x="15" y="70"/>
                  </a:moveTo>
                  <a:cubicBezTo>
                    <a:pt x="17" y="73"/>
                    <a:pt x="20" y="76"/>
                    <a:pt x="24" y="78"/>
                  </a:cubicBezTo>
                  <a:cubicBezTo>
                    <a:pt x="26" y="80"/>
                    <a:pt x="30" y="81"/>
                    <a:pt x="33" y="83"/>
                  </a:cubicBezTo>
                  <a:cubicBezTo>
                    <a:pt x="37" y="84"/>
                    <a:pt x="41" y="85"/>
                    <a:pt x="46" y="85"/>
                  </a:cubicBezTo>
                  <a:cubicBezTo>
                    <a:pt x="51" y="85"/>
                    <a:pt x="56" y="84"/>
                    <a:pt x="59" y="83"/>
                  </a:cubicBezTo>
                  <a:cubicBezTo>
                    <a:pt x="63" y="81"/>
                    <a:pt x="65" y="79"/>
                    <a:pt x="65" y="76"/>
                  </a:cubicBezTo>
                  <a:cubicBezTo>
                    <a:pt x="65" y="73"/>
                    <a:pt x="64" y="70"/>
                    <a:pt x="61" y="69"/>
                  </a:cubicBezTo>
                  <a:cubicBezTo>
                    <a:pt x="58" y="68"/>
                    <a:pt x="53" y="66"/>
                    <a:pt x="45" y="65"/>
                  </a:cubicBezTo>
                  <a:cubicBezTo>
                    <a:pt x="40" y="63"/>
                    <a:pt x="35" y="62"/>
                    <a:pt x="30" y="60"/>
                  </a:cubicBezTo>
                  <a:cubicBezTo>
                    <a:pt x="26" y="59"/>
                    <a:pt x="22" y="57"/>
                    <a:pt x="18" y="54"/>
                  </a:cubicBezTo>
                  <a:cubicBezTo>
                    <a:pt x="15" y="51"/>
                    <a:pt x="12" y="48"/>
                    <a:pt x="10" y="45"/>
                  </a:cubicBezTo>
                  <a:cubicBezTo>
                    <a:pt x="8" y="41"/>
                    <a:pt x="7" y="37"/>
                    <a:pt x="7" y="32"/>
                  </a:cubicBezTo>
                  <a:cubicBezTo>
                    <a:pt x="7" y="28"/>
                    <a:pt x="8" y="24"/>
                    <a:pt x="10" y="20"/>
                  </a:cubicBezTo>
                  <a:cubicBezTo>
                    <a:pt x="11" y="16"/>
                    <a:pt x="14" y="13"/>
                    <a:pt x="18" y="10"/>
                  </a:cubicBezTo>
                  <a:cubicBezTo>
                    <a:pt x="22" y="7"/>
                    <a:pt x="26" y="5"/>
                    <a:pt x="32" y="3"/>
                  </a:cubicBezTo>
                  <a:cubicBezTo>
                    <a:pt x="37" y="1"/>
                    <a:pt x="44" y="0"/>
                    <a:pt x="51" y="0"/>
                  </a:cubicBezTo>
                  <a:cubicBezTo>
                    <a:pt x="57" y="0"/>
                    <a:pt x="62" y="1"/>
                    <a:pt x="67" y="2"/>
                  </a:cubicBezTo>
                  <a:cubicBezTo>
                    <a:pt x="71" y="3"/>
                    <a:pt x="75" y="5"/>
                    <a:pt x="79" y="6"/>
                  </a:cubicBezTo>
                  <a:cubicBezTo>
                    <a:pt x="83" y="8"/>
                    <a:pt x="86" y="10"/>
                    <a:pt x="89" y="13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74" y="30"/>
                    <a:pt x="72" y="29"/>
                    <a:pt x="69" y="27"/>
                  </a:cubicBezTo>
                  <a:cubicBezTo>
                    <a:pt x="66" y="26"/>
                    <a:pt x="64" y="25"/>
                    <a:pt x="61" y="24"/>
                  </a:cubicBezTo>
                  <a:cubicBezTo>
                    <a:pt x="58" y="23"/>
                    <a:pt x="54" y="23"/>
                    <a:pt x="51" y="23"/>
                  </a:cubicBezTo>
                  <a:cubicBezTo>
                    <a:pt x="46" y="23"/>
                    <a:pt x="42" y="24"/>
                    <a:pt x="38" y="25"/>
                  </a:cubicBezTo>
                  <a:cubicBezTo>
                    <a:pt x="34" y="27"/>
                    <a:pt x="32" y="29"/>
                    <a:pt x="32" y="33"/>
                  </a:cubicBezTo>
                  <a:cubicBezTo>
                    <a:pt x="32" y="36"/>
                    <a:pt x="34" y="38"/>
                    <a:pt x="38" y="39"/>
                  </a:cubicBezTo>
                  <a:cubicBezTo>
                    <a:pt x="42" y="41"/>
                    <a:pt x="48" y="42"/>
                    <a:pt x="56" y="44"/>
                  </a:cubicBezTo>
                  <a:cubicBezTo>
                    <a:pt x="61" y="45"/>
                    <a:pt x="66" y="46"/>
                    <a:pt x="70" y="48"/>
                  </a:cubicBezTo>
                  <a:cubicBezTo>
                    <a:pt x="75" y="49"/>
                    <a:pt x="78" y="51"/>
                    <a:pt x="81" y="54"/>
                  </a:cubicBezTo>
                  <a:cubicBezTo>
                    <a:pt x="85" y="56"/>
                    <a:pt x="87" y="59"/>
                    <a:pt x="89" y="63"/>
                  </a:cubicBezTo>
                  <a:cubicBezTo>
                    <a:pt x="90" y="66"/>
                    <a:pt x="91" y="71"/>
                    <a:pt x="91" y="76"/>
                  </a:cubicBezTo>
                  <a:cubicBezTo>
                    <a:pt x="91" y="81"/>
                    <a:pt x="90" y="85"/>
                    <a:pt x="88" y="89"/>
                  </a:cubicBezTo>
                  <a:cubicBezTo>
                    <a:pt x="86" y="93"/>
                    <a:pt x="83" y="96"/>
                    <a:pt x="79" y="99"/>
                  </a:cubicBezTo>
                  <a:cubicBezTo>
                    <a:pt x="75" y="101"/>
                    <a:pt x="70" y="104"/>
                    <a:pt x="64" y="105"/>
                  </a:cubicBezTo>
                  <a:cubicBezTo>
                    <a:pt x="59" y="107"/>
                    <a:pt x="53" y="108"/>
                    <a:pt x="46" y="108"/>
                  </a:cubicBezTo>
                  <a:cubicBezTo>
                    <a:pt x="39" y="108"/>
                    <a:pt x="32" y="107"/>
                    <a:pt x="27" y="105"/>
                  </a:cubicBezTo>
                  <a:cubicBezTo>
                    <a:pt x="21" y="103"/>
                    <a:pt x="16" y="101"/>
                    <a:pt x="12" y="99"/>
                  </a:cubicBezTo>
                  <a:cubicBezTo>
                    <a:pt x="7" y="96"/>
                    <a:pt x="3" y="93"/>
                    <a:pt x="0" y="89"/>
                  </a:cubicBezTo>
                  <a:lnTo>
                    <a:pt x="15" y="70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Freeform 35">
              <a:extLst>
                <a:ext uri="{FF2B5EF4-FFF2-40B4-BE49-F238E27FC236}">
                  <a16:creationId xmlns:a16="http://schemas.microsoft.com/office/drawing/2014/main" id="{518C9716-235D-46E0-A70C-E68E93DD62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13313" y="1055688"/>
              <a:ext cx="96838" cy="114300"/>
            </a:xfrm>
            <a:custGeom>
              <a:avLst/>
              <a:gdLst>
                <a:gd name="T0" fmla="*/ 14 w 91"/>
                <a:gd name="T1" fmla="*/ 70 h 108"/>
                <a:gd name="T2" fmla="*/ 23 w 91"/>
                <a:gd name="T3" fmla="*/ 78 h 108"/>
                <a:gd name="T4" fmla="*/ 33 w 91"/>
                <a:gd name="T5" fmla="*/ 83 h 108"/>
                <a:gd name="T6" fmla="*/ 45 w 91"/>
                <a:gd name="T7" fmla="*/ 85 h 108"/>
                <a:gd name="T8" fmla="*/ 59 w 91"/>
                <a:gd name="T9" fmla="*/ 83 h 108"/>
                <a:gd name="T10" fmla="*/ 65 w 91"/>
                <a:gd name="T11" fmla="*/ 76 h 108"/>
                <a:gd name="T12" fmla="*/ 60 w 91"/>
                <a:gd name="T13" fmla="*/ 69 h 108"/>
                <a:gd name="T14" fmla="*/ 44 w 91"/>
                <a:gd name="T15" fmla="*/ 65 h 108"/>
                <a:gd name="T16" fmla="*/ 30 w 91"/>
                <a:gd name="T17" fmla="*/ 60 h 108"/>
                <a:gd name="T18" fmla="*/ 18 w 91"/>
                <a:gd name="T19" fmla="*/ 54 h 108"/>
                <a:gd name="T20" fmla="*/ 9 w 91"/>
                <a:gd name="T21" fmla="*/ 45 h 108"/>
                <a:gd name="T22" fmla="*/ 6 w 91"/>
                <a:gd name="T23" fmla="*/ 32 h 108"/>
                <a:gd name="T24" fmla="*/ 9 w 91"/>
                <a:gd name="T25" fmla="*/ 20 h 108"/>
                <a:gd name="T26" fmla="*/ 18 w 91"/>
                <a:gd name="T27" fmla="*/ 10 h 108"/>
                <a:gd name="T28" fmla="*/ 31 w 91"/>
                <a:gd name="T29" fmla="*/ 3 h 108"/>
                <a:gd name="T30" fmla="*/ 50 w 91"/>
                <a:gd name="T31" fmla="*/ 0 h 108"/>
                <a:gd name="T32" fmla="*/ 66 w 91"/>
                <a:gd name="T33" fmla="*/ 2 h 108"/>
                <a:gd name="T34" fmla="*/ 78 w 91"/>
                <a:gd name="T35" fmla="*/ 6 h 108"/>
                <a:gd name="T36" fmla="*/ 89 w 91"/>
                <a:gd name="T37" fmla="*/ 13 h 108"/>
                <a:gd name="T38" fmla="*/ 76 w 91"/>
                <a:gd name="T39" fmla="*/ 32 h 108"/>
                <a:gd name="T40" fmla="*/ 68 w 91"/>
                <a:gd name="T41" fmla="*/ 27 h 108"/>
                <a:gd name="T42" fmla="*/ 60 w 91"/>
                <a:gd name="T43" fmla="*/ 24 h 108"/>
                <a:gd name="T44" fmla="*/ 50 w 91"/>
                <a:gd name="T45" fmla="*/ 23 h 108"/>
                <a:gd name="T46" fmla="*/ 37 w 91"/>
                <a:gd name="T47" fmla="*/ 25 h 108"/>
                <a:gd name="T48" fmla="*/ 32 w 91"/>
                <a:gd name="T49" fmla="*/ 33 h 108"/>
                <a:gd name="T50" fmla="*/ 37 w 91"/>
                <a:gd name="T51" fmla="*/ 39 h 108"/>
                <a:gd name="T52" fmla="*/ 56 w 91"/>
                <a:gd name="T53" fmla="*/ 44 h 108"/>
                <a:gd name="T54" fmla="*/ 70 w 91"/>
                <a:gd name="T55" fmla="*/ 48 h 108"/>
                <a:gd name="T56" fmla="*/ 81 w 91"/>
                <a:gd name="T57" fmla="*/ 54 h 108"/>
                <a:gd name="T58" fmla="*/ 88 w 91"/>
                <a:gd name="T59" fmla="*/ 63 h 108"/>
                <a:gd name="T60" fmla="*/ 91 w 91"/>
                <a:gd name="T61" fmla="*/ 76 h 108"/>
                <a:gd name="T62" fmla="*/ 87 w 91"/>
                <a:gd name="T63" fmla="*/ 89 h 108"/>
                <a:gd name="T64" fmla="*/ 78 w 91"/>
                <a:gd name="T65" fmla="*/ 99 h 108"/>
                <a:gd name="T66" fmla="*/ 64 w 91"/>
                <a:gd name="T67" fmla="*/ 105 h 108"/>
                <a:gd name="T68" fmla="*/ 46 w 91"/>
                <a:gd name="T69" fmla="*/ 108 h 108"/>
                <a:gd name="T70" fmla="*/ 26 w 91"/>
                <a:gd name="T71" fmla="*/ 105 h 108"/>
                <a:gd name="T72" fmla="*/ 12 w 91"/>
                <a:gd name="T73" fmla="*/ 99 h 108"/>
                <a:gd name="T74" fmla="*/ 0 w 91"/>
                <a:gd name="T75" fmla="*/ 89 h 108"/>
                <a:gd name="T76" fmla="*/ 14 w 91"/>
                <a:gd name="T77" fmla="*/ 7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1" h="108">
                  <a:moveTo>
                    <a:pt x="14" y="70"/>
                  </a:moveTo>
                  <a:cubicBezTo>
                    <a:pt x="17" y="73"/>
                    <a:pt x="20" y="76"/>
                    <a:pt x="23" y="78"/>
                  </a:cubicBezTo>
                  <a:cubicBezTo>
                    <a:pt x="26" y="80"/>
                    <a:pt x="29" y="81"/>
                    <a:pt x="33" y="83"/>
                  </a:cubicBezTo>
                  <a:cubicBezTo>
                    <a:pt x="37" y="84"/>
                    <a:pt x="41" y="85"/>
                    <a:pt x="45" y="85"/>
                  </a:cubicBezTo>
                  <a:cubicBezTo>
                    <a:pt x="50" y="85"/>
                    <a:pt x="55" y="84"/>
                    <a:pt x="59" y="83"/>
                  </a:cubicBezTo>
                  <a:cubicBezTo>
                    <a:pt x="63" y="81"/>
                    <a:pt x="65" y="79"/>
                    <a:pt x="65" y="76"/>
                  </a:cubicBezTo>
                  <a:cubicBezTo>
                    <a:pt x="65" y="73"/>
                    <a:pt x="63" y="70"/>
                    <a:pt x="60" y="69"/>
                  </a:cubicBezTo>
                  <a:cubicBezTo>
                    <a:pt x="57" y="68"/>
                    <a:pt x="52" y="66"/>
                    <a:pt x="44" y="65"/>
                  </a:cubicBezTo>
                  <a:cubicBezTo>
                    <a:pt x="39" y="63"/>
                    <a:pt x="34" y="62"/>
                    <a:pt x="30" y="60"/>
                  </a:cubicBezTo>
                  <a:cubicBezTo>
                    <a:pt x="25" y="59"/>
                    <a:pt x="21" y="57"/>
                    <a:pt x="18" y="54"/>
                  </a:cubicBezTo>
                  <a:cubicBezTo>
                    <a:pt x="14" y="51"/>
                    <a:pt x="11" y="48"/>
                    <a:pt x="9" y="45"/>
                  </a:cubicBezTo>
                  <a:cubicBezTo>
                    <a:pt x="7" y="41"/>
                    <a:pt x="6" y="37"/>
                    <a:pt x="6" y="32"/>
                  </a:cubicBezTo>
                  <a:cubicBezTo>
                    <a:pt x="6" y="28"/>
                    <a:pt x="7" y="24"/>
                    <a:pt x="9" y="20"/>
                  </a:cubicBezTo>
                  <a:cubicBezTo>
                    <a:pt x="11" y="16"/>
                    <a:pt x="14" y="13"/>
                    <a:pt x="18" y="10"/>
                  </a:cubicBezTo>
                  <a:cubicBezTo>
                    <a:pt x="21" y="7"/>
                    <a:pt x="26" y="5"/>
                    <a:pt x="31" y="3"/>
                  </a:cubicBezTo>
                  <a:cubicBezTo>
                    <a:pt x="37" y="1"/>
                    <a:pt x="43" y="0"/>
                    <a:pt x="50" y="0"/>
                  </a:cubicBezTo>
                  <a:cubicBezTo>
                    <a:pt x="56" y="0"/>
                    <a:pt x="62" y="1"/>
                    <a:pt x="66" y="2"/>
                  </a:cubicBezTo>
                  <a:cubicBezTo>
                    <a:pt x="71" y="3"/>
                    <a:pt x="75" y="5"/>
                    <a:pt x="78" y="6"/>
                  </a:cubicBezTo>
                  <a:cubicBezTo>
                    <a:pt x="82" y="8"/>
                    <a:pt x="86" y="10"/>
                    <a:pt x="89" y="13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74" y="30"/>
                    <a:pt x="71" y="29"/>
                    <a:pt x="68" y="27"/>
                  </a:cubicBezTo>
                  <a:cubicBezTo>
                    <a:pt x="66" y="26"/>
                    <a:pt x="63" y="25"/>
                    <a:pt x="60" y="24"/>
                  </a:cubicBezTo>
                  <a:cubicBezTo>
                    <a:pt x="57" y="23"/>
                    <a:pt x="54" y="23"/>
                    <a:pt x="50" y="23"/>
                  </a:cubicBezTo>
                  <a:cubicBezTo>
                    <a:pt x="45" y="23"/>
                    <a:pt x="41" y="24"/>
                    <a:pt x="37" y="25"/>
                  </a:cubicBezTo>
                  <a:cubicBezTo>
                    <a:pt x="34" y="27"/>
                    <a:pt x="32" y="29"/>
                    <a:pt x="32" y="33"/>
                  </a:cubicBezTo>
                  <a:cubicBezTo>
                    <a:pt x="32" y="36"/>
                    <a:pt x="34" y="38"/>
                    <a:pt x="37" y="39"/>
                  </a:cubicBezTo>
                  <a:cubicBezTo>
                    <a:pt x="41" y="41"/>
                    <a:pt x="47" y="42"/>
                    <a:pt x="56" y="44"/>
                  </a:cubicBezTo>
                  <a:cubicBezTo>
                    <a:pt x="61" y="45"/>
                    <a:pt x="66" y="46"/>
                    <a:pt x="70" y="48"/>
                  </a:cubicBezTo>
                  <a:cubicBezTo>
                    <a:pt x="74" y="49"/>
                    <a:pt x="78" y="51"/>
                    <a:pt x="81" y="54"/>
                  </a:cubicBezTo>
                  <a:cubicBezTo>
                    <a:pt x="84" y="56"/>
                    <a:pt x="86" y="59"/>
                    <a:pt x="88" y="63"/>
                  </a:cubicBezTo>
                  <a:cubicBezTo>
                    <a:pt x="90" y="66"/>
                    <a:pt x="91" y="71"/>
                    <a:pt x="91" y="76"/>
                  </a:cubicBezTo>
                  <a:cubicBezTo>
                    <a:pt x="91" y="81"/>
                    <a:pt x="90" y="85"/>
                    <a:pt x="87" y="89"/>
                  </a:cubicBezTo>
                  <a:cubicBezTo>
                    <a:pt x="85" y="93"/>
                    <a:pt x="82" y="96"/>
                    <a:pt x="78" y="99"/>
                  </a:cubicBezTo>
                  <a:cubicBezTo>
                    <a:pt x="74" y="101"/>
                    <a:pt x="69" y="104"/>
                    <a:pt x="64" y="105"/>
                  </a:cubicBezTo>
                  <a:cubicBezTo>
                    <a:pt x="58" y="107"/>
                    <a:pt x="52" y="108"/>
                    <a:pt x="46" y="108"/>
                  </a:cubicBezTo>
                  <a:cubicBezTo>
                    <a:pt x="38" y="108"/>
                    <a:pt x="32" y="107"/>
                    <a:pt x="26" y="105"/>
                  </a:cubicBezTo>
                  <a:cubicBezTo>
                    <a:pt x="20" y="103"/>
                    <a:pt x="15" y="101"/>
                    <a:pt x="12" y="99"/>
                  </a:cubicBezTo>
                  <a:cubicBezTo>
                    <a:pt x="7" y="96"/>
                    <a:pt x="3" y="93"/>
                    <a:pt x="0" y="89"/>
                  </a:cubicBezTo>
                  <a:lnTo>
                    <a:pt x="14" y="70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Freeform 36">
              <a:extLst>
                <a:ext uri="{FF2B5EF4-FFF2-40B4-BE49-F238E27FC236}">
                  <a16:creationId xmlns:a16="http://schemas.microsoft.com/office/drawing/2014/main" id="{FA4DAB51-C7DA-483D-BDF7-F3103C8509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94288" y="1025525"/>
              <a:ext cx="85725" cy="144463"/>
            </a:xfrm>
            <a:custGeom>
              <a:avLst/>
              <a:gdLst>
                <a:gd name="T0" fmla="*/ 0 w 80"/>
                <a:gd name="T1" fmla="*/ 31 h 136"/>
                <a:gd name="T2" fmla="*/ 20 w 80"/>
                <a:gd name="T3" fmla="*/ 31 h 136"/>
                <a:gd name="T4" fmla="*/ 20 w 80"/>
                <a:gd name="T5" fmla="*/ 0 h 136"/>
                <a:gd name="T6" fmla="*/ 46 w 80"/>
                <a:gd name="T7" fmla="*/ 0 h 136"/>
                <a:gd name="T8" fmla="*/ 46 w 80"/>
                <a:gd name="T9" fmla="*/ 31 h 136"/>
                <a:gd name="T10" fmla="*/ 77 w 80"/>
                <a:gd name="T11" fmla="*/ 31 h 136"/>
                <a:gd name="T12" fmla="*/ 77 w 80"/>
                <a:gd name="T13" fmla="*/ 54 h 136"/>
                <a:gd name="T14" fmla="*/ 46 w 80"/>
                <a:gd name="T15" fmla="*/ 54 h 136"/>
                <a:gd name="T16" fmla="*/ 46 w 80"/>
                <a:gd name="T17" fmla="*/ 95 h 136"/>
                <a:gd name="T18" fmla="*/ 50 w 80"/>
                <a:gd name="T19" fmla="*/ 108 h 136"/>
                <a:gd name="T20" fmla="*/ 59 w 80"/>
                <a:gd name="T21" fmla="*/ 112 h 136"/>
                <a:gd name="T22" fmla="*/ 64 w 80"/>
                <a:gd name="T23" fmla="*/ 111 h 136"/>
                <a:gd name="T24" fmla="*/ 67 w 80"/>
                <a:gd name="T25" fmla="*/ 110 h 136"/>
                <a:gd name="T26" fmla="*/ 70 w 80"/>
                <a:gd name="T27" fmla="*/ 108 h 136"/>
                <a:gd name="T28" fmla="*/ 80 w 80"/>
                <a:gd name="T29" fmla="*/ 129 h 136"/>
                <a:gd name="T30" fmla="*/ 73 w 80"/>
                <a:gd name="T31" fmla="*/ 132 h 136"/>
                <a:gd name="T32" fmla="*/ 65 w 80"/>
                <a:gd name="T33" fmla="*/ 135 h 136"/>
                <a:gd name="T34" fmla="*/ 55 w 80"/>
                <a:gd name="T35" fmla="*/ 136 h 136"/>
                <a:gd name="T36" fmla="*/ 41 w 80"/>
                <a:gd name="T37" fmla="*/ 133 h 136"/>
                <a:gd name="T38" fmla="*/ 30 w 80"/>
                <a:gd name="T39" fmla="*/ 126 h 136"/>
                <a:gd name="T40" fmla="*/ 23 w 80"/>
                <a:gd name="T41" fmla="*/ 114 h 136"/>
                <a:gd name="T42" fmla="*/ 20 w 80"/>
                <a:gd name="T43" fmla="*/ 100 h 136"/>
                <a:gd name="T44" fmla="*/ 20 w 80"/>
                <a:gd name="T45" fmla="*/ 54 h 136"/>
                <a:gd name="T46" fmla="*/ 0 w 80"/>
                <a:gd name="T47" fmla="*/ 54 h 136"/>
                <a:gd name="T48" fmla="*/ 0 w 80"/>
                <a:gd name="T49" fmla="*/ 31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0" h="136">
                  <a:moveTo>
                    <a:pt x="0" y="31"/>
                  </a:moveTo>
                  <a:cubicBezTo>
                    <a:pt x="20" y="31"/>
                    <a:pt x="20" y="31"/>
                    <a:pt x="20" y="31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77" y="31"/>
                    <a:pt x="77" y="31"/>
                    <a:pt x="77" y="31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46" y="54"/>
                    <a:pt x="46" y="54"/>
                    <a:pt x="46" y="54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6" y="102"/>
                    <a:pt x="47" y="106"/>
                    <a:pt x="50" y="108"/>
                  </a:cubicBezTo>
                  <a:cubicBezTo>
                    <a:pt x="53" y="110"/>
                    <a:pt x="56" y="112"/>
                    <a:pt x="59" y="112"/>
                  </a:cubicBezTo>
                  <a:cubicBezTo>
                    <a:pt x="61" y="112"/>
                    <a:pt x="62" y="111"/>
                    <a:pt x="64" y="111"/>
                  </a:cubicBezTo>
                  <a:cubicBezTo>
                    <a:pt x="65" y="111"/>
                    <a:pt x="66" y="110"/>
                    <a:pt x="67" y="110"/>
                  </a:cubicBezTo>
                  <a:cubicBezTo>
                    <a:pt x="68" y="109"/>
                    <a:pt x="69" y="109"/>
                    <a:pt x="70" y="108"/>
                  </a:cubicBezTo>
                  <a:cubicBezTo>
                    <a:pt x="80" y="129"/>
                    <a:pt x="80" y="129"/>
                    <a:pt x="80" y="129"/>
                  </a:cubicBezTo>
                  <a:cubicBezTo>
                    <a:pt x="78" y="130"/>
                    <a:pt x="76" y="132"/>
                    <a:pt x="73" y="132"/>
                  </a:cubicBezTo>
                  <a:cubicBezTo>
                    <a:pt x="71" y="133"/>
                    <a:pt x="68" y="134"/>
                    <a:pt x="65" y="135"/>
                  </a:cubicBezTo>
                  <a:cubicBezTo>
                    <a:pt x="62" y="136"/>
                    <a:pt x="59" y="136"/>
                    <a:pt x="55" y="136"/>
                  </a:cubicBezTo>
                  <a:cubicBezTo>
                    <a:pt x="50" y="136"/>
                    <a:pt x="46" y="135"/>
                    <a:pt x="41" y="133"/>
                  </a:cubicBezTo>
                  <a:cubicBezTo>
                    <a:pt x="37" y="132"/>
                    <a:pt x="33" y="129"/>
                    <a:pt x="30" y="126"/>
                  </a:cubicBezTo>
                  <a:cubicBezTo>
                    <a:pt x="27" y="123"/>
                    <a:pt x="24" y="119"/>
                    <a:pt x="23" y="114"/>
                  </a:cubicBezTo>
                  <a:cubicBezTo>
                    <a:pt x="21" y="110"/>
                    <a:pt x="20" y="105"/>
                    <a:pt x="20" y="100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0" y="54"/>
                    <a:pt x="0" y="54"/>
                    <a:pt x="0" y="54"/>
                  </a:cubicBezTo>
                  <a:lnTo>
                    <a:pt x="0" y="31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Freeform 37">
              <a:extLst>
                <a:ext uri="{FF2B5EF4-FFF2-40B4-BE49-F238E27FC236}">
                  <a16:creationId xmlns:a16="http://schemas.microsoft.com/office/drawing/2014/main" id="{58995B45-611D-4FC6-9BF1-9514A767C5B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00651" y="1055688"/>
              <a:ext cx="115888" cy="114300"/>
            </a:xfrm>
            <a:custGeom>
              <a:avLst/>
              <a:gdLst>
                <a:gd name="T0" fmla="*/ 76 w 109"/>
                <a:gd name="T1" fmla="*/ 4 h 108"/>
                <a:gd name="T2" fmla="*/ 93 w 109"/>
                <a:gd name="T3" fmla="*/ 16 h 108"/>
                <a:gd name="T4" fmla="*/ 105 w 109"/>
                <a:gd name="T5" fmla="*/ 33 h 108"/>
                <a:gd name="T6" fmla="*/ 109 w 109"/>
                <a:gd name="T7" fmla="*/ 54 h 108"/>
                <a:gd name="T8" fmla="*/ 105 w 109"/>
                <a:gd name="T9" fmla="*/ 75 h 108"/>
                <a:gd name="T10" fmla="*/ 93 w 109"/>
                <a:gd name="T11" fmla="*/ 92 h 108"/>
                <a:gd name="T12" fmla="*/ 76 w 109"/>
                <a:gd name="T13" fmla="*/ 104 h 108"/>
                <a:gd name="T14" fmla="*/ 55 w 109"/>
                <a:gd name="T15" fmla="*/ 108 h 108"/>
                <a:gd name="T16" fmla="*/ 33 w 109"/>
                <a:gd name="T17" fmla="*/ 104 h 108"/>
                <a:gd name="T18" fmla="*/ 16 w 109"/>
                <a:gd name="T19" fmla="*/ 92 h 108"/>
                <a:gd name="T20" fmla="*/ 4 w 109"/>
                <a:gd name="T21" fmla="*/ 75 h 108"/>
                <a:gd name="T22" fmla="*/ 0 w 109"/>
                <a:gd name="T23" fmla="*/ 54 h 108"/>
                <a:gd name="T24" fmla="*/ 4 w 109"/>
                <a:gd name="T25" fmla="*/ 33 h 108"/>
                <a:gd name="T26" fmla="*/ 16 w 109"/>
                <a:gd name="T27" fmla="*/ 16 h 108"/>
                <a:gd name="T28" fmla="*/ 33 w 109"/>
                <a:gd name="T29" fmla="*/ 4 h 108"/>
                <a:gd name="T30" fmla="*/ 55 w 109"/>
                <a:gd name="T31" fmla="*/ 0 h 108"/>
                <a:gd name="T32" fmla="*/ 76 w 109"/>
                <a:gd name="T33" fmla="*/ 4 h 108"/>
                <a:gd name="T34" fmla="*/ 66 w 109"/>
                <a:gd name="T35" fmla="*/ 81 h 108"/>
                <a:gd name="T36" fmla="*/ 75 w 109"/>
                <a:gd name="T37" fmla="*/ 75 h 108"/>
                <a:gd name="T38" fmla="*/ 81 w 109"/>
                <a:gd name="T39" fmla="*/ 65 h 108"/>
                <a:gd name="T40" fmla="*/ 83 w 109"/>
                <a:gd name="T41" fmla="*/ 54 h 108"/>
                <a:gd name="T42" fmla="*/ 81 w 109"/>
                <a:gd name="T43" fmla="*/ 42 h 108"/>
                <a:gd name="T44" fmla="*/ 75 w 109"/>
                <a:gd name="T45" fmla="*/ 33 h 108"/>
                <a:gd name="T46" fmla="*/ 66 w 109"/>
                <a:gd name="T47" fmla="*/ 27 h 108"/>
                <a:gd name="T48" fmla="*/ 55 w 109"/>
                <a:gd name="T49" fmla="*/ 24 h 108"/>
                <a:gd name="T50" fmla="*/ 43 w 109"/>
                <a:gd name="T51" fmla="*/ 27 h 108"/>
                <a:gd name="T52" fmla="*/ 34 w 109"/>
                <a:gd name="T53" fmla="*/ 33 h 108"/>
                <a:gd name="T54" fmla="*/ 28 w 109"/>
                <a:gd name="T55" fmla="*/ 42 h 108"/>
                <a:gd name="T56" fmla="*/ 26 w 109"/>
                <a:gd name="T57" fmla="*/ 54 h 108"/>
                <a:gd name="T58" fmla="*/ 28 w 109"/>
                <a:gd name="T59" fmla="*/ 65 h 108"/>
                <a:gd name="T60" fmla="*/ 34 w 109"/>
                <a:gd name="T61" fmla="*/ 75 h 108"/>
                <a:gd name="T62" fmla="*/ 43 w 109"/>
                <a:gd name="T63" fmla="*/ 81 h 108"/>
                <a:gd name="T64" fmla="*/ 55 w 109"/>
                <a:gd name="T65" fmla="*/ 84 h 108"/>
                <a:gd name="T66" fmla="*/ 66 w 109"/>
                <a:gd name="T67" fmla="*/ 8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" h="108">
                  <a:moveTo>
                    <a:pt x="76" y="4"/>
                  </a:moveTo>
                  <a:cubicBezTo>
                    <a:pt x="83" y="7"/>
                    <a:pt x="88" y="11"/>
                    <a:pt x="93" y="16"/>
                  </a:cubicBezTo>
                  <a:cubicBezTo>
                    <a:pt x="98" y="21"/>
                    <a:pt x="102" y="26"/>
                    <a:pt x="105" y="33"/>
                  </a:cubicBezTo>
                  <a:cubicBezTo>
                    <a:pt x="108" y="39"/>
                    <a:pt x="109" y="46"/>
                    <a:pt x="109" y="54"/>
                  </a:cubicBezTo>
                  <a:cubicBezTo>
                    <a:pt x="109" y="61"/>
                    <a:pt x="108" y="69"/>
                    <a:pt x="105" y="75"/>
                  </a:cubicBezTo>
                  <a:cubicBezTo>
                    <a:pt x="102" y="82"/>
                    <a:pt x="98" y="87"/>
                    <a:pt x="93" y="92"/>
                  </a:cubicBezTo>
                  <a:cubicBezTo>
                    <a:pt x="88" y="97"/>
                    <a:pt x="83" y="101"/>
                    <a:pt x="76" y="104"/>
                  </a:cubicBezTo>
                  <a:cubicBezTo>
                    <a:pt x="69" y="106"/>
                    <a:pt x="62" y="108"/>
                    <a:pt x="55" y="108"/>
                  </a:cubicBezTo>
                  <a:cubicBezTo>
                    <a:pt x="47" y="108"/>
                    <a:pt x="40" y="106"/>
                    <a:pt x="33" y="104"/>
                  </a:cubicBezTo>
                  <a:cubicBezTo>
                    <a:pt x="26" y="101"/>
                    <a:pt x="21" y="97"/>
                    <a:pt x="16" y="92"/>
                  </a:cubicBezTo>
                  <a:cubicBezTo>
                    <a:pt x="11" y="87"/>
                    <a:pt x="7" y="82"/>
                    <a:pt x="4" y="75"/>
                  </a:cubicBezTo>
                  <a:cubicBezTo>
                    <a:pt x="1" y="69"/>
                    <a:pt x="0" y="61"/>
                    <a:pt x="0" y="54"/>
                  </a:cubicBezTo>
                  <a:cubicBezTo>
                    <a:pt x="0" y="46"/>
                    <a:pt x="1" y="39"/>
                    <a:pt x="4" y="33"/>
                  </a:cubicBezTo>
                  <a:cubicBezTo>
                    <a:pt x="7" y="26"/>
                    <a:pt x="11" y="21"/>
                    <a:pt x="16" y="16"/>
                  </a:cubicBezTo>
                  <a:cubicBezTo>
                    <a:pt x="21" y="11"/>
                    <a:pt x="26" y="7"/>
                    <a:pt x="33" y="4"/>
                  </a:cubicBezTo>
                  <a:cubicBezTo>
                    <a:pt x="40" y="1"/>
                    <a:pt x="47" y="0"/>
                    <a:pt x="55" y="0"/>
                  </a:cubicBezTo>
                  <a:cubicBezTo>
                    <a:pt x="62" y="0"/>
                    <a:pt x="69" y="1"/>
                    <a:pt x="76" y="4"/>
                  </a:cubicBezTo>
                  <a:close/>
                  <a:moveTo>
                    <a:pt x="66" y="81"/>
                  </a:moveTo>
                  <a:cubicBezTo>
                    <a:pt x="70" y="80"/>
                    <a:pt x="73" y="77"/>
                    <a:pt x="75" y="75"/>
                  </a:cubicBezTo>
                  <a:cubicBezTo>
                    <a:pt x="78" y="72"/>
                    <a:pt x="80" y="69"/>
                    <a:pt x="81" y="65"/>
                  </a:cubicBezTo>
                  <a:cubicBezTo>
                    <a:pt x="82" y="62"/>
                    <a:pt x="83" y="58"/>
                    <a:pt x="83" y="54"/>
                  </a:cubicBezTo>
                  <a:cubicBezTo>
                    <a:pt x="83" y="50"/>
                    <a:pt x="82" y="46"/>
                    <a:pt x="81" y="42"/>
                  </a:cubicBezTo>
                  <a:cubicBezTo>
                    <a:pt x="80" y="39"/>
                    <a:pt x="78" y="36"/>
                    <a:pt x="75" y="33"/>
                  </a:cubicBezTo>
                  <a:cubicBezTo>
                    <a:pt x="73" y="30"/>
                    <a:pt x="70" y="28"/>
                    <a:pt x="66" y="27"/>
                  </a:cubicBezTo>
                  <a:cubicBezTo>
                    <a:pt x="63" y="25"/>
                    <a:pt x="59" y="24"/>
                    <a:pt x="55" y="24"/>
                  </a:cubicBezTo>
                  <a:cubicBezTo>
                    <a:pt x="50" y="24"/>
                    <a:pt x="46" y="25"/>
                    <a:pt x="43" y="27"/>
                  </a:cubicBezTo>
                  <a:cubicBezTo>
                    <a:pt x="39" y="28"/>
                    <a:pt x="36" y="30"/>
                    <a:pt x="34" y="33"/>
                  </a:cubicBezTo>
                  <a:cubicBezTo>
                    <a:pt x="31" y="36"/>
                    <a:pt x="29" y="39"/>
                    <a:pt x="28" y="42"/>
                  </a:cubicBezTo>
                  <a:cubicBezTo>
                    <a:pt x="27" y="46"/>
                    <a:pt x="26" y="50"/>
                    <a:pt x="26" y="54"/>
                  </a:cubicBezTo>
                  <a:cubicBezTo>
                    <a:pt x="26" y="58"/>
                    <a:pt x="27" y="62"/>
                    <a:pt x="28" y="65"/>
                  </a:cubicBezTo>
                  <a:cubicBezTo>
                    <a:pt x="29" y="69"/>
                    <a:pt x="31" y="72"/>
                    <a:pt x="34" y="75"/>
                  </a:cubicBezTo>
                  <a:cubicBezTo>
                    <a:pt x="36" y="77"/>
                    <a:pt x="39" y="80"/>
                    <a:pt x="43" y="81"/>
                  </a:cubicBezTo>
                  <a:cubicBezTo>
                    <a:pt x="46" y="83"/>
                    <a:pt x="50" y="84"/>
                    <a:pt x="55" y="84"/>
                  </a:cubicBezTo>
                  <a:cubicBezTo>
                    <a:pt x="59" y="84"/>
                    <a:pt x="63" y="83"/>
                    <a:pt x="66" y="81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Freeform 38">
              <a:extLst>
                <a:ext uri="{FF2B5EF4-FFF2-40B4-BE49-F238E27FC236}">
                  <a16:creationId xmlns:a16="http://schemas.microsoft.com/office/drawing/2014/main" id="{F7C5BF45-0B1F-4E53-8168-1441ED38A9B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81626" y="1006475"/>
              <a:ext cx="153988" cy="160338"/>
            </a:xfrm>
            <a:custGeom>
              <a:avLst/>
              <a:gdLst>
                <a:gd name="T0" fmla="*/ 18 w 97"/>
                <a:gd name="T1" fmla="*/ 101 h 101"/>
                <a:gd name="T2" fmla="*/ 0 w 97"/>
                <a:gd name="T3" fmla="*/ 101 h 101"/>
                <a:gd name="T4" fmla="*/ 40 w 97"/>
                <a:gd name="T5" fmla="*/ 0 h 101"/>
                <a:gd name="T6" fmla="*/ 57 w 97"/>
                <a:gd name="T7" fmla="*/ 0 h 101"/>
                <a:gd name="T8" fmla="*/ 97 w 97"/>
                <a:gd name="T9" fmla="*/ 101 h 101"/>
                <a:gd name="T10" fmla="*/ 79 w 97"/>
                <a:gd name="T11" fmla="*/ 101 h 101"/>
                <a:gd name="T12" fmla="*/ 70 w 97"/>
                <a:gd name="T13" fmla="*/ 77 h 101"/>
                <a:gd name="T14" fmla="*/ 27 w 97"/>
                <a:gd name="T15" fmla="*/ 77 h 101"/>
                <a:gd name="T16" fmla="*/ 18 w 97"/>
                <a:gd name="T17" fmla="*/ 101 h 101"/>
                <a:gd name="T18" fmla="*/ 64 w 97"/>
                <a:gd name="T19" fmla="*/ 62 h 101"/>
                <a:gd name="T20" fmla="*/ 49 w 97"/>
                <a:gd name="T21" fmla="*/ 21 h 101"/>
                <a:gd name="T22" fmla="*/ 33 w 97"/>
                <a:gd name="T23" fmla="*/ 62 h 101"/>
                <a:gd name="T24" fmla="*/ 64 w 97"/>
                <a:gd name="T25" fmla="*/ 62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7" h="101">
                  <a:moveTo>
                    <a:pt x="18" y="101"/>
                  </a:moveTo>
                  <a:lnTo>
                    <a:pt x="0" y="101"/>
                  </a:lnTo>
                  <a:lnTo>
                    <a:pt x="40" y="0"/>
                  </a:lnTo>
                  <a:lnTo>
                    <a:pt x="57" y="0"/>
                  </a:lnTo>
                  <a:lnTo>
                    <a:pt x="97" y="101"/>
                  </a:lnTo>
                  <a:lnTo>
                    <a:pt x="79" y="101"/>
                  </a:lnTo>
                  <a:lnTo>
                    <a:pt x="70" y="77"/>
                  </a:lnTo>
                  <a:lnTo>
                    <a:pt x="27" y="77"/>
                  </a:lnTo>
                  <a:lnTo>
                    <a:pt x="18" y="101"/>
                  </a:lnTo>
                  <a:close/>
                  <a:moveTo>
                    <a:pt x="64" y="62"/>
                  </a:moveTo>
                  <a:lnTo>
                    <a:pt x="49" y="21"/>
                  </a:lnTo>
                  <a:lnTo>
                    <a:pt x="33" y="62"/>
                  </a:lnTo>
                  <a:lnTo>
                    <a:pt x="64" y="62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Freeform 39">
              <a:extLst>
                <a:ext uri="{FF2B5EF4-FFF2-40B4-BE49-F238E27FC236}">
                  <a16:creationId xmlns:a16="http://schemas.microsoft.com/office/drawing/2014/main" id="{767F1B17-5AC2-4C7D-971B-E11790DCC1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59426" y="1058863"/>
              <a:ext cx="100013" cy="111125"/>
            </a:xfrm>
            <a:custGeom>
              <a:avLst/>
              <a:gdLst>
                <a:gd name="T0" fmla="*/ 24 w 93"/>
                <a:gd name="T1" fmla="*/ 102 h 105"/>
                <a:gd name="T2" fmla="*/ 12 w 93"/>
                <a:gd name="T3" fmla="*/ 95 h 105"/>
                <a:gd name="T4" fmla="*/ 3 w 93"/>
                <a:gd name="T5" fmla="*/ 83 h 105"/>
                <a:gd name="T6" fmla="*/ 0 w 93"/>
                <a:gd name="T7" fmla="*/ 66 h 105"/>
                <a:gd name="T8" fmla="*/ 0 w 93"/>
                <a:gd name="T9" fmla="*/ 0 h 105"/>
                <a:gd name="T10" fmla="*/ 26 w 93"/>
                <a:gd name="T11" fmla="*/ 0 h 105"/>
                <a:gd name="T12" fmla="*/ 26 w 93"/>
                <a:gd name="T13" fmla="*/ 59 h 105"/>
                <a:gd name="T14" fmla="*/ 31 w 93"/>
                <a:gd name="T15" fmla="*/ 76 h 105"/>
                <a:gd name="T16" fmla="*/ 47 w 93"/>
                <a:gd name="T17" fmla="*/ 81 h 105"/>
                <a:gd name="T18" fmla="*/ 56 w 93"/>
                <a:gd name="T19" fmla="*/ 79 h 105"/>
                <a:gd name="T20" fmla="*/ 62 w 93"/>
                <a:gd name="T21" fmla="*/ 74 h 105"/>
                <a:gd name="T22" fmla="*/ 67 w 93"/>
                <a:gd name="T23" fmla="*/ 68 h 105"/>
                <a:gd name="T24" fmla="*/ 67 w 93"/>
                <a:gd name="T25" fmla="*/ 0 h 105"/>
                <a:gd name="T26" fmla="*/ 93 w 93"/>
                <a:gd name="T27" fmla="*/ 0 h 105"/>
                <a:gd name="T28" fmla="*/ 93 w 93"/>
                <a:gd name="T29" fmla="*/ 102 h 105"/>
                <a:gd name="T30" fmla="*/ 69 w 93"/>
                <a:gd name="T31" fmla="*/ 102 h 105"/>
                <a:gd name="T32" fmla="*/ 69 w 93"/>
                <a:gd name="T33" fmla="*/ 87 h 105"/>
                <a:gd name="T34" fmla="*/ 61 w 93"/>
                <a:gd name="T35" fmla="*/ 96 h 105"/>
                <a:gd name="T36" fmla="*/ 52 w 93"/>
                <a:gd name="T37" fmla="*/ 102 h 105"/>
                <a:gd name="T38" fmla="*/ 38 w 93"/>
                <a:gd name="T39" fmla="*/ 105 h 105"/>
                <a:gd name="T40" fmla="*/ 24 w 93"/>
                <a:gd name="T41" fmla="*/ 102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" h="105">
                  <a:moveTo>
                    <a:pt x="24" y="102"/>
                  </a:moveTo>
                  <a:cubicBezTo>
                    <a:pt x="19" y="101"/>
                    <a:pt x="15" y="98"/>
                    <a:pt x="12" y="95"/>
                  </a:cubicBezTo>
                  <a:cubicBezTo>
                    <a:pt x="8" y="91"/>
                    <a:pt x="6" y="87"/>
                    <a:pt x="3" y="83"/>
                  </a:cubicBezTo>
                  <a:cubicBezTo>
                    <a:pt x="1" y="78"/>
                    <a:pt x="0" y="72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7"/>
                    <a:pt x="28" y="72"/>
                    <a:pt x="31" y="76"/>
                  </a:cubicBezTo>
                  <a:cubicBezTo>
                    <a:pt x="35" y="79"/>
                    <a:pt x="40" y="81"/>
                    <a:pt x="47" y="81"/>
                  </a:cubicBezTo>
                  <a:cubicBezTo>
                    <a:pt x="50" y="81"/>
                    <a:pt x="53" y="80"/>
                    <a:pt x="56" y="79"/>
                  </a:cubicBezTo>
                  <a:cubicBezTo>
                    <a:pt x="58" y="77"/>
                    <a:pt x="60" y="76"/>
                    <a:pt x="62" y="74"/>
                  </a:cubicBezTo>
                  <a:cubicBezTo>
                    <a:pt x="64" y="72"/>
                    <a:pt x="66" y="70"/>
                    <a:pt x="67" y="68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69" y="102"/>
                    <a:pt x="69" y="102"/>
                    <a:pt x="69" y="102"/>
                  </a:cubicBezTo>
                  <a:cubicBezTo>
                    <a:pt x="69" y="87"/>
                    <a:pt x="69" y="87"/>
                    <a:pt x="69" y="87"/>
                  </a:cubicBezTo>
                  <a:cubicBezTo>
                    <a:pt x="67" y="91"/>
                    <a:pt x="64" y="94"/>
                    <a:pt x="61" y="96"/>
                  </a:cubicBezTo>
                  <a:cubicBezTo>
                    <a:pt x="59" y="98"/>
                    <a:pt x="56" y="100"/>
                    <a:pt x="52" y="102"/>
                  </a:cubicBezTo>
                  <a:cubicBezTo>
                    <a:pt x="48" y="104"/>
                    <a:pt x="43" y="105"/>
                    <a:pt x="38" y="105"/>
                  </a:cubicBezTo>
                  <a:cubicBezTo>
                    <a:pt x="33" y="105"/>
                    <a:pt x="28" y="104"/>
                    <a:pt x="24" y="102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Freeform 40">
              <a:extLst>
                <a:ext uri="{FF2B5EF4-FFF2-40B4-BE49-F238E27FC236}">
                  <a16:creationId xmlns:a16="http://schemas.microsoft.com/office/drawing/2014/main" id="{4763BC45-BB15-4154-B84B-587968F445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89601" y="1055688"/>
              <a:ext cx="98425" cy="114300"/>
            </a:xfrm>
            <a:custGeom>
              <a:avLst/>
              <a:gdLst>
                <a:gd name="T0" fmla="*/ 15 w 92"/>
                <a:gd name="T1" fmla="*/ 70 h 108"/>
                <a:gd name="T2" fmla="*/ 24 w 92"/>
                <a:gd name="T3" fmla="*/ 78 h 108"/>
                <a:gd name="T4" fmla="*/ 34 w 92"/>
                <a:gd name="T5" fmla="*/ 83 h 108"/>
                <a:gd name="T6" fmla="*/ 46 w 92"/>
                <a:gd name="T7" fmla="*/ 85 h 108"/>
                <a:gd name="T8" fmla="*/ 60 w 92"/>
                <a:gd name="T9" fmla="*/ 83 h 108"/>
                <a:gd name="T10" fmla="*/ 65 w 92"/>
                <a:gd name="T11" fmla="*/ 76 h 108"/>
                <a:gd name="T12" fmla="*/ 61 w 92"/>
                <a:gd name="T13" fmla="*/ 69 h 108"/>
                <a:gd name="T14" fmla="*/ 45 w 92"/>
                <a:gd name="T15" fmla="*/ 65 h 108"/>
                <a:gd name="T16" fmla="*/ 30 w 92"/>
                <a:gd name="T17" fmla="*/ 60 h 108"/>
                <a:gd name="T18" fmla="*/ 18 w 92"/>
                <a:gd name="T19" fmla="*/ 54 h 108"/>
                <a:gd name="T20" fmla="*/ 10 w 92"/>
                <a:gd name="T21" fmla="*/ 45 h 108"/>
                <a:gd name="T22" fmla="*/ 7 w 92"/>
                <a:gd name="T23" fmla="*/ 32 h 108"/>
                <a:gd name="T24" fmla="*/ 10 w 92"/>
                <a:gd name="T25" fmla="*/ 20 h 108"/>
                <a:gd name="T26" fmla="*/ 18 w 92"/>
                <a:gd name="T27" fmla="*/ 10 h 108"/>
                <a:gd name="T28" fmla="*/ 32 w 92"/>
                <a:gd name="T29" fmla="*/ 3 h 108"/>
                <a:gd name="T30" fmla="*/ 51 w 92"/>
                <a:gd name="T31" fmla="*/ 0 h 108"/>
                <a:gd name="T32" fmla="*/ 67 w 92"/>
                <a:gd name="T33" fmla="*/ 2 h 108"/>
                <a:gd name="T34" fmla="*/ 79 w 92"/>
                <a:gd name="T35" fmla="*/ 6 h 108"/>
                <a:gd name="T36" fmla="*/ 90 w 92"/>
                <a:gd name="T37" fmla="*/ 13 h 108"/>
                <a:gd name="T38" fmla="*/ 77 w 92"/>
                <a:gd name="T39" fmla="*/ 32 h 108"/>
                <a:gd name="T40" fmla="*/ 69 w 92"/>
                <a:gd name="T41" fmla="*/ 27 h 108"/>
                <a:gd name="T42" fmla="*/ 61 w 92"/>
                <a:gd name="T43" fmla="*/ 24 h 108"/>
                <a:gd name="T44" fmla="*/ 51 w 92"/>
                <a:gd name="T45" fmla="*/ 23 h 108"/>
                <a:gd name="T46" fmla="*/ 38 w 92"/>
                <a:gd name="T47" fmla="*/ 25 h 108"/>
                <a:gd name="T48" fmla="*/ 32 w 92"/>
                <a:gd name="T49" fmla="*/ 33 h 108"/>
                <a:gd name="T50" fmla="*/ 38 w 92"/>
                <a:gd name="T51" fmla="*/ 39 h 108"/>
                <a:gd name="T52" fmla="*/ 57 w 92"/>
                <a:gd name="T53" fmla="*/ 44 h 108"/>
                <a:gd name="T54" fmla="*/ 71 w 92"/>
                <a:gd name="T55" fmla="*/ 48 h 108"/>
                <a:gd name="T56" fmla="*/ 82 w 92"/>
                <a:gd name="T57" fmla="*/ 54 h 108"/>
                <a:gd name="T58" fmla="*/ 89 w 92"/>
                <a:gd name="T59" fmla="*/ 63 h 108"/>
                <a:gd name="T60" fmla="*/ 92 w 92"/>
                <a:gd name="T61" fmla="*/ 76 h 108"/>
                <a:gd name="T62" fmla="*/ 88 w 92"/>
                <a:gd name="T63" fmla="*/ 89 h 108"/>
                <a:gd name="T64" fmla="*/ 79 w 92"/>
                <a:gd name="T65" fmla="*/ 99 h 108"/>
                <a:gd name="T66" fmla="*/ 65 w 92"/>
                <a:gd name="T67" fmla="*/ 105 h 108"/>
                <a:gd name="T68" fmla="*/ 47 w 92"/>
                <a:gd name="T69" fmla="*/ 108 h 108"/>
                <a:gd name="T70" fmla="*/ 27 w 92"/>
                <a:gd name="T71" fmla="*/ 105 h 108"/>
                <a:gd name="T72" fmla="*/ 12 w 92"/>
                <a:gd name="T73" fmla="*/ 99 h 108"/>
                <a:gd name="T74" fmla="*/ 0 w 92"/>
                <a:gd name="T75" fmla="*/ 89 h 108"/>
                <a:gd name="T76" fmla="*/ 15 w 92"/>
                <a:gd name="T77" fmla="*/ 7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2" h="108">
                  <a:moveTo>
                    <a:pt x="15" y="70"/>
                  </a:moveTo>
                  <a:cubicBezTo>
                    <a:pt x="18" y="73"/>
                    <a:pt x="21" y="76"/>
                    <a:pt x="24" y="78"/>
                  </a:cubicBezTo>
                  <a:cubicBezTo>
                    <a:pt x="27" y="80"/>
                    <a:pt x="30" y="81"/>
                    <a:pt x="34" y="83"/>
                  </a:cubicBezTo>
                  <a:cubicBezTo>
                    <a:pt x="37" y="84"/>
                    <a:pt x="41" y="85"/>
                    <a:pt x="46" y="85"/>
                  </a:cubicBezTo>
                  <a:cubicBezTo>
                    <a:pt x="51" y="85"/>
                    <a:pt x="56" y="84"/>
                    <a:pt x="60" y="83"/>
                  </a:cubicBezTo>
                  <a:cubicBezTo>
                    <a:pt x="63" y="81"/>
                    <a:pt x="65" y="79"/>
                    <a:pt x="65" y="76"/>
                  </a:cubicBezTo>
                  <a:cubicBezTo>
                    <a:pt x="65" y="73"/>
                    <a:pt x="64" y="70"/>
                    <a:pt x="61" y="69"/>
                  </a:cubicBezTo>
                  <a:cubicBezTo>
                    <a:pt x="58" y="68"/>
                    <a:pt x="53" y="66"/>
                    <a:pt x="45" y="65"/>
                  </a:cubicBezTo>
                  <a:cubicBezTo>
                    <a:pt x="40" y="63"/>
                    <a:pt x="35" y="62"/>
                    <a:pt x="30" y="60"/>
                  </a:cubicBezTo>
                  <a:cubicBezTo>
                    <a:pt x="26" y="59"/>
                    <a:pt x="22" y="57"/>
                    <a:pt x="18" y="54"/>
                  </a:cubicBezTo>
                  <a:cubicBezTo>
                    <a:pt x="15" y="51"/>
                    <a:pt x="12" y="48"/>
                    <a:pt x="10" y="45"/>
                  </a:cubicBezTo>
                  <a:cubicBezTo>
                    <a:pt x="8" y="41"/>
                    <a:pt x="7" y="37"/>
                    <a:pt x="7" y="32"/>
                  </a:cubicBezTo>
                  <a:cubicBezTo>
                    <a:pt x="7" y="28"/>
                    <a:pt x="8" y="24"/>
                    <a:pt x="10" y="20"/>
                  </a:cubicBezTo>
                  <a:cubicBezTo>
                    <a:pt x="12" y="16"/>
                    <a:pt x="15" y="13"/>
                    <a:pt x="18" y="10"/>
                  </a:cubicBezTo>
                  <a:cubicBezTo>
                    <a:pt x="22" y="7"/>
                    <a:pt x="27" y="5"/>
                    <a:pt x="32" y="3"/>
                  </a:cubicBezTo>
                  <a:cubicBezTo>
                    <a:pt x="38" y="1"/>
                    <a:pt x="44" y="0"/>
                    <a:pt x="51" y="0"/>
                  </a:cubicBezTo>
                  <a:cubicBezTo>
                    <a:pt x="57" y="0"/>
                    <a:pt x="62" y="1"/>
                    <a:pt x="67" y="2"/>
                  </a:cubicBezTo>
                  <a:cubicBezTo>
                    <a:pt x="72" y="3"/>
                    <a:pt x="76" y="5"/>
                    <a:pt x="79" y="6"/>
                  </a:cubicBezTo>
                  <a:cubicBezTo>
                    <a:pt x="83" y="8"/>
                    <a:pt x="87" y="10"/>
                    <a:pt x="90" y="13"/>
                  </a:cubicBezTo>
                  <a:cubicBezTo>
                    <a:pt x="77" y="32"/>
                    <a:pt x="77" y="32"/>
                    <a:pt x="77" y="32"/>
                  </a:cubicBezTo>
                  <a:cubicBezTo>
                    <a:pt x="74" y="30"/>
                    <a:pt x="72" y="29"/>
                    <a:pt x="69" y="27"/>
                  </a:cubicBezTo>
                  <a:cubicBezTo>
                    <a:pt x="67" y="26"/>
                    <a:pt x="64" y="25"/>
                    <a:pt x="61" y="24"/>
                  </a:cubicBezTo>
                  <a:cubicBezTo>
                    <a:pt x="58" y="23"/>
                    <a:pt x="54" y="23"/>
                    <a:pt x="51" y="23"/>
                  </a:cubicBezTo>
                  <a:cubicBezTo>
                    <a:pt x="46" y="23"/>
                    <a:pt x="42" y="24"/>
                    <a:pt x="38" y="25"/>
                  </a:cubicBezTo>
                  <a:cubicBezTo>
                    <a:pt x="34" y="27"/>
                    <a:pt x="32" y="29"/>
                    <a:pt x="32" y="33"/>
                  </a:cubicBezTo>
                  <a:cubicBezTo>
                    <a:pt x="32" y="36"/>
                    <a:pt x="34" y="38"/>
                    <a:pt x="38" y="39"/>
                  </a:cubicBezTo>
                  <a:cubicBezTo>
                    <a:pt x="42" y="41"/>
                    <a:pt x="48" y="42"/>
                    <a:pt x="57" y="44"/>
                  </a:cubicBezTo>
                  <a:cubicBezTo>
                    <a:pt x="62" y="45"/>
                    <a:pt x="66" y="46"/>
                    <a:pt x="71" y="48"/>
                  </a:cubicBezTo>
                  <a:cubicBezTo>
                    <a:pt x="75" y="49"/>
                    <a:pt x="79" y="51"/>
                    <a:pt x="82" y="54"/>
                  </a:cubicBezTo>
                  <a:cubicBezTo>
                    <a:pt x="85" y="56"/>
                    <a:pt x="87" y="59"/>
                    <a:pt x="89" y="63"/>
                  </a:cubicBezTo>
                  <a:cubicBezTo>
                    <a:pt x="91" y="66"/>
                    <a:pt x="92" y="71"/>
                    <a:pt x="92" y="76"/>
                  </a:cubicBezTo>
                  <a:cubicBezTo>
                    <a:pt x="92" y="81"/>
                    <a:pt x="90" y="85"/>
                    <a:pt x="88" y="89"/>
                  </a:cubicBezTo>
                  <a:cubicBezTo>
                    <a:pt x="86" y="93"/>
                    <a:pt x="83" y="96"/>
                    <a:pt x="79" y="99"/>
                  </a:cubicBezTo>
                  <a:cubicBezTo>
                    <a:pt x="75" y="101"/>
                    <a:pt x="70" y="104"/>
                    <a:pt x="65" y="105"/>
                  </a:cubicBezTo>
                  <a:cubicBezTo>
                    <a:pt x="59" y="107"/>
                    <a:pt x="53" y="108"/>
                    <a:pt x="47" y="108"/>
                  </a:cubicBezTo>
                  <a:cubicBezTo>
                    <a:pt x="39" y="108"/>
                    <a:pt x="33" y="107"/>
                    <a:pt x="27" y="105"/>
                  </a:cubicBezTo>
                  <a:cubicBezTo>
                    <a:pt x="21" y="103"/>
                    <a:pt x="16" y="101"/>
                    <a:pt x="12" y="99"/>
                  </a:cubicBezTo>
                  <a:cubicBezTo>
                    <a:pt x="8" y="96"/>
                    <a:pt x="4" y="93"/>
                    <a:pt x="0" y="89"/>
                  </a:cubicBezTo>
                  <a:lnTo>
                    <a:pt x="15" y="70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Freeform 41">
              <a:extLst>
                <a:ext uri="{FF2B5EF4-FFF2-40B4-BE49-F238E27FC236}">
                  <a16:creationId xmlns:a16="http://schemas.microsoft.com/office/drawing/2014/main" id="{CF423C5F-6CB0-4072-B978-3D0C263B55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10251" y="1025525"/>
              <a:ext cx="85725" cy="144463"/>
            </a:xfrm>
            <a:custGeom>
              <a:avLst/>
              <a:gdLst>
                <a:gd name="T0" fmla="*/ 0 w 80"/>
                <a:gd name="T1" fmla="*/ 31 h 136"/>
                <a:gd name="T2" fmla="*/ 20 w 80"/>
                <a:gd name="T3" fmla="*/ 31 h 136"/>
                <a:gd name="T4" fmla="*/ 20 w 80"/>
                <a:gd name="T5" fmla="*/ 0 h 136"/>
                <a:gd name="T6" fmla="*/ 46 w 80"/>
                <a:gd name="T7" fmla="*/ 0 h 136"/>
                <a:gd name="T8" fmla="*/ 46 w 80"/>
                <a:gd name="T9" fmla="*/ 31 h 136"/>
                <a:gd name="T10" fmla="*/ 77 w 80"/>
                <a:gd name="T11" fmla="*/ 31 h 136"/>
                <a:gd name="T12" fmla="*/ 77 w 80"/>
                <a:gd name="T13" fmla="*/ 54 h 136"/>
                <a:gd name="T14" fmla="*/ 46 w 80"/>
                <a:gd name="T15" fmla="*/ 54 h 136"/>
                <a:gd name="T16" fmla="*/ 46 w 80"/>
                <a:gd name="T17" fmla="*/ 95 h 136"/>
                <a:gd name="T18" fmla="*/ 50 w 80"/>
                <a:gd name="T19" fmla="*/ 108 h 136"/>
                <a:gd name="T20" fmla="*/ 60 w 80"/>
                <a:gd name="T21" fmla="*/ 112 h 136"/>
                <a:gd name="T22" fmla="*/ 64 w 80"/>
                <a:gd name="T23" fmla="*/ 111 h 136"/>
                <a:gd name="T24" fmla="*/ 67 w 80"/>
                <a:gd name="T25" fmla="*/ 110 h 136"/>
                <a:gd name="T26" fmla="*/ 71 w 80"/>
                <a:gd name="T27" fmla="*/ 108 h 136"/>
                <a:gd name="T28" fmla="*/ 80 w 80"/>
                <a:gd name="T29" fmla="*/ 129 h 136"/>
                <a:gd name="T30" fmla="*/ 73 w 80"/>
                <a:gd name="T31" fmla="*/ 132 h 136"/>
                <a:gd name="T32" fmla="*/ 66 w 80"/>
                <a:gd name="T33" fmla="*/ 135 h 136"/>
                <a:gd name="T34" fmla="*/ 55 w 80"/>
                <a:gd name="T35" fmla="*/ 136 h 136"/>
                <a:gd name="T36" fmla="*/ 42 w 80"/>
                <a:gd name="T37" fmla="*/ 133 h 136"/>
                <a:gd name="T38" fmla="*/ 30 w 80"/>
                <a:gd name="T39" fmla="*/ 126 h 136"/>
                <a:gd name="T40" fmla="*/ 23 w 80"/>
                <a:gd name="T41" fmla="*/ 114 h 136"/>
                <a:gd name="T42" fmla="*/ 20 w 80"/>
                <a:gd name="T43" fmla="*/ 100 h 136"/>
                <a:gd name="T44" fmla="*/ 20 w 80"/>
                <a:gd name="T45" fmla="*/ 54 h 136"/>
                <a:gd name="T46" fmla="*/ 0 w 80"/>
                <a:gd name="T47" fmla="*/ 54 h 136"/>
                <a:gd name="T48" fmla="*/ 0 w 80"/>
                <a:gd name="T49" fmla="*/ 31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0" h="136">
                  <a:moveTo>
                    <a:pt x="0" y="31"/>
                  </a:moveTo>
                  <a:cubicBezTo>
                    <a:pt x="20" y="31"/>
                    <a:pt x="20" y="31"/>
                    <a:pt x="20" y="31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77" y="31"/>
                    <a:pt x="77" y="31"/>
                    <a:pt x="77" y="31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46" y="54"/>
                    <a:pt x="46" y="54"/>
                    <a:pt x="46" y="54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6" y="102"/>
                    <a:pt x="48" y="106"/>
                    <a:pt x="50" y="108"/>
                  </a:cubicBezTo>
                  <a:cubicBezTo>
                    <a:pt x="53" y="110"/>
                    <a:pt x="56" y="112"/>
                    <a:pt x="60" y="112"/>
                  </a:cubicBezTo>
                  <a:cubicBezTo>
                    <a:pt x="61" y="112"/>
                    <a:pt x="63" y="111"/>
                    <a:pt x="64" y="111"/>
                  </a:cubicBezTo>
                  <a:cubicBezTo>
                    <a:pt x="65" y="111"/>
                    <a:pt x="66" y="110"/>
                    <a:pt x="67" y="110"/>
                  </a:cubicBezTo>
                  <a:cubicBezTo>
                    <a:pt x="68" y="109"/>
                    <a:pt x="70" y="109"/>
                    <a:pt x="71" y="108"/>
                  </a:cubicBezTo>
                  <a:cubicBezTo>
                    <a:pt x="80" y="129"/>
                    <a:pt x="80" y="129"/>
                    <a:pt x="80" y="129"/>
                  </a:cubicBezTo>
                  <a:cubicBezTo>
                    <a:pt x="78" y="130"/>
                    <a:pt x="76" y="132"/>
                    <a:pt x="73" y="132"/>
                  </a:cubicBezTo>
                  <a:cubicBezTo>
                    <a:pt x="71" y="133"/>
                    <a:pt x="69" y="134"/>
                    <a:pt x="66" y="135"/>
                  </a:cubicBezTo>
                  <a:cubicBezTo>
                    <a:pt x="63" y="136"/>
                    <a:pt x="59" y="136"/>
                    <a:pt x="55" y="136"/>
                  </a:cubicBezTo>
                  <a:cubicBezTo>
                    <a:pt x="51" y="136"/>
                    <a:pt x="46" y="135"/>
                    <a:pt x="42" y="133"/>
                  </a:cubicBezTo>
                  <a:cubicBezTo>
                    <a:pt x="37" y="132"/>
                    <a:pt x="34" y="129"/>
                    <a:pt x="30" y="126"/>
                  </a:cubicBezTo>
                  <a:cubicBezTo>
                    <a:pt x="27" y="123"/>
                    <a:pt x="25" y="119"/>
                    <a:pt x="23" y="114"/>
                  </a:cubicBezTo>
                  <a:cubicBezTo>
                    <a:pt x="21" y="110"/>
                    <a:pt x="20" y="105"/>
                    <a:pt x="20" y="100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0" y="54"/>
                    <a:pt x="0" y="54"/>
                    <a:pt x="0" y="54"/>
                  </a:cubicBezTo>
                  <a:lnTo>
                    <a:pt x="0" y="31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Freeform 42">
              <a:extLst>
                <a:ext uri="{FF2B5EF4-FFF2-40B4-BE49-F238E27FC236}">
                  <a16:creationId xmlns:a16="http://schemas.microsoft.com/office/drawing/2014/main" id="{07E65987-E8A4-44DC-A4BB-D452FCC939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26138" y="1055688"/>
              <a:ext cx="74613" cy="111125"/>
            </a:xfrm>
            <a:custGeom>
              <a:avLst/>
              <a:gdLst>
                <a:gd name="T0" fmla="*/ 59 w 70"/>
                <a:gd name="T1" fmla="*/ 1 h 105"/>
                <a:gd name="T2" fmla="*/ 65 w 70"/>
                <a:gd name="T3" fmla="*/ 2 h 105"/>
                <a:gd name="T4" fmla="*/ 70 w 70"/>
                <a:gd name="T5" fmla="*/ 3 h 105"/>
                <a:gd name="T6" fmla="*/ 61 w 70"/>
                <a:gd name="T7" fmla="*/ 27 h 105"/>
                <a:gd name="T8" fmla="*/ 58 w 70"/>
                <a:gd name="T9" fmla="*/ 25 h 105"/>
                <a:gd name="T10" fmla="*/ 54 w 70"/>
                <a:gd name="T11" fmla="*/ 25 h 105"/>
                <a:gd name="T12" fmla="*/ 49 w 70"/>
                <a:gd name="T13" fmla="*/ 24 h 105"/>
                <a:gd name="T14" fmla="*/ 39 w 70"/>
                <a:gd name="T15" fmla="*/ 26 h 105"/>
                <a:gd name="T16" fmla="*/ 32 w 70"/>
                <a:gd name="T17" fmla="*/ 31 h 105"/>
                <a:gd name="T18" fmla="*/ 26 w 70"/>
                <a:gd name="T19" fmla="*/ 38 h 105"/>
                <a:gd name="T20" fmla="*/ 26 w 70"/>
                <a:gd name="T21" fmla="*/ 105 h 105"/>
                <a:gd name="T22" fmla="*/ 0 w 70"/>
                <a:gd name="T23" fmla="*/ 105 h 105"/>
                <a:gd name="T24" fmla="*/ 0 w 70"/>
                <a:gd name="T25" fmla="*/ 3 h 105"/>
                <a:gd name="T26" fmla="*/ 25 w 70"/>
                <a:gd name="T27" fmla="*/ 3 h 105"/>
                <a:gd name="T28" fmla="*/ 25 w 70"/>
                <a:gd name="T29" fmla="*/ 18 h 105"/>
                <a:gd name="T30" fmla="*/ 32 w 70"/>
                <a:gd name="T31" fmla="*/ 9 h 105"/>
                <a:gd name="T32" fmla="*/ 40 w 70"/>
                <a:gd name="T33" fmla="*/ 3 h 105"/>
                <a:gd name="T34" fmla="*/ 53 w 70"/>
                <a:gd name="T35" fmla="*/ 0 h 105"/>
                <a:gd name="T36" fmla="*/ 59 w 70"/>
                <a:gd name="T37" fmla="*/ 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0" h="105">
                  <a:moveTo>
                    <a:pt x="59" y="1"/>
                  </a:moveTo>
                  <a:cubicBezTo>
                    <a:pt x="62" y="1"/>
                    <a:pt x="63" y="1"/>
                    <a:pt x="65" y="2"/>
                  </a:cubicBezTo>
                  <a:cubicBezTo>
                    <a:pt x="67" y="2"/>
                    <a:pt x="69" y="3"/>
                    <a:pt x="70" y="3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0" y="26"/>
                    <a:pt x="59" y="26"/>
                    <a:pt x="58" y="25"/>
                  </a:cubicBezTo>
                  <a:cubicBezTo>
                    <a:pt x="57" y="25"/>
                    <a:pt x="56" y="25"/>
                    <a:pt x="54" y="25"/>
                  </a:cubicBezTo>
                  <a:cubicBezTo>
                    <a:pt x="53" y="24"/>
                    <a:pt x="51" y="24"/>
                    <a:pt x="49" y="24"/>
                  </a:cubicBezTo>
                  <a:cubicBezTo>
                    <a:pt x="45" y="24"/>
                    <a:pt x="42" y="25"/>
                    <a:pt x="39" y="26"/>
                  </a:cubicBezTo>
                  <a:cubicBezTo>
                    <a:pt x="36" y="28"/>
                    <a:pt x="33" y="29"/>
                    <a:pt x="32" y="31"/>
                  </a:cubicBezTo>
                  <a:cubicBezTo>
                    <a:pt x="29" y="33"/>
                    <a:pt x="27" y="36"/>
                    <a:pt x="26" y="38"/>
                  </a:cubicBezTo>
                  <a:cubicBezTo>
                    <a:pt x="26" y="105"/>
                    <a:pt x="26" y="105"/>
                    <a:pt x="26" y="105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7" y="14"/>
                    <a:pt x="29" y="11"/>
                    <a:pt x="32" y="9"/>
                  </a:cubicBezTo>
                  <a:cubicBezTo>
                    <a:pt x="34" y="7"/>
                    <a:pt x="37" y="5"/>
                    <a:pt x="40" y="3"/>
                  </a:cubicBezTo>
                  <a:cubicBezTo>
                    <a:pt x="44" y="1"/>
                    <a:pt x="48" y="0"/>
                    <a:pt x="53" y="0"/>
                  </a:cubicBezTo>
                  <a:cubicBezTo>
                    <a:pt x="55" y="0"/>
                    <a:pt x="57" y="0"/>
                    <a:pt x="59" y="1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Freeform 43">
              <a:extLst>
                <a:ext uri="{FF2B5EF4-FFF2-40B4-BE49-F238E27FC236}">
                  <a16:creationId xmlns:a16="http://schemas.microsoft.com/office/drawing/2014/main" id="{03292961-08C2-493A-8574-389794E2DF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024563" y="1004888"/>
              <a:ext cx="36513" cy="161925"/>
            </a:xfrm>
            <a:custGeom>
              <a:avLst/>
              <a:gdLst>
                <a:gd name="T0" fmla="*/ 5 w 34"/>
                <a:gd name="T1" fmla="*/ 5 h 153"/>
                <a:gd name="T2" fmla="*/ 17 w 34"/>
                <a:gd name="T3" fmla="*/ 0 h 153"/>
                <a:gd name="T4" fmla="*/ 29 w 34"/>
                <a:gd name="T5" fmla="*/ 5 h 153"/>
                <a:gd name="T6" fmla="*/ 34 w 34"/>
                <a:gd name="T7" fmla="*/ 17 h 153"/>
                <a:gd name="T8" fmla="*/ 29 w 34"/>
                <a:gd name="T9" fmla="*/ 30 h 153"/>
                <a:gd name="T10" fmla="*/ 17 w 34"/>
                <a:gd name="T11" fmla="*/ 35 h 153"/>
                <a:gd name="T12" fmla="*/ 5 w 34"/>
                <a:gd name="T13" fmla="*/ 30 h 153"/>
                <a:gd name="T14" fmla="*/ 0 w 34"/>
                <a:gd name="T15" fmla="*/ 17 h 153"/>
                <a:gd name="T16" fmla="*/ 5 w 34"/>
                <a:gd name="T17" fmla="*/ 5 h 153"/>
                <a:gd name="T18" fmla="*/ 4 w 34"/>
                <a:gd name="T19" fmla="*/ 51 h 153"/>
                <a:gd name="T20" fmla="*/ 30 w 34"/>
                <a:gd name="T21" fmla="*/ 51 h 153"/>
                <a:gd name="T22" fmla="*/ 30 w 34"/>
                <a:gd name="T23" fmla="*/ 153 h 153"/>
                <a:gd name="T24" fmla="*/ 4 w 34"/>
                <a:gd name="T25" fmla="*/ 153 h 153"/>
                <a:gd name="T26" fmla="*/ 4 w 34"/>
                <a:gd name="T27" fmla="*/ 5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153">
                  <a:moveTo>
                    <a:pt x="5" y="5"/>
                  </a:moveTo>
                  <a:cubicBezTo>
                    <a:pt x="8" y="2"/>
                    <a:pt x="12" y="0"/>
                    <a:pt x="17" y="0"/>
                  </a:cubicBezTo>
                  <a:cubicBezTo>
                    <a:pt x="22" y="0"/>
                    <a:pt x="26" y="2"/>
                    <a:pt x="29" y="5"/>
                  </a:cubicBezTo>
                  <a:cubicBezTo>
                    <a:pt x="32" y="9"/>
                    <a:pt x="34" y="13"/>
                    <a:pt x="34" y="17"/>
                  </a:cubicBezTo>
                  <a:cubicBezTo>
                    <a:pt x="34" y="22"/>
                    <a:pt x="32" y="26"/>
                    <a:pt x="29" y="30"/>
                  </a:cubicBezTo>
                  <a:cubicBezTo>
                    <a:pt x="26" y="33"/>
                    <a:pt x="22" y="35"/>
                    <a:pt x="17" y="35"/>
                  </a:cubicBezTo>
                  <a:cubicBezTo>
                    <a:pt x="12" y="35"/>
                    <a:pt x="8" y="33"/>
                    <a:pt x="5" y="30"/>
                  </a:cubicBezTo>
                  <a:cubicBezTo>
                    <a:pt x="1" y="26"/>
                    <a:pt x="0" y="22"/>
                    <a:pt x="0" y="17"/>
                  </a:cubicBezTo>
                  <a:cubicBezTo>
                    <a:pt x="0" y="13"/>
                    <a:pt x="1" y="9"/>
                    <a:pt x="5" y="5"/>
                  </a:cubicBezTo>
                  <a:close/>
                  <a:moveTo>
                    <a:pt x="4" y="51"/>
                  </a:moveTo>
                  <a:cubicBezTo>
                    <a:pt x="30" y="51"/>
                    <a:pt x="30" y="51"/>
                    <a:pt x="30" y="51"/>
                  </a:cubicBezTo>
                  <a:cubicBezTo>
                    <a:pt x="30" y="153"/>
                    <a:pt x="30" y="153"/>
                    <a:pt x="30" y="153"/>
                  </a:cubicBezTo>
                  <a:cubicBezTo>
                    <a:pt x="4" y="153"/>
                    <a:pt x="4" y="153"/>
                    <a:pt x="4" y="153"/>
                  </a:cubicBezTo>
                  <a:lnTo>
                    <a:pt x="4" y="51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44">
              <a:extLst>
                <a:ext uri="{FF2B5EF4-FFF2-40B4-BE49-F238E27FC236}">
                  <a16:creationId xmlns:a16="http://schemas.microsoft.com/office/drawing/2014/main" id="{5BFA12EB-95E1-4F3A-BB32-1C36BAF6DDC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091238" y="1055688"/>
              <a:ext cx="100013" cy="114300"/>
            </a:xfrm>
            <a:custGeom>
              <a:avLst/>
              <a:gdLst>
                <a:gd name="T0" fmla="*/ 83 w 95"/>
                <a:gd name="T1" fmla="*/ 10 h 108"/>
                <a:gd name="T2" fmla="*/ 95 w 95"/>
                <a:gd name="T3" fmla="*/ 38 h 108"/>
                <a:gd name="T4" fmla="*/ 95 w 95"/>
                <a:gd name="T5" fmla="*/ 105 h 108"/>
                <a:gd name="T6" fmla="*/ 71 w 95"/>
                <a:gd name="T7" fmla="*/ 105 h 108"/>
                <a:gd name="T8" fmla="*/ 71 w 95"/>
                <a:gd name="T9" fmla="*/ 92 h 108"/>
                <a:gd name="T10" fmla="*/ 63 w 95"/>
                <a:gd name="T11" fmla="*/ 100 h 108"/>
                <a:gd name="T12" fmla="*/ 53 w 95"/>
                <a:gd name="T13" fmla="*/ 106 h 108"/>
                <a:gd name="T14" fmla="*/ 38 w 95"/>
                <a:gd name="T15" fmla="*/ 108 h 108"/>
                <a:gd name="T16" fmla="*/ 24 w 95"/>
                <a:gd name="T17" fmla="*/ 106 h 108"/>
                <a:gd name="T18" fmla="*/ 12 w 95"/>
                <a:gd name="T19" fmla="*/ 99 h 108"/>
                <a:gd name="T20" fmla="*/ 4 w 95"/>
                <a:gd name="T21" fmla="*/ 88 h 108"/>
                <a:gd name="T22" fmla="*/ 0 w 95"/>
                <a:gd name="T23" fmla="*/ 73 h 108"/>
                <a:gd name="T24" fmla="*/ 4 w 95"/>
                <a:gd name="T25" fmla="*/ 60 h 108"/>
                <a:gd name="T26" fmla="*/ 12 w 95"/>
                <a:gd name="T27" fmla="*/ 49 h 108"/>
                <a:gd name="T28" fmla="*/ 25 w 95"/>
                <a:gd name="T29" fmla="*/ 42 h 108"/>
                <a:gd name="T30" fmla="*/ 41 w 95"/>
                <a:gd name="T31" fmla="*/ 39 h 108"/>
                <a:gd name="T32" fmla="*/ 53 w 95"/>
                <a:gd name="T33" fmla="*/ 41 h 108"/>
                <a:gd name="T34" fmla="*/ 62 w 95"/>
                <a:gd name="T35" fmla="*/ 43 h 108"/>
                <a:gd name="T36" fmla="*/ 69 w 95"/>
                <a:gd name="T37" fmla="*/ 47 h 108"/>
                <a:gd name="T38" fmla="*/ 69 w 95"/>
                <a:gd name="T39" fmla="*/ 41 h 108"/>
                <a:gd name="T40" fmla="*/ 67 w 95"/>
                <a:gd name="T41" fmla="*/ 33 h 108"/>
                <a:gd name="T42" fmla="*/ 62 w 95"/>
                <a:gd name="T43" fmla="*/ 27 h 108"/>
                <a:gd name="T44" fmla="*/ 55 w 95"/>
                <a:gd name="T45" fmla="*/ 24 h 108"/>
                <a:gd name="T46" fmla="*/ 47 w 95"/>
                <a:gd name="T47" fmla="*/ 23 h 108"/>
                <a:gd name="T48" fmla="*/ 36 w 95"/>
                <a:gd name="T49" fmla="*/ 24 h 108"/>
                <a:gd name="T50" fmla="*/ 26 w 95"/>
                <a:gd name="T51" fmla="*/ 27 h 108"/>
                <a:gd name="T52" fmla="*/ 17 w 95"/>
                <a:gd name="T53" fmla="*/ 31 h 108"/>
                <a:gd name="T54" fmla="*/ 8 w 95"/>
                <a:gd name="T55" fmla="*/ 9 h 108"/>
                <a:gd name="T56" fmla="*/ 20 w 95"/>
                <a:gd name="T57" fmla="*/ 5 h 108"/>
                <a:gd name="T58" fmla="*/ 33 w 95"/>
                <a:gd name="T59" fmla="*/ 1 h 108"/>
                <a:gd name="T60" fmla="*/ 49 w 95"/>
                <a:gd name="T61" fmla="*/ 0 h 108"/>
                <a:gd name="T62" fmla="*/ 83 w 95"/>
                <a:gd name="T63" fmla="*/ 10 h 108"/>
                <a:gd name="T64" fmla="*/ 56 w 95"/>
                <a:gd name="T65" fmla="*/ 84 h 108"/>
                <a:gd name="T66" fmla="*/ 63 w 95"/>
                <a:gd name="T67" fmla="*/ 80 h 108"/>
                <a:gd name="T68" fmla="*/ 69 w 95"/>
                <a:gd name="T69" fmla="*/ 74 h 108"/>
                <a:gd name="T70" fmla="*/ 69 w 95"/>
                <a:gd name="T71" fmla="*/ 64 h 108"/>
                <a:gd name="T72" fmla="*/ 63 w 95"/>
                <a:gd name="T73" fmla="*/ 61 h 108"/>
                <a:gd name="T74" fmla="*/ 56 w 95"/>
                <a:gd name="T75" fmla="*/ 59 h 108"/>
                <a:gd name="T76" fmla="*/ 46 w 95"/>
                <a:gd name="T77" fmla="*/ 59 h 108"/>
                <a:gd name="T78" fmla="*/ 40 w 95"/>
                <a:gd name="T79" fmla="*/ 59 h 108"/>
                <a:gd name="T80" fmla="*/ 33 w 95"/>
                <a:gd name="T81" fmla="*/ 62 h 108"/>
                <a:gd name="T82" fmla="*/ 29 w 95"/>
                <a:gd name="T83" fmla="*/ 66 h 108"/>
                <a:gd name="T84" fmla="*/ 27 w 95"/>
                <a:gd name="T85" fmla="*/ 73 h 108"/>
                <a:gd name="T86" fmla="*/ 29 w 95"/>
                <a:gd name="T87" fmla="*/ 80 h 108"/>
                <a:gd name="T88" fmla="*/ 33 w 95"/>
                <a:gd name="T89" fmla="*/ 84 h 108"/>
                <a:gd name="T90" fmla="*/ 39 w 95"/>
                <a:gd name="T91" fmla="*/ 86 h 108"/>
                <a:gd name="T92" fmla="*/ 46 w 95"/>
                <a:gd name="T93" fmla="*/ 86 h 108"/>
                <a:gd name="T94" fmla="*/ 56 w 95"/>
                <a:gd name="T95" fmla="*/ 8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5" h="108">
                  <a:moveTo>
                    <a:pt x="83" y="10"/>
                  </a:moveTo>
                  <a:cubicBezTo>
                    <a:pt x="91" y="17"/>
                    <a:pt x="95" y="27"/>
                    <a:pt x="95" y="38"/>
                  </a:cubicBezTo>
                  <a:cubicBezTo>
                    <a:pt x="95" y="105"/>
                    <a:pt x="95" y="105"/>
                    <a:pt x="95" y="105"/>
                  </a:cubicBezTo>
                  <a:cubicBezTo>
                    <a:pt x="71" y="105"/>
                    <a:pt x="71" y="105"/>
                    <a:pt x="71" y="105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9" y="95"/>
                    <a:pt x="66" y="98"/>
                    <a:pt x="63" y="100"/>
                  </a:cubicBezTo>
                  <a:cubicBezTo>
                    <a:pt x="60" y="102"/>
                    <a:pt x="57" y="104"/>
                    <a:pt x="53" y="106"/>
                  </a:cubicBezTo>
                  <a:cubicBezTo>
                    <a:pt x="48" y="107"/>
                    <a:pt x="43" y="108"/>
                    <a:pt x="38" y="108"/>
                  </a:cubicBezTo>
                  <a:cubicBezTo>
                    <a:pt x="33" y="108"/>
                    <a:pt x="28" y="107"/>
                    <a:pt x="24" y="106"/>
                  </a:cubicBezTo>
                  <a:cubicBezTo>
                    <a:pt x="19" y="104"/>
                    <a:pt x="15" y="102"/>
                    <a:pt x="12" y="99"/>
                  </a:cubicBezTo>
                  <a:cubicBezTo>
                    <a:pt x="8" y="96"/>
                    <a:pt x="6" y="92"/>
                    <a:pt x="4" y="88"/>
                  </a:cubicBezTo>
                  <a:cubicBezTo>
                    <a:pt x="1" y="84"/>
                    <a:pt x="0" y="79"/>
                    <a:pt x="0" y="73"/>
                  </a:cubicBezTo>
                  <a:cubicBezTo>
                    <a:pt x="0" y="69"/>
                    <a:pt x="2" y="64"/>
                    <a:pt x="4" y="60"/>
                  </a:cubicBezTo>
                  <a:cubicBezTo>
                    <a:pt x="6" y="56"/>
                    <a:pt x="9" y="52"/>
                    <a:pt x="12" y="49"/>
                  </a:cubicBezTo>
                  <a:cubicBezTo>
                    <a:pt x="16" y="46"/>
                    <a:pt x="20" y="44"/>
                    <a:pt x="25" y="42"/>
                  </a:cubicBezTo>
                  <a:cubicBezTo>
                    <a:pt x="30" y="40"/>
                    <a:pt x="35" y="39"/>
                    <a:pt x="41" y="39"/>
                  </a:cubicBezTo>
                  <a:cubicBezTo>
                    <a:pt x="46" y="39"/>
                    <a:pt x="50" y="40"/>
                    <a:pt x="53" y="41"/>
                  </a:cubicBezTo>
                  <a:cubicBezTo>
                    <a:pt x="57" y="41"/>
                    <a:pt x="60" y="42"/>
                    <a:pt x="62" y="43"/>
                  </a:cubicBezTo>
                  <a:cubicBezTo>
                    <a:pt x="65" y="44"/>
                    <a:pt x="67" y="45"/>
                    <a:pt x="69" y="47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38"/>
                    <a:pt x="69" y="35"/>
                    <a:pt x="67" y="33"/>
                  </a:cubicBezTo>
                  <a:cubicBezTo>
                    <a:pt x="66" y="30"/>
                    <a:pt x="64" y="28"/>
                    <a:pt x="62" y="27"/>
                  </a:cubicBezTo>
                  <a:cubicBezTo>
                    <a:pt x="60" y="26"/>
                    <a:pt x="57" y="25"/>
                    <a:pt x="55" y="24"/>
                  </a:cubicBezTo>
                  <a:cubicBezTo>
                    <a:pt x="52" y="23"/>
                    <a:pt x="50" y="23"/>
                    <a:pt x="47" y="23"/>
                  </a:cubicBezTo>
                  <a:cubicBezTo>
                    <a:pt x="43" y="23"/>
                    <a:pt x="40" y="24"/>
                    <a:pt x="36" y="24"/>
                  </a:cubicBezTo>
                  <a:cubicBezTo>
                    <a:pt x="32" y="25"/>
                    <a:pt x="29" y="26"/>
                    <a:pt x="26" y="27"/>
                  </a:cubicBezTo>
                  <a:cubicBezTo>
                    <a:pt x="23" y="28"/>
                    <a:pt x="20" y="29"/>
                    <a:pt x="17" y="31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2" y="8"/>
                    <a:pt x="16" y="6"/>
                    <a:pt x="20" y="5"/>
                  </a:cubicBezTo>
                  <a:cubicBezTo>
                    <a:pt x="24" y="3"/>
                    <a:pt x="28" y="2"/>
                    <a:pt x="33" y="1"/>
                  </a:cubicBezTo>
                  <a:cubicBezTo>
                    <a:pt x="38" y="1"/>
                    <a:pt x="43" y="0"/>
                    <a:pt x="49" y="0"/>
                  </a:cubicBezTo>
                  <a:cubicBezTo>
                    <a:pt x="63" y="0"/>
                    <a:pt x="75" y="3"/>
                    <a:pt x="83" y="10"/>
                  </a:cubicBezTo>
                  <a:close/>
                  <a:moveTo>
                    <a:pt x="56" y="84"/>
                  </a:moveTo>
                  <a:cubicBezTo>
                    <a:pt x="59" y="83"/>
                    <a:pt x="61" y="82"/>
                    <a:pt x="63" y="80"/>
                  </a:cubicBezTo>
                  <a:cubicBezTo>
                    <a:pt x="66" y="78"/>
                    <a:pt x="68" y="76"/>
                    <a:pt x="69" y="7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7" y="63"/>
                    <a:pt x="65" y="62"/>
                    <a:pt x="63" y="61"/>
                  </a:cubicBezTo>
                  <a:cubicBezTo>
                    <a:pt x="61" y="60"/>
                    <a:pt x="58" y="60"/>
                    <a:pt x="56" y="59"/>
                  </a:cubicBezTo>
                  <a:cubicBezTo>
                    <a:pt x="53" y="59"/>
                    <a:pt x="50" y="59"/>
                    <a:pt x="46" y="59"/>
                  </a:cubicBezTo>
                  <a:cubicBezTo>
                    <a:pt x="44" y="59"/>
                    <a:pt x="42" y="59"/>
                    <a:pt x="40" y="59"/>
                  </a:cubicBezTo>
                  <a:cubicBezTo>
                    <a:pt x="37" y="60"/>
                    <a:pt x="35" y="61"/>
                    <a:pt x="33" y="62"/>
                  </a:cubicBezTo>
                  <a:cubicBezTo>
                    <a:pt x="32" y="63"/>
                    <a:pt x="30" y="64"/>
                    <a:pt x="29" y="66"/>
                  </a:cubicBezTo>
                  <a:cubicBezTo>
                    <a:pt x="28" y="68"/>
                    <a:pt x="27" y="70"/>
                    <a:pt x="27" y="73"/>
                  </a:cubicBezTo>
                  <a:cubicBezTo>
                    <a:pt x="27" y="76"/>
                    <a:pt x="27" y="78"/>
                    <a:pt x="29" y="80"/>
                  </a:cubicBezTo>
                  <a:cubicBezTo>
                    <a:pt x="30" y="81"/>
                    <a:pt x="31" y="83"/>
                    <a:pt x="33" y="84"/>
                  </a:cubicBezTo>
                  <a:cubicBezTo>
                    <a:pt x="35" y="85"/>
                    <a:pt x="37" y="85"/>
                    <a:pt x="39" y="86"/>
                  </a:cubicBezTo>
                  <a:cubicBezTo>
                    <a:pt x="41" y="86"/>
                    <a:pt x="43" y="86"/>
                    <a:pt x="46" y="86"/>
                  </a:cubicBezTo>
                  <a:cubicBezTo>
                    <a:pt x="49" y="86"/>
                    <a:pt x="53" y="86"/>
                    <a:pt x="56" y="84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955446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A Trennblat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6CF0DE6-BD34-412D-94AB-7924E43881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8361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6CF0DE6-BD34-412D-94AB-7924E4388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F55117D-FE50-4AFA-A92A-60B9795FDC5E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rgbClr val="E6320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600" b="0" dirty="0" err="1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9C33C06-B7BC-4474-8A51-CD345406F80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9018" y="6114644"/>
            <a:ext cx="2022620" cy="423013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B58C32-5D6D-4977-A4AE-56A05D190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1225" y="1052513"/>
            <a:ext cx="8631238" cy="1895475"/>
          </a:xfrm>
        </p:spPr>
        <p:txBody>
          <a:bodyPr anchor="t"/>
          <a:lstStyle>
            <a:lvl1pPr>
              <a:defRPr sz="40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object 3">
            <a:extLst>
              <a:ext uri="{FF2B5EF4-FFF2-40B4-BE49-F238E27FC236}">
                <a16:creationId xmlns:a16="http://schemas.microsoft.com/office/drawing/2014/main" id="{BE62068C-EF41-4211-81D0-7364324E989A}"/>
              </a:ext>
            </a:extLst>
          </p:cNvPr>
          <p:cNvSpPr/>
          <p:nvPr userDrawn="1"/>
        </p:nvSpPr>
        <p:spPr>
          <a:xfrm>
            <a:off x="9204" y="4559"/>
            <a:ext cx="655813" cy="840582"/>
          </a:xfrm>
          <a:custGeom>
            <a:avLst/>
            <a:gdLst/>
            <a:ahLst/>
            <a:cxnLst/>
            <a:rect l="l" t="t" r="r" b="b"/>
            <a:pathLst>
              <a:path w="1005205" h="1288415">
                <a:moveTo>
                  <a:pt x="0" y="0"/>
                </a:moveTo>
                <a:lnTo>
                  <a:pt x="0" y="335068"/>
                </a:lnTo>
                <a:lnTo>
                  <a:pt x="609552" y="640462"/>
                </a:lnTo>
                <a:lnTo>
                  <a:pt x="0" y="952850"/>
                </a:lnTo>
                <a:lnTo>
                  <a:pt x="0" y="1287918"/>
                </a:lnTo>
                <a:lnTo>
                  <a:pt x="1005204" y="793253"/>
                </a:lnTo>
                <a:lnTo>
                  <a:pt x="1005204" y="49601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 anchor="ctr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00294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Sä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1A2DEE5-844F-40BD-847C-AD9181795C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7597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1A2DEE5-844F-40BD-847C-AD9181795C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87596ED-8270-4BD9-9069-84F474882F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9537" y="209407"/>
            <a:ext cx="8631785" cy="430887"/>
          </a:xfrm>
        </p:spPr>
        <p:txBody>
          <a:bodyPr vert="horz"/>
          <a:lstStyle>
            <a:lvl1pPr>
              <a:defRPr sz="3600"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ACA3A6B-089A-48DA-907F-9446B12760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873D13-8BEF-4470-A16D-19EDE6E7A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01F0EAC-DF03-4553-8D22-C26B163DC97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11224" y="1052513"/>
            <a:ext cx="8631240" cy="4708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1075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Sä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1A2DEE5-844F-40BD-847C-AD9181795C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5361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1A2DEE5-844F-40BD-847C-AD9181795C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87596ED-8270-4BD9-9069-84F474882F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9537" y="209407"/>
            <a:ext cx="8631785" cy="430887"/>
          </a:xfrm>
        </p:spPr>
        <p:txBody>
          <a:bodyPr vert="horz"/>
          <a:lstStyle>
            <a:lvl1pPr>
              <a:defRPr sz="3600"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ACA3A6B-089A-48DA-907F-9446B12760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873D13-8BEF-4470-A16D-19EDE6E7A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01F0EAC-DF03-4553-8D22-C26B163DC97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11224" y="1052513"/>
            <a:ext cx="8631240" cy="4708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7292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Säule +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0EC113F-F3DE-4EF1-AA24-564936C5ED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6454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0EC113F-F3DE-4EF1-AA24-564936C5ED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D0B7F44-1A9D-43CE-8B94-70E892BCC6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0F0CD56-CDEF-4F99-82E9-F8344BA7D8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F17232-4933-4B44-AB0A-14F7352465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4A8CE99-0AD9-4D9C-9C09-47545620E9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226" y="1052513"/>
            <a:ext cx="8630940" cy="604800"/>
          </a:xfrm>
        </p:spPr>
        <p:txBody>
          <a:bodyPr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8CF1398-AEAE-44BE-B05F-E03B17EB921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260" y="1726825"/>
            <a:ext cx="8631749" cy="40342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350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äulen +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F84AA5-90AF-4944-A33D-CCA60F0CDA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7606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F84AA5-90AF-4944-A33D-CCA60F0CDA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B707A87-9762-46A5-A1BF-60907C2C37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9537" y="209407"/>
            <a:ext cx="8631785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EE70F8-6350-4489-8BF1-B1E111BCAB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0CCAD9-3BB6-43FD-8F71-48FD588090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60E6D9E-AC7D-4CD8-9A1B-DC502AAB0B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225" y="1052513"/>
            <a:ext cx="4200555" cy="604800"/>
          </a:xfrm>
        </p:spPr>
        <p:txBody>
          <a:bodyPr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F252CF9-0987-4CBA-8CC7-B6582ECA239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225" y="1726825"/>
            <a:ext cx="4200555" cy="40433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86BDC7C-1DCC-488B-89D7-620778CE86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41908" y="1052513"/>
            <a:ext cx="4200555" cy="604800"/>
          </a:xfrm>
        </p:spPr>
        <p:txBody>
          <a:bodyPr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4" name="Content Placeholder 7">
            <a:extLst>
              <a:ext uri="{FF2B5EF4-FFF2-40B4-BE49-F238E27FC236}">
                <a16:creationId xmlns:a16="http://schemas.microsoft.com/office/drawing/2014/main" id="{40CF3282-EE3F-4A8C-9194-FB798F942DA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341908" y="1726825"/>
            <a:ext cx="4200555" cy="40433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3295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äulen +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45B2A81-20D5-4DCD-B2D5-0DD68492C0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3492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45B2A81-20D5-4DCD-B2D5-0DD68492C0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AA155B-CCB9-45EF-83E7-A4F386C3D5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46BAB9-04B4-4317-A1F0-FDDB9A1286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56EE890-29E0-44E4-9668-F68CDE7A61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9538" y="208338"/>
            <a:ext cx="8631786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3C71988F-E327-4F96-8306-B27881356B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225" y="1052513"/>
            <a:ext cx="3469957" cy="604800"/>
          </a:xfrm>
        </p:spPr>
        <p:txBody>
          <a:bodyPr/>
          <a:lstStyle>
            <a:lvl1pPr>
              <a:defRPr sz="2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9" name="Content Placeholder 7">
            <a:extLst>
              <a:ext uri="{FF2B5EF4-FFF2-40B4-BE49-F238E27FC236}">
                <a16:creationId xmlns:a16="http://schemas.microsoft.com/office/drawing/2014/main" id="{4E46B802-7A11-4132-902C-6A8E73CAE6F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225" y="1726825"/>
            <a:ext cx="3469957" cy="4043397"/>
          </a:xfrm>
        </p:spPr>
        <p:txBody>
          <a:bodyPr/>
          <a:lstStyle>
            <a:lvl1pPr>
              <a:defRPr sz="240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251A676-9663-42CA-9166-26C677E3B2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30896" y="1052513"/>
            <a:ext cx="3469957" cy="604800"/>
          </a:xfrm>
        </p:spPr>
        <p:txBody>
          <a:bodyPr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1" name="Content Placeholder 7">
            <a:extLst>
              <a:ext uri="{FF2B5EF4-FFF2-40B4-BE49-F238E27FC236}">
                <a16:creationId xmlns:a16="http://schemas.microsoft.com/office/drawing/2014/main" id="{8C88EDB6-B166-4ABB-BA7D-0E492F4665A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30896" y="1726825"/>
            <a:ext cx="3469957" cy="4043397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400">
                <a:solidFill>
                  <a:schemeClr val="tx1"/>
                </a:solidFill>
              </a:defRPr>
            </a:lvl4pPr>
            <a:lvl5pP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20E0FD11-0513-4797-8CB2-3E0D24F23D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50568" y="1052513"/>
            <a:ext cx="3469957" cy="604800"/>
          </a:xfrm>
        </p:spPr>
        <p:txBody>
          <a:bodyPr/>
          <a:lstStyle>
            <a:lvl1pPr>
              <a:defRPr sz="28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3" name="Content Placeholder 7">
            <a:extLst>
              <a:ext uri="{FF2B5EF4-FFF2-40B4-BE49-F238E27FC236}">
                <a16:creationId xmlns:a16="http://schemas.microsoft.com/office/drawing/2014/main" id="{61D25E78-0AEF-4E09-8B9A-9996BEE68EE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350568" y="1726825"/>
            <a:ext cx="3469957" cy="4043397"/>
          </a:xfrm>
        </p:spPr>
        <p:txBody>
          <a:bodyPr/>
          <a:lstStyle>
            <a:lvl1pPr>
              <a:defRPr sz="2400">
                <a:solidFill>
                  <a:schemeClr val="accent4"/>
                </a:solidFill>
              </a:defRPr>
            </a:lvl1pPr>
            <a:lvl2pPr>
              <a:defRPr sz="2400">
                <a:solidFill>
                  <a:schemeClr val="accent4"/>
                </a:solidFill>
              </a:defRPr>
            </a:lvl2pPr>
            <a:lvl3pPr>
              <a:defRPr sz="2400">
                <a:solidFill>
                  <a:schemeClr val="accent4"/>
                </a:solidFill>
              </a:defRPr>
            </a:lvl3pPr>
            <a:lvl4pPr>
              <a:defRPr sz="2400">
                <a:solidFill>
                  <a:schemeClr val="accent4"/>
                </a:solidFill>
              </a:defRPr>
            </a:lvl4pPr>
            <a:lvl5pPr>
              <a:defRPr sz="2400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7504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446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äulen +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2EF57EA-F45E-48DD-BB02-9CCBBD67DA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1900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2EF57EA-F45E-48DD-BB02-9CCBBD67DA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DCA3869-0626-4D7E-A07F-ED2B248D28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9845BF-B227-4307-81B9-E7C8FC57CD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B569F239-1A61-4E82-9B98-BB2D6F6CB5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3032" y="210212"/>
            <a:ext cx="8619431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2F2B9473-033B-41B3-A154-3B1336EE8A1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226" y="1052513"/>
            <a:ext cx="2533010" cy="604800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2" name="Content Placeholder 7">
            <a:extLst>
              <a:ext uri="{FF2B5EF4-FFF2-40B4-BE49-F238E27FC236}">
                <a16:creationId xmlns:a16="http://schemas.microsoft.com/office/drawing/2014/main" id="{C9427F82-503C-463A-BF79-F5A5EA2D69B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226" y="1726825"/>
            <a:ext cx="2533010" cy="40433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5237C118-A019-4D33-964B-D13E6747EE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03322" y="1052513"/>
            <a:ext cx="2533010" cy="604800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4" name="Content Placeholder 7">
            <a:extLst>
              <a:ext uri="{FF2B5EF4-FFF2-40B4-BE49-F238E27FC236}">
                <a16:creationId xmlns:a16="http://schemas.microsoft.com/office/drawing/2014/main" id="{05DA6DA1-355B-4AFA-9B21-A336D734899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703322" y="1726825"/>
            <a:ext cx="2533010" cy="40433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B04C321E-06CD-460E-9A0C-1FB1F64465C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95418" y="1052513"/>
            <a:ext cx="2533010" cy="604800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6" name="Content Placeholder 7">
            <a:extLst>
              <a:ext uri="{FF2B5EF4-FFF2-40B4-BE49-F238E27FC236}">
                <a16:creationId xmlns:a16="http://schemas.microsoft.com/office/drawing/2014/main" id="{C2329C79-5F90-40E8-BB19-5B2B9787D50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95418" y="1726825"/>
            <a:ext cx="2533010" cy="40433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24F5421-6FED-4A33-932C-CE3DA5044FA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87515" y="1052513"/>
            <a:ext cx="2533010" cy="604800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8" name="Content Placeholder 7">
            <a:extLst>
              <a:ext uri="{FF2B5EF4-FFF2-40B4-BE49-F238E27FC236}">
                <a16:creationId xmlns:a16="http://schemas.microsoft.com/office/drawing/2014/main" id="{AF9CA067-2ED3-4831-B812-20849029EFC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287515" y="1726825"/>
            <a:ext cx="2533010" cy="40433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3387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44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inks + Foto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48EF813-7050-4CFA-A5BF-35F2ECAAC8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219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48EF813-7050-4CFA-A5BF-35F2ECAAC8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90BAE0-3503-40B7-97FF-3BBA5C4DD7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42D4FE-2A34-4C36-A765-CE00B9912A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DA4AB55-A4CD-400A-831B-870876DFDD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3031" y="210211"/>
            <a:ext cx="8631786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927D2A2D-8CE5-4B25-A24E-D55EB0EAF10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225" y="1052513"/>
            <a:ext cx="3469957" cy="471770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25B827B4-7226-45B7-803F-EFCCFD8A354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30896" y="1052513"/>
            <a:ext cx="7561104" cy="471770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2411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44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links +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48EF813-7050-4CFA-A5BF-35F2ECAAC8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889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48EF813-7050-4CFA-A5BF-35F2ECAAC8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90BAE0-3503-40B7-97FF-3BBA5C4DD7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42D4FE-2A34-4C36-A765-CE00B9912A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DA4AB55-A4CD-400A-831B-870876DFDD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3032" y="210210"/>
            <a:ext cx="8631786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30B366EE-35A0-4779-A5D6-6B35B8697D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50568" y="1052513"/>
            <a:ext cx="3469957" cy="471770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Content Placeholder 7">
            <a:extLst>
              <a:ext uri="{FF2B5EF4-FFF2-40B4-BE49-F238E27FC236}">
                <a16:creationId xmlns:a16="http://schemas.microsoft.com/office/drawing/2014/main" id="{214ABF5A-147C-4980-B700-3A8C64606DC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0" y="1052513"/>
            <a:ext cx="8112661" cy="471770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9841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446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äulen + F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45B2A81-20D5-4DCD-B2D5-0DD68492C0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7838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45B2A81-20D5-4DCD-B2D5-0DD68492C0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AA155B-CCB9-45EF-83E7-A4F386C3D5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46BAB9-04B4-4317-A1F0-FDDB9A1286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56EE890-29E0-44E4-9668-F68CDE7A61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9538" y="208338"/>
            <a:ext cx="8631786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9" name="Content Placeholder 7">
            <a:extLst>
              <a:ext uri="{FF2B5EF4-FFF2-40B4-BE49-F238E27FC236}">
                <a16:creationId xmlns:a16="http://schemas.microsoft.com/office/drawing/2014/main" id="{4E46B802-7A11-4132-902C-6A8E73CAE6F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225" y="4696691"/>
            <a:ext cx="2387743" cy="1073531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Content Placeholder 7">
            <a:extLst>
              <a:ext uri="{FF2B5EF4-FFF2-40B4-BE49-F238E27FC236}">
                <a16:creationId xmlns:a16="http://schemas.microsoft.com/office/drawing/2014/main" id="{8C88EDB6-B166-4ABB-BA7D-0E492F4665A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985646" y="4696691"/>
            <a:ext cx="2387743" cy="1073531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Content Placeholder 7">
            <a:extLst>
              <a:ext uri="{FF2B5EF4-FFF2-40B4-BE49-F238E27FC236}">
                <a16:creationId xmlns:a16="http://schemas.microsoft.com/office/drawing/2014/main" id="{61D25E78-0AEF-4E09-8B9A-9996BEE68EE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9060067" y="4696691"/>
            <a:ext cx="2387743" cy="1073531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1C5F30F-C9B7-4000-8B2D-22FCB12B188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1" y="1052513"/>
            <a:ext cx="4043159" cy="3461298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A4924A90-45F3-47AB-9B15-4F778FBE223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74420" y="1052513"/>
            <a:ext cx="4043159" cy="3461298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EE7A4228-1859-43D7-A855-F6BF17DA22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48841" y="1052513"/>
            <a:ext cx="4043159" cy="3461298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3695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mi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11817AE-51ED-41E3-A690-ED26CAEA9D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7511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11817AE-51ED-41E3-A690-ED26CAEA9D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EC5787D-011E-416D-94DD-7B499E6E75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052513"/>
            <a:ext cx="12192000" cy="5805487"/>
          </a:xfrm>
          <a:solidFill>
            <a:schemeClr val="tx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A194230-98A5-4312-912D-7CAE3A9610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3033" y="210209"/>
            <a:ext cx="8619430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E5B1355D-DD05-472A-9160-73E5F49FBB8B}"/>
              </a:ext>
            </a:extLst>
          </p:cNvPr>
          <p:cNvGrpSpPr/>
          <p:nvPr userDrawn="1"/>
        </p:nvGrpSpPr>
        <p:grpSpPr>
          <a:xfrm>
            <a:off x="9809018" y="6114397"/>
            <a:ext cx="2022620" cy="422928"/>
            <a:chOff x="9809018" y="6114397"/>
            <a:chExt cx="2022620" cy="422928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BA0A10D1-360F-45ED-BB02-7489FB5422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66356" y="6115872"/>
              <a:ext cx="510226" cy="421453"/>
            </a:xfrm>
            <a:custGeom>
              <a:avLst/>
              <a:gdLst>
                <a:gd name="T0" fmla="*/ 318 w 1730"/>
                <a:gd name="T1" fmla="*/ 1429 h 1429"/>
                <a:gd name="T2" fmla="*/ 0 w 1730"/>
                <a:gd name="T3" fmla="*/ 1429 h 1429"/>
                <a:gd name="T4" fmla="*/ 721 w 1730"/>
                <a:gd name="T5" fmla="*/ 0 h 1429"/>
                <a:gd name="T6" fmla="*/ 1009 w 1730"/>
                <a:gd name="T7" fmla="*/ 0 h 1429"/>
                <a:gd name="T8" fmla="*/ 1730 w 1730"/>
                <a:gd name="T9" fmla="*/ 1429 h 1429"/>
                <a:gd name="T10" fmla="*/ 1405 w 1730"/>
                <a:gd name="T11" fmla="*/ 1429 h 1429"/>
                <a:gd name="T12" fmla="*/ 861 w 1730"/>
                <a:gd name="T13" fmla="*/ 376 h 1429"/>
                <a:gd name="T14" fmla="*/ 318 w 1730"/>
                <a:gd name="T15" fmla="*/ 1429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0" h="1429">
                  <a:moveTo>
                    <a:pt x="318" y="1429"/>
                  </a:moveTo>
                  <a:lnTo>
                    <a:pt x="0" y="1429"/>
                  </a:lnTo>
                  <a:lnTo>
                    <a:pt x="721" y="0"/>
                  </a:lnTo>
                  <a:lnTo>
                    <a:pt x="1009" y="0"/>
                  </a:lnTo>
                  <a:lnTo>
                    <a:pt x="1730" y="1429"/>
                  </a:lnTo>
                  <a:lnTo>
                    <a:pt x="1405" y="1429"/>
                  </a:lnTo>
                  <a:lnTo>
                    <a:pt x="861" y="376"/>
                  </a:lnTo>
                  <a:lnTo>
                    <a:pt x="318" y="14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Rectangle 6">
              <a:extLst>
                <a:ext uri="{FF2B5EF4-FFF2-40B4-BE49-F238E27FC236}">
                  <a16:creationId xmlns:a16="http://schemas.microsoft.com/office/drawing/2014/main" id="{1EAC1829-369D-48DB-A45E-C4A1D6F8F57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273043" y="6115872"/>
              <a:ext cx="14746" cy="11325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514FC642-3668-45C5-9273-50FCCA2586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0822" y="6115872"/>
              <a:ext cx="94967" cy="113253"/>
            </a:xfrm>
            <a:custGeom>
              <a:avLst/>
              <a:gdLst>
                <a:gd name="T0" fmla="*/ 0 w 136"/>
                <a:gd name="T1" fmla="*/ 161 h 161"/>
                <a:gd name="T2" fmla="*/ 0 w 136"/>
                <a:gd name="T3" fmla="*/ 0 h 161"/>
                <a:gd name="T4" fmla="*/ 20 w 136"/>
                <a:gd name="T5" fmla="*/ 0 h 161"/>
                <a:gd name="T6" fmla="*/ 88 w 136"/>
                <a:gd name="T7" fmla="*/ 90 h 161"/>
                <a:gd name="T8" fmla="*/ 116 w 136"/>
                <a:gd name="T9" fmla="*/ 127 h 161"/>
                <a:gd name="T10" fmla="*/ 116 w 136"/>
                <a:gd name="T11" fmla="*/ 127 h 161"/>
                <a:gd name="T12" fmla="*/ 116 w 136"/>
                <a:gd name="T13" fmla="*/ 81 h 161"/>
                <a:gd name="T14" fmla="*/ 116 w 136"/>
                <a:gd name="T15" fmla="*/ 0 h 161"/>
                <a:gd name="T16" fmla="*/ 136 w 136"/>
                <a:gd name="T17" fmla="*/ 0 h 161"/>
                <a:gd name="T18" fmla="*/ 136 w 136"/>
                <a:gd name="T19" fmla="*/ 161 h 161"/>
                <a:gd name="T20" fmla="*/ 116 w 136"/>
                <a:gd name="T21" fmla="*/ 161 h 161"/>
                <a:gd name="T22" fmla="*/ 49 w 136"/>
                <a:gd name="T23" fmla="*/ 72 h 161"/>
                <a:gd name="T24" fmla="*/ 21 w 136"/>
                <a:gd name="T25" fmla="*/ 34 h 161"/>
                <a:gd name="T26" fmla="*/ 20 w 136"/>
                <a:gd name="T27" fmla="*/ 34 h 161"/>
                <a:gd name="T28" fmla="*/ 21 w 136"/>
                <a:gd name="T29" fmla="*/ 80 h 161"/>
                <a:gd name="T30" fmla="*/ 21 w 136"/>
                <a:gd name="T31" fmla="*/ 161 h 161"/>
                <a:gd name="T32" fmla="*/ 0 w 136"/>
                <a:gd name="T33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61">
                  <a:moveTo>
                    <a:pt x="0" y="16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88" y="90"/>
                    <a:pt x="88" y="90"/>
                    <a:pt x="88" y="90"/>
                  </a:cubicBezTo>
                  <a:cubicBezTo>
                    <a:pt x="97" y="102"/>
                    <a:pt x="106" y="114"/>
                    <a:pt x="116" y="127"/>
                  </a:cubicBezTo>
                  <a:cubicBezTo>
                    <a:pt x="116" y="127"/>
                    <a:pt x="116" y="127"/>
                    <a:pt x="116" y="127"/>
                  </a:cubicBezTo>
                  <a:cubicBezTo>
                    <a:pt x="116" y="113"/>
                    <a:pt x="116" y="97"/>
                    <a:pt x="116" y="81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161"/>
                    <a:pt x="136" y="161"/>
                    <a:pt x="136" y="161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39" y="60"/>
                    <a:pt x="30" y="47"/>
                    <a:pt x="21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1" y="48"/>
                    <a:pt x="21" y="65"/>
                    <a:pt x="21" y="80"/>
                  </a:cubicBezTo>
                  <a:cubicBezTo>
                    <a:pt x="21" y="161"/>
                    <a:pt x="21" y="161"/>
                    <a:pt x="21" y="161"/>
                  </a:cubicBezTo>
                  <a:lnTo>
                    <a:pt x="0" y="16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614C5C17-9731-4A21-BE20-2AE052E5F0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6729" y="6115872"/>
              <a:ext cx="101750" cy="113253"/>
            </a:xfrm>
            <a:custGeom>
              <a:avLst/>
              <a:gdLst>
                <a:gd name="T0" fmla="*/ 0 w 145"/>
                <a:gd name="T1" fmla="*/ 0 h 161"/>
                <a:gd name="T2" fmla="*/ 23 w 145"/>
                <a:gd name="T3" fmla="*/ 0 h 161"/>
                <a:gd name="T4" fmla="*/ 57 w 145"/>
                <a:gd name="T5" fmla="*/ 90 h 161"/>
                <a:gd name="T6" fmla="*/ 73 w 145"/>
                <a:gd name="T7" fmla="*/ 133 h 161"/>
                <a:gd name="T8" fmla="*/ 73 w 145"/>
                <a:gd name="T9" fmla="*/ 133 h 161"/>
                <a:gd name="T10" fmla="*/ 89 w 145"/>
                <a:gd name="T11" fmla="*/ 90 h 161"/>
                <a:gd name="T12" fmla="*/ 124 w 145"/>
                <a:gd name="T13" fmla="*/ 0 h 161"/>
                <a:gd name="T14" fmla="*/ 145 w 145"/>
                <a:gd name="T15" fmla="*/ 0 h 161"/>
                <a:gd name="T16" fmla="*/ 84 w 145"/>
                <a:gd name="T17" fmla="*/ 161 h 161"/>
                <a:gd name="T18" fmla="*/ 62 w 145"/>
                <a:gd name="T19" fmla="*/ 161 h 161"/>
                <a:gd name="T20" fmla="*/ 0 w 145"/>
                <a:gd name="T21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5" h="161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62" y="104"/>
                    <a:pt x="67" y="118"/>
                    <a:pt x="73" y="133"/>
                  </a:cubicBezTo>
                  <a:cubicBezTo>
                    <a:pt x="73" y="133"/>
                    <a:pt x="73" y="133"/>
                    <a:pt x="73" y="133"/>
                  </a:cubicBezTo>
                  <a:cubicBezTo>
                    <a:pt x="79" y="118"/>
                    <a:pt x="84" y="104"/>
                    <a:pt x="89" y="9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84" y="161"/>
                    <a:pt x="84" y="161"/>
                    <a:pt x="84" y="161"/>
                  </a:cubicBezTo>
                  <a:cubicBezTo>
                    <a:pt x="62" y="161"/>
                    <a:pt x="62" y="161"/>
                    <a:pt x="62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875D6CEE-8A5C-4632-968D-932A5901A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60009" y="6115872"/>
              <a:ext cx="66654" cy="113253"/>
            </a:xfrm>
            <a:custGeom>
              <a:avLst/>
              <a:gdLst>
                <a:gd name="T0" fmla="*/ 0 w 226"/>
                <a:gd name="T1" fmla="*/ 0 h 384"/>
                <a:gd name="T2" fmla="*/ 221 w 226"/>
                <a:gd name="T3" fmla="*/ 0 h 384"/>
                <a:gd name="T4" fmla="*/ 221 w 226"/>
                <a:gd name="T5" fmla="*/ 45 h 384"/>
                <a:gd name="T6" fmla="*/ 50 w 226"/>
                <a:gd name="T7" fmla="*/ 45 h 384"/>
                <a:gd name="T8" fmla="*/ 50 w 226"/>
                <a:gd name="T9" fmla="*/ 162 h 384"/>
                <a:gd name="T10" fmla="*/ 199 w 226"/>
                <a:gd name="T11" fmla="*/ 162 h 384"/>
                <a:gd name="T12" fmla="*/ 199 w 226"/>
                <a:gd name="T13" fmla="*/ 207 h 384"/>
                <a:gd name="T14" fmla="*/ 50 w 226"/>
                <a:gd name="T15" fmla="*/ 207 h 384"/>
                <a:gd name="T16" fmla="*/ 50 w 226"/>
                <a:gd name="T17" fmla="*/ 338 h 384"/>
                <a:gd name="T18" fmla="*/ 226 w 226"/>
                <a:gd name="T19" fmla="*/ 338 h 384"/>
                <a:gd name="T20" fmla="*/ 226 w 226"/>
                <a:gd name="T21" fmla="*/ 384 h 384"/>
                <a:gd name="T22" fmla="*/ 0 w 226"/>
                <a:gd name="T23" fmla="*/ 384 h 384"/>
                <a:gd name="T24" fmla="*/ 0 w 226"/>
                <a:gd name="T25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" h="384">
                  <a:moveTo>
                    <a:pt x="0" y="0"/>
                  </a:moveTo>
                  <a:lnTo>
                    <a:pt x="221" y="0"/>
                  </a:lnTo>
                  <a:lnTo>
                    <a:pt x="221" y="45"/>
                  </a:lnTo>
                  <a:lnTo>
                    <a:pt x="50" y="45"/>
                  </a:lnTo>
                  <a:lnTo>
                    <a:pt x="50" y="162"/>
                  </a:lnTo>
                  <a:lnTo>
                    <a:pt x="199" y="162"/>
                  </a:lnTo>
                  <a:lnTo>
                    <a:pt x="199" y="207"/>
                  </a:lnTo>
                  <a:lnTo>
                    <a:pt x="50" y="207"/>
                  </a:lnTo>
                  <a:lnTo>
                    <a:pt x="50" y="338"/>
                  </a:lnTo>
                  <a:lnTo>
                    <a:pt x="226" y="338"/>
                  </a:lnTo>
                  <a:lnTo>
                    <a:pt x="226" y="384"/>
                  </a:lnTo>
                  <a:lnTo>
                    <a:pt x="0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A6DD66C5-B79D-4239-B301-865EE3CC39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50257" y="6114397"/>
              <a:ext cx="74322" cy="116792"/>
            </a:xfrm>
            <a:custGeom>
              <a:avLst/>
              <a:gdLst>
                <a:gd name="T0" fmla="*/ 4 w 106"/>
                <a:gd name="T1" fmla="*/ 130 h 166"/>
                <a:gd name="T2" fmla="*/ 52 w 106"/>
                <a:gd name="T3" fmla="*/ 146 h 166"/>
                <a:gd name="T4" fmla="*/ 85 w 106"/>
                <a:gd name="T5" fmla="*/ 120 h 166"/>
                <a:gd name="T6" fmla="*/ 45 w 106"/>
                <a:gd name="T7" fmla="*/ 90 h 166"/>
                <a:gd name="T8" fmla="*/ 0 w 106"/>
                <a:gd name="T9" fmla="*/ 45 h 166"/>
                <a:gd name="T10" fmla="*/ 52 w 106"/>
                <a:gd name="T11" fmla="*/ 0 h 166"/>
                <a:gd name="T12" fmla="*/ 99 w 106"/>
                <a:gd name="T13" fmla="*/ 12 h 166"/>
                <a:gd name="T14" fmla="*/ 99 w 106"/>
                <a:gd name="T15" fmla="*/ 34 h 166"/>
                <a:gd name="T16" fmla="*/ 52 w 106"/>
                <a:gd name="T17" fmla="*/ 19 h 166"/>
                <a:gd name="T18" fmla="*/ 21 w 106"/>
                <a:gd name="T19" fmla="*/ 43 h 166"/>
                <a:gd name="T20" fmla="*/ 59 w 106"/>
                <a:gd name="T21" fmla="*/ 72 h 166"/>
                <a:gd name="T22" fmla="*/ 106 w 106"/>
                <a:gd name="T23" fmla="*/ 119 h 166"/>
                <a:gd name="T24" fmla="*/ 52 w 106"/>
                <a:gd name="T25" fmla="*/ 166 h 166"/>
                <a:gd name="T26" fmla="*/ 4 w 106"/>
                <a:gd name="T27" fmla="*/ 153 h 166"/>
                <a:gd name="T28" fmla="*/ 4 w 106"/>
                <a:gd name="T29" fmla="*/ 13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6" h="166">
                  <a:moveTo>
                    <a:pt x="4" y="130"/>
                  </a:moveTo>
                  <a:cubicBezTo>
                    <a:pt x="19" y="141"/>
                    <a:pt x="38" y="146"/>
                    <a:pt x="52" y="146"/>
                  </a:cubicBezTo>
                  <a:cubicBezTo>
                    <a:pt x="71" y="146"/>
                    <a:pt x="85" y="138"/>
                    <a:pt x="85" y="120"/>
                  </a:cubicBezTo>
                  <a:cubicBezTo>
                    <a:pt x="85" y="99"/>
                    <a:pt x="66" y="96"/>
                    <a:pt x="45" y="90"/>
                  </a:cubicBezTo>
                  <a:cubicBezTo>
                    <a:pt x="22" y="83"/>
                    <a:pt x="0" y="74"/>
                    <a:pt x="0" y="45"/>
                  </a:cubicBezTo>
                  <a:cubicBezTo>
                    <a:pt x="0" y="16"/>
                    <a:pt x="21" y="0"/>
                    <a:pt x="52" y="0"/>
                  </a:cubicBezTo>
                  <a:cubicBezTo>
                    <a:pt x="67" y="0"/>
                    <a:pt x="86" y="4"/>
                    <a:pt x="99" y="12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84" y="24"/>
                    <a:pt x="66" y="19"/>
                    <a:pt x="52" y="19"/>
                  </a:cubicBezTo>
                  <a:cubicBezTo>
                    <a:pt x="34" y="19"/>
                    <a:pt x="21" y="27"/>
                    <a:pt x="21" y="43"/>
                  </a:cubicBezTo>
                  <a:cubicBezTo>
                    <a:pt x="21" y="63"/>
                    <a:pt x="40" y="67"/>
                    <a:pt x="59" y="72"/>
                  </a:cubicBezTo>
                  <a:cubicBezTo>
                    <a:pt x="83" y="79"/>
                    <a:pt x="106" y="88"/>
                    <a:pt x="106" y="119"/>
                  </a:cubicBezTo>
                  <a:cubicBezTo>
                    <a:pt x="106" y="148"/>
                    <a:pt x="84" y="166"/>
                    <a:pt x="52" y="166"/>
                  </a:cubicBezTo>
                  <a:cubicBezTo>
                    <a:pt x="37" y="166"/>
                    <a:pt x="18" y="161"/>
                    <a:pt x="4" y="153"/>
                  </a:cubicBezTo>
                  <a:lnTo>
                    <a:pt x="4" y="13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C62E8015-31FC-40BB-BF70-FCA99B5D17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35786" y="6115872"/>
              <a:ext cx="90248" cy="113253"/>
            </a:xfrm>
            <a:custGeom>
              <a:avLst/>
              <a:gdLst>
                <a:gd name="T0" fmla="*/ 128 w 306"/>
                <a:gd name="T1" fmla="*/ 45 h 384"/>
                <a:gd name="T2" fmla="*/ 0 w 306"/>
                <a:gd name="T3" fmla="*/ 45 h 384"/>
                <a:gd name="T4" fmla="*/ 0 w 306"/>
                <a:gd name="T5" fmla="*/ 0 h 384"/>
                <a:gd name="T6" fmla="*/ 306 w 306"/>
                <a:gd name="T7" fmla="*/ 0 h 384"/>
                <a:gd name="T8" fmla="*/ 306 w 306"/>
                <a:gd name="T9" fmla="*/ 45 h 384"/>
                <a:gd name="T10" fmla="*/ 178 w 306"/>
                <a:gd name="T11" fmla="*/ 45 h 384"/>
                <a:gd name="T12" fmla="*/ 178 w 306"/>
                <a:gd name="T13" fmla="*/ 384 h 384"/>
                <a:gd name="T14" fmla="*/ 128 w 306"/>
                <a:gd name="T15" fmla="*/ 384 h 384"/>
                <a:gd name="T16" fmla="*/ 128 w 306"/>
                <a:gd name="T17" fmla="*/ 45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6" h="384">
                  <a:moveTo>
                    <a:pt x="128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306" y="0"/>
                  </a:lnTo>
                  <a:lnTo>
                    <a:pt x="306" y="45"/>
                  </a:lnTo>
                  <a:lnTo>
                    <a:pt x="178" y="45"/>
                  </a:lnTo>
                  <a:lnTo>
                    <a:pt x="178" y="384"/>
                  </a:lnTo>
                  <a:lnTo>
                    <a:pt x="128" y="384"/>
                  </a:lnTo>
                  <a:lnTo>
                    <a:pt x="128" y="4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270D0C29-CCCB-4467-B960-D9AC772097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4066" y="6270414"/>
              <a:ext cx="153953" cy="113253"/>
            </a:xfrm>
            <a:custGeom>
              <a:avLst/>
              <a:gdLst>
                <a:gd name="T0" fmla="*/ 0 w 220"/>
                <a:gd name="T1" fmla="*/ 0 h 161"/>
                <a:gd name="T2" fmla="*/ 22 w 220"/>
                <a:gd name="T3" fmla="*/ 0 h 161"/>
                <a:gd name="T4" fmla="*/ 49 w 220"/>
                <a:gd name="T5" fmla="*/ 87 h 161"/>
                <a:gd name="T6" fmla="*/ 62 w 220"/>
                <a:gd name="T7" fmla="*/ 129 h 161"/>
                <a:gd name="T8" fmla="*/ 62 w 220"/>
                <a:gd name="T9" fmla="*/ 129 h 161"/>
                <a:gd name="T10" fmla="*/ 75 w 220"/>
                <a:gd name="T11" fmla="*/ 87 h 161"/>
                <a:gd name="T12" fmla="*/ 103 w 220"/>
                <a:gd name="T13" fmla="*/ 0 h 161"/>
                <a:gd name="T14" fmla="*/ 118 w 220"/>
                <a:gd name="T15" fmla="*/ 0 h 161"/>
                <a:gd name="T16" fmla="*/ 145 w 220"/>
                <a:gd name="T17" fmla="*/ 87 h 161"/>
                <a:gd name="T18" fmla="*/ 158 w 220"/>
                <a:gd name="T19" fmla="*/ 129 h 161"/>
                <a:gd name="T20" fmla="*/ 159 w 220"/>
                <a:gd name="T21" fmla="*/ 129 h 161"/>
                <a:gd name="T22" fmla="*/ 171 w 220"/>
                <a:gd name="T23" fmla="*/ 87 h 161"/>
                <a:gd name="T24" fmla="*/ 198 w 220"/>
                <a:gd name="T25" fmla="*/ 0 h 161"/>
                <a:gd name="T26" fmla="*/ 220 w 220"/>
                <a:gd name="T27" fmla="*/ 0 h 161"/>
                <a:gd name="T28" fmla="*/ 170 w 220"/>
                <a:gd name="T29" fmla="*/ 161 h 161"/>
                <a:gd name="T30" fmla="*/ 147 w 220"/>
                <a:gd name="T31" fmla="*/ 161 h 161"/>
                <a:gd name="T32" fmla="*/ 121 w 220"/>
                <a:gd name="T33" fmla="*/ 79 h 161"/>
                <a:gd name="T34" fmla="*/ 110 w 220"/>
                <a:gd name="T35" fmla="*/ 42 h 161"/>
                <a:gd name="T36" fmla="*/ 110 w 220"/>
                <a:gd name="T37" fmla="*/ 42 h 161"/>
                <a:gd name="T38" fmla="*/ 98 w 220"/>
                <a:gd name="T39" fmla="*/ 79 h 161"/>
                <a:gd name="T40" fmla="*/ 73 w 220"/>
                <a:gd name="T41" fmla="*/ 161 h 161"/>
                <a:gd name="T42" fmla="*/ 50 w 220"/>
                <a:gd name="T43" fmla="*/ 161 h 161"/>
                <a:gd name="T44" fmla="*/ 0 w 220"/>
                <a:gd name="T45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0" h="161">
                  <a:moveTo>
                    <a:pt x="0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54" y="101"/>
                    <a:pt x="58" y="115"/>
                    <a:pt x="62" y="129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66" y="115"/>
                    <a:pt x="71" y="101"/>
                    <a:pt x="75" y="87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45" y="87"/>
                    <a:pt x="145" y="87"/>
                    <a:pt x="145" y="87"/>
                  </a:cubicBezTo>
                  <a:cubicBezTo>
                    <a:pt x="150" y="101"/>
                    <a:pt x="154" y="115"/>
                    <a:pt x="158" y="129"/>
                  </a:cubicBezTo>
                  <a:cubicBezTo>
                    <a:pt x="159" y="129"/>
                    <a:pt x="159" y="129"/>
                    <a:pt x="159" y="129"/>
                  </a:cubicBezTo>
                  <a:cubicBezTo>
                    <a:pt x="163" y="115"/>
                    <a:pt x="167" y="101"/>
                    <a:pt x="171" y="87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170" y="161"/>
                    <a:pt x="170" y="161"/>
                    <a:pt x="170" y="161"/>
                  </a:cubicBezTo>
                  <a:cubicBezTo>
                    <a:pt x="147" y="161"/>
                    <a:pt x="147" y="161"/>
                    <a:pt x="147" y="161"/>
                  </a:cubicBezTo>
                  <a:cubicBezTo>
                    <a:pt x="121" y="79"/>
                    <a:pt x="121" y="79"/>
                    <a:pt x="121" y="79"/>
                  </a:cubicBezTo>
                  <a:cubicBezTo>
                    <a:pt x="117" y="66"/>
                    <a:pt x="114" y="54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06" y="54"/>
                    <a:pt x="102" y="67"/>
                    <a:pt x="98" y="79"/>
                  </a:cubicBezTo>
                  <a:cubicBezTo>
                    <a:pt x="73" y="161"/>
                    <a:pt x="73" y="161"/>
                    <a:pt x="73" y="161"/>
                  </a:cubicBezTo>
                  <a:cubicBezTo>
                    <a:pt x="50" y="161"/>
                    <a:pt x="50" y="161"/>
                    <a:pt x="50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5C85FB6A-2060-4D3C-ABA7-7A9AAF53A57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490111" y="6268940"/>
              <a:ext cx="114727" cy="115907"/>
            </a:xfrm>
            <a:custGeom>
              <a:avLst/>
              <a:gdLst>
                <a:gd name="T0" fmla="*/ 82 w 164"/>
                <a:gd name="T1" fmla="*/ 0 h 165"/>
                <a:gd name="T2" fmla="*/ 164 w 164"/>
                <a:gd name="T3" fmla="*/ 82 h 165"/>
                <a:gd name="T4" fmla="*/ 82 w 164"/>
                <a:gd name="T5" fmla="*/ 165 h 165"/>
                <a:gd name="T6" fmla="*/ 0 w 164"/>
                <a:gd name="T7" fmla="*/ 82 h 165"/>
                <a:gd name="T8" fmla="*/ 82 w 164"/>
                <a:gd name="T9" fmla="*/ 0 h 165"/>
                <a:gd name="T10" fmla="*/ 82 w 164"/>
                <a:gd name="T11" fmla="*/ 146 h 165"/>
                <a:gd name="T12" fmla="*/ 143 w 164"/>
                <a:gd name="T13" fmla="*/ 82 h 165"/>
                <a:gd name="T14" fmla="*/ 82 w 164"/>
                <a:gd name="T15" fmla="*/ 19 h 165"/>
                <a:gd name="T16" fmla="*/ 22 w 164"/>
                <a:gd name="T17" fmla="*/ 82 h 165"/>
                <a:gd name="T18" fmla="*/ 82 w 164"/>
                <a:gd name="T19" fmla="*/ 146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5">
                  <a:moveTo>
                    <a:pt x="82" y="0"/>
                  </a:moveTo>
                  <a:cubicBezTo>
                    <a:pt x="129" y="0"/>
                    <a:pt x="164" y="36"/>
                    <a:pt x="164" y="82"/>
                  </a:cubicBezTo>
                  <a:cubicBezTo>
                    <a:pt x="164" y="129"/>
                    <a:pt x="129" y="165"/>
                    <a:pt x="82" y="165"/>
                  </a:cubicBezTo>
                  <a:cubicBezTo>
                    <a:pt x="36" y="165"/>
                    <a:pt x="0" y="129"/>
                    <a:pt x="0" y="82"/>
                  </a:cubicBezTo>
                  <a:cubicBezTo>
                    <a:pt x="0" y="36"/>
                    <a:pt x="36" y="0"/>
                    <a:pt x="82" y="0"/>
                  </a:cubicBezTo>
                  <a:close/>
                  <a:moveTo>
                    <a:pt x="82" y="146"/>
                  </a:moveTo>
                  <a:cubicBezTo>
                    <a:pt x="117" y="146"/>
                    <a:pt x="143" y="118"/>
                    <a:pt x="143" y="82"/>
                  </a:cubicBezTo>
                  <a:cubicBezTo>
                    <a:pt x="143" y="47"/>
                    <a:pt x="117" y="19"/>
                    <a:pt x="82" y="19"/>
                  </a:cubicBezTo>
                  <a:cubicBezTo>
                    <a:pt x="47" y="19"/>
                    <a:pt x="22" y="47"/>
                    <a:pt x="22" y="82"/>
                  </a:cubicBezTo>
                  <a:cubicBezTo>
                    <a:pt x="22" y="118"/>
                    <a:pt x="47" y="146"/>
                    <a:pt x="82" y="14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3E341B19-7C32-4D70-9632-114537945E2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631382" y="6270414"/>
              <a:ext cx="86119" cy="113253"/>
            </a:xfrm>
            <a:custGeom>
              <a:avLst/>
              <a:gdLst>
                <a:gd name="T0" fmla="*/ 0 w 123"/>
                <a:gd name="T1" fmla="*/ 0 h 161"/>
                <a:gd name="T2" fmla="*/ 43 w 123"/>
                <a:gd name="T3" fmla="*/ 0 h 161"/>
                <a:gd name="T4" fmla="*/ 88 w 123"/>
                <a:gd name="T5" fmla="*/ 8 h 161"/>
                <a:gd name="T6" fmla="*/ 111 w 123"/>
                <a:gd name="T7" fmla="*/ 46 h 161"/>
                <a:gd name="T8" fmla="*/ 90 w 123"/>
                <a:gd name="T9" fmla="*/ 83 h 161"/>
                <a:gd name="T10" fmla="*/ 71 w 123"/>
                <a:gd name="T11" fmla="*/ 90 h 161"/>
                <a:gd name="T12" fmla="*/ 123 w 123"/>
                <a:gd name="T13" fmla="*/ 161 h 161"/>
                <a:gd name="T14" fmla="*/ 97 w 123"/>
                <a:gd name="T15" fmla="*/ 161 h 161"/>
                <a:gd name="T16" fmla="*/ 48 w 123"/>
                <a:gd name="T17" fmla="*/ 92 h 161"/>
                <a:gd name="T18" fmla="*/ 21 w 123"/>
                <a:gd name="T19" fmla="*/ 92 h 161"/>
                <a:gd name="T20" fmla="*/ 21 w 123"/>
                <a:gd name="T21" fmla="*/ 161 h 161"/>
                <a:gd name="T22" fmla="*/ 0 w 123"/>
                <a:gd name="T23" fmla="*/ 161 h 161"/>
                <a:gd name="T24" fmla="*/ 0 w 123"/>
                <a:gd name="T25" fmla="*/ 0 h 161"/>
                <a:gd name="T26" fmla="*/ 48 w 123"/>
                <a:gd name="T27" fmla="*/ 75 h 161"/>
                <a:gd name="T28" fmla="*/ 80 w 123"/>
                <a:gd name="T29" fmla="*/ 67 h 161"/>
                <a:gd name="T30" fmla="*/ 89 w 123"/>
                <a:gd name="T31" fmla="*/ 47 h 161"/>
                <a:gd name="T32" fmla="*/ 76 w 123"/>
                <a:gd name="T33" fmla="*/ 25 h 161"/>
                <a:gd name="T34" fmla="*/ 42 w 123"/>
                <a:gd name="T35" fmla="*/ 19 h 161"/>
                <a:gd name="T36" fmla="*/ 21 w 123"/>
                <a:gd name="T37" fmla="*/ 19 h 161"/>
                <a:gd name="T38" fmla="*/ 21 w 123"/>
                <a:gd name="T39" fmla="*/ 75 h 161"/>
                <a:gd name="T40" fmla="*/ 48 w 123"/>
                <a:gd name="T41" fmla="*/ 75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3" h="161">
                  <a:moveTo>
                    <a:pt x="0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60" y="0"/>
                    <a:pt x="75" y="1"/>
                    <a:pt x="88" y="8"/>
                  </a:cubicBezTo>
                  <a:cubicBezTo>
                    <a:pt x="102" y="15"/>
                    <a:pt x="111" y="28"/>
                    <a:pt x="111" y="46"/>
                  </a:cubicBezTo>
                  <a:cubicBezTo>
                    <a:pt x="111" y="63"/>
                    <a:pt x="102" y="76"/>
                    <a:pt x="90" y="83"/>
                  </a:cubicBezTo>
                  <a:cubicBezTo>
                    <a:pt x="84" y="87"/>
                    <a:pt x="78" y="89"/>
                    <a:pt x="71" y="90"/>
                  </a:cubicBezTo>
                  <a:cubicBezTo>
                    <a:pt x="123" y="161"/>
                    <a:pt x="123" y="161"/>
                    <a:pt x="123" y="161"/>
                  </a:cubicBezTo>
                  <a:cubicBezTo>
                    <a:pt x="97" y="161"/>
                    <a:pt x="97" y="161"/>
                    <a:pt x="97" y="161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0" y="161"/>
                    <a:pt x="0" y="161"/>
                    <a:pt x="0" y="161"/>
                  </a:cubicBezTo>
                  <a:lnTo>
                    <a:pt x="0" y="0"/>
                  </a:lnTo>
                  <a:close/>
                  <a:moveTo>
                    <a:pt x="48" y="75"/>
                  </a:moveTo>
                  <a:cubicBezTo>
                    <a:pt x="63" y="75"/>
                    <a:pt x="73" y="73"/>
                    <a:pt x="80" y="67"/>
                  </a:cubicBezTo>
                  <a:cubicBezTo>
                    <a:pt x="86" y="63"/>
                    <a:pt x="89" y="56"/>
                    <a:pt x="89" y="47"/>
                  </a:cubicBezTo>
                  <a:cubicBezTo>
                    <a:pt x="89" y="37"/>
                    <a:pt x="85" y="29"/>
                    <a:pt x="76" y="25"/>
                  </a:cubicBezTo>
                  <a:cubicBezTo>
                    <a:pt x="68" y="20"/>
                    <a:pt x="57" y="19"/>
                    <a:pt x="42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75"/>
                    <a:pt x="21" y="75"/>
                    <a:pt x="21" y="75"/>
                  </a:cubicBezTo>
                  <a:lnTo>
                    <a:pt x="48" y="7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15">
              <a:extLst>
                <a:ext uri="{FF2B5EF4-FFF2-40B4-BE49-F238E27FC236}">
                  <a16:creationId xmlns:a16="http://schemas.microsoft.com/office/drawing/2014/main" id="{42A3DF8E-CBD0-4160-8CA0-10BD54FA60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44929" y="6270414"/>
              <a:ext cx="86709" cy="113253"/>
            </a:xfrm>
            <a:custGeom>
              <a:avLst/>
              <a:gdLst>
                <a:gd name="T0" fmla="*/ 0 w 294"/>
                <a:gd name="T1" fmla="*/ 0 h 384"/>
                <a:gd name="T2" fmla="*/ 49 w 294"/>
                <a:gd name="T3" fmla="*/ 0 h 384"/>
                <a:gd name="T4" fmla="*/ 49 w 294"/>
                <a:gd name="T5" fmla="*/ 174 h 384"/>
                <a:gd name="T6" fmla="*/ 49 w 294"/>
                <a:gd name="T7" fmla="*/ 174 h 384"/>
                <a:gd name="T8" fmla="*/ 216 w 294"/>
                <a:gd name="T9" fmla="*/ 0 h 384"/>
                <a:gd name="T10" fmla="*/ 280 w 294"/>
                <a:gd name="T11" fmla="*/ 0 h 384"/>
                <a:gd name="T12" fmla="*/ 106 w 294"/>
                <a:gd name="T13" fmla="*/ 179 h 384"/>
                <a:gd name="T14" fmla="*/ 294 w 294"/>
                <a:gd name="T15" fmla="*/ 384 h 384"/>
                <a:gd name="T16" fmla="*/ 227 w 294"/>
                <a:gd name="T17" fmla="*/ 384 h 384"/>
                <a:gd name="T18" fmla="*/ 49 w 294"/>
                <a:gd name="T19" fmla="*/ 186 h 384"/>
                <a:gd name="T20" fmla="*/ 49 w 294"/>
                <a:gd name="T21" fmla="*/ 186 h 384"/>
                <a:gd name="T22" fmla="*/ 49 w 294"/>
                <a:gd name="T23" fmla="*/ 384 h 384"/>
                <a:gd name="T24" fmla="*/ 0 w 294"/>
                <a:gd name="T25" fmla="*/ 384 h 384"/>
                <a:gd name="T26" fmla="*/ 0 w 294"/>
                <a:gd name="T27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384">
                  <a:moveTo>
                    <a:pt x="0" y="0"/>
                  </a:moveTo>
                  <a:lnTo>
                    <a:pt x="49" y="0"/>
                  </a:lnTo>
                  <a:lnTo>
                    <a:pt x="49" y="174"/>
                  </a:lnTo>
                  <a:lnTo>
                    <a:pt x="49" y="174"/>
                  </a:lnTo>
                  <a:lnTo>
                    <a:pt x="216" y="0"/>
                  </a:lnTo>
                  <a:lnTo>
                    <a:pt x="280" y="0"/>
                  </a:lnTo>
                  <a:lnTo>
                    <a:pt x="106" y="179"/>
                  </a:lnTo>
                  <a:lnTo>
                    <a:pt x="294" y="384"/>
                  </a:lnTo>
                  <a:lnTo>
                    <a:pt x="227" y="384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384"/>
                  </a:lnTo>
                  <a:lnTo>
                    <a:pt x="0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16">
              <a:extLst>
                <a:ext uri="{FF2B5EF4-FFF2-40B4-BE49-F238E27FC236}">
                  <a16:creationId xmlns:a16="http://schemas.microsoft.com/office/drawing/2014/main" id="{A60C034D-DF67-477E-9F05-077DAEC6E2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67106" y="6424367"/>
              <a:ext cx="66359" cy="112958"/>
            </a:xfrm>
            <a:custGeom>
              <a:avLst/>
              <a:gdLst>
                <a:gd name="T0" fmla="*/ 0 w 225"/>
                <a:gd name="T1" fmla="*/ 0 h 383"/>
                <a:gd name="T2" fmla="*/ 225 w 225"/>
                <a:gd name="T3" fmla="*/ 0 h 383"/>
                <a:gd name="T4" fmla="*/ 225 w 225"/>
                <a:gd name="T5" fmla="*/ 45 h 383"/>
                <a:gd name="T6" fmla="*/ 49 w 225"/>
                <a:gd name="T7" fmla="*/ 45 h 383"/>
                <a:gd name="T8" fmla="*/ 49 w 225"/>
                <a:gd name="T9" fmla="*/ 169 h 383"/>
                <a:gd name="T10" fmla="*/ 204 w 225"/>
                <a:gd name="T11" fmla="*/ 169 h 383"/>
                <a:gd name="T12" fmla="*/ 204 w 225"/>
                <a:gd name="T13" fmla="*/ 214 h 383"/>
                <a:gd name="T14" fmla="*/ 49 w 225"/>
                <a:gd name="T15" fmla="*/ 214 h 383"/>
                <a:gd name="T16" fmla="*/ 49 w 225"/>
                <a:gd name="T17" fmla="*/ 383 h 383"/>
                <a:gd name="T18" fmla="*/ 0 w 225"/>
                <a:gd name="T19" fmla="*/ 383 h 383"/>
                <a:gd name="T20" fmla="*/ 0 w 225"/>
                <a:gd name="T21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5" h="383">
                  <a:moveTo>
                    <a:pt x="0" y="0"/>
                  </a:moveTo>
                  <a:lnTo>
                    <a:pt x="225" y="0"/>
                  </a:lnTo>
                  <a:lnTo>
                    <a:pt x="225" y="45"/>
                  </a:lnTo>
                  <a:lnTo>
                    <a:pt x="49" y="45"/>
                  </a:lnTo>
                  <a:lnTo>
                    <a:pt x="49" y="169"/>
                  </a:lnTo>
                  <a:lnTo>
                    <a:pt x="204" y="169"/>
                  </a:lnTo>
                  <a:lnTo>
                    <a:pt x="204" y="214"/>
                  </a:lnTo>
                  <a:lnTo>
                    <a:pt x="49" y="214"/>
                  </a:lnTo>
                  <a:lnTo>
                    <a:pt x="49" y="383"/>
                  </a:lnTo>
                  <a:lnTo>
                    <a:pt x="0" y="3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Rectangle 17">
              <a:extLst>
                <a:ext uri="{FF2B5EF4-FFF2-40B4-BE49-F238E27FC236}">
                  <a16:creationId xmlns:a16="http://schemas.microsoft.com/office/drawing/2014/main" id="{D61A07B3-BEDD-45ED-889D-F939DCA5D70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565023" y="6424367"/>
              <a:ext cx="14746" cy="11295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18">
              <a:extLst>
                <a:ext uri="{FF2B5EF4-FFF2-40B4-BE49-F238E27FC236}">
                  <a16:creationId xmlns:a16="http://schemas.microsoft.com/office/drawing/2014/main" id="{BB0A61BA-4742-4090-A0CE-F9A6537B11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15455" y="6424367"/>
              <a:ext cx="67834" cy="112958"/>
            </a:xfrm>
            <a:custGeom>
              <a:avLst/>
              <a:gdLst>
                <a:gd name="T0" fmla="*/ 0 w 230"/>
                <a:gd name="T1" fmla="*/ 0 h 383"/>
                <a:gd name="T2" fmla="*/ 49 w 230"/>
                <a:gd name="T3" fmla="*/ 0 h 383"/>
                <a:gd name="T4" fmla="*/ 49 w 230"/>
                <a:gd name="T5" fmla="*/ 338 h 383"/>
                <a:gd name="T6" fmla="*/ 230 w 230"/>
                <a:gd name="T7" fmla="*/ 338 h 383"/>
                <a:gd name="T8" fmla="*/ 230 w 230"/>
                <a:gd name="T9" fmla="*/ 383 h 383"/>
                <a:gd name="T10" fmla="*/ 0 w 230"/>
                <a:gd name="T11" fmla="*/ 383 h 383"/>
                <a:gd name="T12" fmla="*/ 0 w 230"/>
                <a:gd name="T13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0" h="383">
                  <a:moveTo>
                    <a:pt x="0" y="0"/>
                  </a:moveTo>
                  <a:lnTo>
                    <a:pt x="49" y="0"/>
                  </a:lnTo>
                  <a:lnTo>
                    <a:pt x="49" y="338"/>
                  </a:lnTo>
                  <a:lnTo>
                    <a:pt x="230" y="338"/>
                  </a:lnTo>
                  <a:lnTo>
                    <a:pt x="230" y="383"/>
                  </a:lnTo>
                  <a:lnTo>
                    <a:pt x="0" y="3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19">
              <a:extLst>
                <a:ext uri="{FF2B5EF4-FFF2-40B4-BE49-F238E27FC236}">
                  <a16:creationId xmlns:a16="http://schemas.microsoft.com/office/drawing/2014/main" id="{DC4A937F-B0EC-41AA-B2F9-149C9CDB35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08358" y="6424367"/>
              <a:ext cx="108534" cy="112958"/>
            </a:xfrm>
            <a:custGeom>
              <a:avLst/>
              <a:gdLst>
                <a:gd name="T0" fmla="*/ 42 w 155"/>
                <a:gd name="T1" fmla="*/ 67 h 161"/>
                <a:gd name="T2" fmla="*/ 20 w 155"/>
                <a:gd name="T3" fmla="*/ 35 h 161"/>
                <a:gd name="T4" fmla="*/ 20 w 155"/>
                <a:gd name="T5" fmla="*/ 36 h 161"/>
                <a:gd name="T6" fmla="*/ 20 w 155"/>
                <a:gd name="T7" fmla="*/ 71 h 161"/>
                <a:gd name="T8" fmla="*/ 20 w 155"/>
                <a:gd name="T9" fmla="*/ 161 h 161"/>
                <a:gd name="T10" fmla="*/ 0 w 155"/>
                <a:gd name="T11" fmla="*/ 161 h 161"/>
                <a:gd name="T12" fmla="*/ 0 w 155"/>
                <a:gd name="T13" fmla="*/ 0 h 161"/>
                <a:gd name="T14" fmla="*/ 20 w 155"/>
                <a:gd name="T15" fmla="*/ 0 h 161"/>
                <a:gd name="T16" fmla="*/ 78 w 155"/>
                <a:gd name="T17" fmla="*/ 82 h 161"/>
                <a:gd name="T18" fmla="*/ 135 w 155"/>
                <a:gd name="T19" fmla="*/ 0 h 161"/>
                <a:gd name="T20" fmla="*/ 155 w 155"/>
                <a:gd name="T21" fmla="*/ 0 h 161"/>
                <a:gd name="T22" fmla="*/ 155 w 155"/>
                <a:gd name="T23" fmla="*/ 161 h 161"/>
                <a:gd name="T24" fmla="*/ 134 w 155"/>
                <a:gd name="T25" fmla="*/ 161 h 161"/>
                <a:gd name="T26" fmla="*/ 134 w 155"/>
                <a:gd name="T27" fmla="*/ 71 h 161"/>
                <a:gd name="T28" fmla="*/ 134 w 155"/>
                <a:gd name="T29" fmla="*/ 36 h 161"/>
                <a:gd name="T30" fmla="*/ 134 w 155"/>
                <a:gd name="T31" fmla="*/ 35 h 161"/>
                <a:gd name="T32" fmla="*/ 112 w 155"/>
                <a:gd name="T33" fmla="*/ 67 h 161"/>
                <a:gd name="T34" fmla="*/ 77 w 155"/>
                <a:gd name="T35" fmla="*/ 117 h 161"/>
                <a:gd name="T36" fmla="*/ 42 w 155"/>
                <a:gd name="T37" fmla="*/ 6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61">
                  <a:moveTo>
                    <a:pt x="42" y="67"/>
                  </a:moveTo>
                  <a:cubicBezTo>
                    <a:pt x="35" y="57"/>
                    <a:pt x="28" y="46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45"/>
                    <a:pt x="20" y="57"/>
                    <a:pt x="20" y="71"/>
                  </a:cubicBezTo>
                  <a:cubicBezTo>
                    <a:pt x="20" y="161"/>
                    <a:pt x="20" y="161"/>
                    <a:pt x="2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5" y="161"/>
                    <a:pt x="155" y="161"/>
                    <a:pt x="155" y="161"/>
                  </a:cubicBezTo>
                  <a:cubicBezTo>
                    <a:pt x="134" y="161"/>
                    <a:pt x="134" y="161"/>
                    <a:pt x="134" y="161"/>
                  </a:cubicBezTo>
                  <a:cubicBezTo>
                    <a:pt x="134" y="71"/>
                    <a:pt x="134" y="71"/>
                    <a:pt x="134" y="71"/>
                  </a:cubicBezTo>
                  <a:cubicBezTo>
                    <a:pt x="134" y="57"/>
                    <a:pt x="134" y="45"/>
                    <a:pt x="134" y="36"/>
                  </a:cubicBezTo>
                  <a:cubicBezTo>
                    <a:pt x="134" y="35"/>
                    <a:pt x="134" y="35"/>
                    <a:pt x="134" y="35"/>
                  </a:cubicBezTo>
                  <a:cubicBezTo>
                    <a:pt x="127" y="46"/>
                    <a:pt x="120" y="57"/>
                    <a:pt x="112" y="67"/>
                  </a:cubicBezTo>
                  <a:cubicBezTo>
                    <a:pt x="77" y="117"/>
                    <a:pt x="77" y="117"/>
                    <a:pt x="77" y="117"/>
                  </a:cubicBezTo>
                  <a:lnTo>
                    <a:pt x="42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20">
              <a:extLst>
                <a:ext uri="{FF2B5EF4-FFF2-40B4-BE49-F238E27FC236}">
                  <a16:creationId xmlns:a16="http://schemas.microsoft.com/office/drawing/2014/main" id="{EACB37AB-5CE8-42A6-AC6B-0D64CC6B82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9018" y="6115872"/>
              <a:ext cx="510226" cy="421453"/>
            </a:xfrm>
            <a:custGeom>
              <a:avLst/>
              <a:gdLst>
                <a:gd name="T0" fmla="*/ 318 w 1730"/>
                <a:gd name="T1" fmla="*/ 1429 h 1429"/>
                <a:gd name="T2" fmla="*/ 0 w 1730"/>
                <a:gd name="T3" fmla="*/ 1429 h 1429"/>
                <a:gd name="T4" fmla="*/ 721 w 1730"/>
                <a:gd name="T5" fmla="*/ 0 h 1429"/>
                <a:gd name="T6" fmla="*/ 1008 w 1730"/>
                <a:gd name="T7" fmla="*/ 0 h 1429"/>
                <a:gd name="T8" fmla="*/ 1730 w 1730"/>
                <a:gd name="T9" fmla="*/ 1429 h 1429"/>
                <a:gd name="T10" fmla="*/ 1404 w 1730"/>
                <a:gd name="T11" fmla="*/ 1429 h 1429"/>
                <a:gd name="T12" fmla="*/ 861 w 1730"/>
                <a:gd name="T13" fmla="*/ 376 h 1429"/>
                <a:gd name="T14" fmla="*/ 318 w 1730"/>
                <a:gd name="T15" fmla="*/ 1429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0" h="1429">
                  <a:moveTo>
                    <a:pt x="318" y="1429"/>
                  </a:moveTo>
                  <a:lnTo>
                    <a:pt x="0" y="1429"/>
                  </a:lnTo>
                  <a:lnTo>
                    <a:pt x="721" y="0"/>
                  </a:lnTo>
                  <a:lnTo>
                    <a:pt x="1008" y="0"/>
                  </a:lnTo>
                  <a:lnTo>
                    <a:pt x="1730" y="1429"/>
                  </a:lnTo>
                  <a:lnTo>
                    <a:pt x="1404" y="1429"/>
                  </a:lnTo>
                  <a:lnTo>
                    <a:pt x="861" y="376"/>
                  </a:lnTo>
                  <a:lnTo>
                    <a:pt x="318" y="14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21">
              <a:extLst>
                <a:ext uri="{FF2B5EF4-FFF2-40B4-BE49-F238E27FC236}">
                  <a16:creationId xmlns:a16="http://schemas.microsoft.com/office/drawing/2014/main" id="{C8583E7B-E3FF-45F1-B456-440DDD8928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82949" y="6118821"/>
              <a:ext cx="353914" cy="418504"/>
            </a:xfrm>
            <a:custGeom>
              <a:avLst/>
              <a:gdLst>
                <a:gd name="T0" fmla="*/ 0 w 506"/>
                <a:gd name="T1" fmla="*/ 596 h 596"/>
                <a:gd name="T2" fmla="*/ 74 w 506"/>
                <a:gd name="T3" fmla="*/ 596 h 596"/>
                <a:gd name="T4" fmla="*/ 127 w 506"/>
                <a:gd name="T5" fmla="*/ 596 h 596"/>
                <a:gd name="T6" fmla="*/ 283 w 506"/>
                <a:gd name="T7" fmla="*/ 596 h 596"/>
                <a:gd name="T8" fmla="*/ 506 w 506"/>
                <a:gd name="T9" fmla="*/ 433 h 596"/>
                <a:gd name="T10" fmla="*/ 395 w 506"/>
                <a:gd name="T11" fmla="*/ 285 h 596"/>
                <a:gd name="T12" fmla="*/ 473 w 506"/>
                <a:gd name="T13" fmla="*/ 156 h 596"/>
                <a:gd name="T14" fmla="*/ 432 w 506"/>
                <a:gd name="T15" fmla="*/ 53 h 596"/>
                <a:gd name="T16" fmla="*/ 276 w 506"/>
                <a:gd name="T17" fmla="*/ 0 h 596"/>
                <a:gd name="T18" fmla="*/ 0 w 506"/>
                <a:gd name="T19" fmla="*/ 0 h 596"/>
                <a:gd name="T20" fmla="*/ 0 w 506"/>
                <a:gd name="T21" fmla="*/ 115 h 596"/>
                <a:gd name="T22" fmla="*/ 257 w 506"/>
                <a:gd name="T23" fmla="*/ 115 h 596"/>
                <a:gd name="T24" fmla="*/ 343 w 506"/>
                <a:gd name="T25" fmla="*/ 177 h 596"/>
                <a:gd name="T26" fmla="*/ 248 w 506"/>
                <a:gd name="T27" fmla="*/ 241 h 596"/>
                <a:gd name="T28" fmla="*/ 0 w 506"/>
                <a:gd name="T29" fmla="*/ 241 h 596"/>
                <a:gd name="T30" fmla="*/ 0 w 506"/>
                <a:gd name="T31" fmla="*/ 596 h 596"/>
                <a:gd name="T32" fmla="*/ 283 w 506"/>
                <a:gd name="T33" fmla="*/ 481 h 596"/>
                <a:gd name="T34" fmla="*/ 127 w 506"/>
                <a:gd name="T35" fmla="*/ 481 h 596"/>
                <a:gd name="T36" fmla="*/ 127 w 506"/>
                <a:gd name="T37" fmla="*/ 350 h 596"/>
                <a:gd name="T38" fmla="*/ 279 w 506"/>
                <a:gd name="T39" fmla="*/ 350 h 596"/>
                <a:gd name="T40" fmla="*/ 376 w 506"/>
                <a:gd name="T41" fmla="*/ 415 h 596"/>
                <a:gd name="T42" fmla="*/ 283 w 506"/>
                <a:gd name="T43" fmla="*/ 481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06" h="596">
                  <a:moveTo>
                    <a:pt x="0" y="596"/>
                  </a:moveTo>
                  <a:cubicBezTo>
                    <a:pt x="74" y="596"/>
                    <a:pt x="74" y="596"/>
                    <a:pt x="74" y="596"/>
                  </a:cubicBezTo>
                  <a:cubicBezTo>
                    <a:pt x="127" y="596"/>
                    <a:pt x="127" y="596"/>
                    <a:pt x="127" y="596"/>
                  </a:cubicBezTo>
                  <a:cubicBezTo>
                    <a:pt x="283" y="596"/>
                    <a:pt x="283" y="596"/>
                    <a:pt x="283" y="596"/>
                  </a:cubicBezTo>
                  <a:cubicBezTo>
                    <a:pt x="418" y="596"/>
                    <a:pt x="506" y="542"/>
                    <a:pt x="506" y="433"/>
                  </a:cubicBezTo>
                  <a:cubicBezTo>
                    <a:pt x="506" y="351"/>
                    <a:pt x="464" y="311"/>
                    <a:pt x="395" y="285"/>
                  </a:cubicBezTo>
                  <a:cubicBezTo>
                    <a:pt x="437" y="261"/>
                    <a:pt x="473" y="223"/>
                    <a:pt x="473" y="156"/>
                  </a:cubicBezTo>
                  <a:cubicBezTo>
                    <a:pt x="473" y="114"/>
                    <a:pt x="459" y="80"/>
                    <a:pt x="432" y="53"/>
                  </a:cubicBezTo>
                  <a:cubicBezTo>
                    <a:pt x="398" y="19"/>
                    <a:pt x="344" y="0"/>
                    <a:pt x="27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257" y="115"/>
                    <a:pt x="257" y="115"/>
                    <a:pt x="257" y="115"/>
                  </a:cubicBezTo>
                  <a:cubicBezTo>
                    <a:pt x="312" y="115"/>
                    <a:pt x="343" y="137"/>
                    <a:pt x="343" y="177"/>
                  </a:cubicBezTo>
                  <a:cubicBezTo>
                    <a:pt x="343" y="222"/>
                    <a:pt x="306" y="241"/>
                    <a:pt x="248" y="241"/>
                  </a:cubicBezTo>
                  <a:cubicBezTo>
                    <a:pt x="0" y="241"/>
                    <a:pt x="0" y="241"/>
                    <a:pt x="0" y="241"/>
                  </a:cubicBezTo>
                  <a:lnTo>
                    <a:pt x="0" y="596"/>
                  </a:lnTo>
                  <a:close/>
                  <a:moveTo>
                    <a:pt x="283" y="481"/>
                  </a:moveTo>
                  <a:cubicBezTo>
                    <a:pt x="127" y="481"/>
                    <a:pt x="127" y="481"/>
                    <a:pt x="127" y="481"/>
                  </a:cubicBezTo>
                  <a:cubicBezTo>
                    <a:pt x="127" y="350"/>
                    <a:pt x="127" y="350"/>
                    <a:pt x="127" y="350"/>
                  </a:cubicBezTo>
                  <a:cubicBezTo>
                    <a:pt x="279" y="350"/>
                    <a:pt x="279" y="350"/>
                    <a:pt x="279" y="350"/>
                  </a:cubicBezTo>
                  <a:cubicBezTo>
                    <a:pt x="346" y="350"/>
                    <a:pt x="376" y="375"/>
                    <a:pt x="376" y="415"/>
                  </a:cubicBezTo>
                  <a:cubicBezTo>
                    <a:pt x="376" y="461"/>
                    <a:pt x="341" y="481"/>
                    <a:pt x="283" y="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688881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bleed Foto mi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11817AE-51ED-41E3-A690-ED26CAEA9D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98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11817AE-51ED-41E3-A690-ED26CAEA9D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EC5787D-011E-416D-94DD-7B499E6E75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A194230-98A5-4312-912D-7CAE3A9610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3031" y="210212"/>
            <a:ext cx="8619432" cy="43088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2307CE5-3111-4F33-9B73-B1BB9378A1E2}"/>
              </a:ext>
            </a:extLst>
          </p:cNvPr>
          <p:cNvGrpSpPr/>
          <p:nvPr userDrawn="1"/>
        </p:nvGrpSpPr>
        <p:grpSpPr>
          <a:xfrm>
            <a:off x="9809018" y="6114397"/>
            <a:ext cx="2022620" cy="422928"/>
            <a:chOff x="9809018" y="6114397"/>
            <a:chExt cx="2022620" cy="422928"/>
          </a:xfrm>
        </p:grpSpPr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A19C93D7-A3B2-4A58-ADC6-361B14180E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66356" y="6115872"/>
              <a:ext cx="510226" cy="421453"/>
            </a:xfrm>
            <a:custGeom>
              <a:avLst/>
              <a:gdLst>
                <a:gd name="T0" fmla="*/ 318 w 1730"/>
                <a:gd name="T1" fmla="*/ 1429 h 1429"/>
                <a:gd name="T2" fmla="*/ 0 w 1730"/>
                <a:gd name="T3" fmla="*/ 1429 h 1429"/>
                <a:gd name="T4" fmla="*/ 721 w 1730"/>
                <a:gd name="T5" fmla="*/ 0 h 1429"/>
                <a:gd name="T6" fmla="*/ 1009 w 1730"/>
                <a:gd name="T7" fmla="*/ 0 h 1429"/>
                <a:gd name="T8" fmla="*/ 1730 w 1730"/>
                <a:gd name="T9" fmla="*/ 1429 h 1429"/>
                <a:gd name="T10" fmla="*/ 1405 w 1730"/>
                <a:gd name="T11" fmla="*/ 1429 h 1429"/>
                <a:gd name="T12" fmla="*/ 861 w 1730"/>
                <a:gd name="T13" fmla="*/ 376 h 1429"/>
                <a:gd name="T14" fmla="*/ 318 w 1730"/>
                <a:gd name="T15" fmla="*/ 1429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0" h="1429">
                  <a:moveTo>
                    <a:pt x="318" y="1429"/>
                  </a:moveTo>
                  <a:lnTo>
                    <a:pt x="0" y="1429"/>
                  </a:lnTo>
                  <a:lnTo>
                    <a:pt x="721" y="0"/>
                  </a:lnTo>
                  <a:lnTo>
                    <a:pt x="1009" y="0"/>
                  </a:lnTo>
                  <a:lnTo>
                    <a:pt x="1730" y="1429"/>
                  </a:lnTo>
                  <a:lnTo>
                    <a:pt x="1405" y="1429"/>
                  </a:lnTo>
                  <a:lnTo>
                    <a:pt x="861" y="376"/>
                  </a:lnTo>
                  <a:lnTo>
                    <a:pt x="318" y="14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Rectangle 6">
              <a:extLst>
                <a:ext uri="{FF2B5EF4-FFF2-40B4-BE49-F238E27FC236}">
                  <a16:creationId xmlns:a16="http://schemas.microsoft.com/office/drawing/2014/main" id="{0311B544-3A45-47CF-AE14-8332D96A08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273043" y="6115872"/>
              <a:ext cx="14746" cy="11325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F0DA2BA0-C45F-483F-8296-E08A5563FB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0822" y="6115872"/>
              <a:ext cx="94967" cy="113253"/>
            </a:xfrm>
            <a:custGeom>
              <a:avLst/>
              <a:gdLst>
                <a:gd name="T0" fmla="*/ 0 w 136"/>
                <a:gd name="T1" fmla="*/ 161 h 161"/>
                <a:gd name="T2" fmla="*/ 0 w 136"/>
                <a:gd name="T3" fmla="*/ 0 h 161"/>
                <a:gd name="T4" fmla="*/ 20 w 136"/>
                <a:gd name="T5" fmla="*/ 0 h 161"/>
                <a:gd name="T6" fmla="*/ 88 w 136"/>
                <a:gd name="T7" fmla="*/ 90 h 161"/>
                <a:gd name="T8" fmla="*/ 116 w 136"/>
                <a:gd name="T9" fmla="*/ 127 h 161"/>
                <a:gd name="T10" fmla="*/ 116 w 136"/>
                <a:gd name="T11" fmla="*/ 127 h 161"/>
                <a:gd name="T12" fmla="*/ 116 w 136"/>
                <a:gd name="T13" fmla="*/ 81 h 161"/>
                <a:gd name="T14" fmla="*/ 116 w 136"/>
                <a:gd name="T15" fmla="*/ 0 h 161"/>
                <a:gd name="T16" fmla="*/ 136 w 136"/>
                <a:gd name="T17" fmla="*/ 0 h 161"/>
                <a:gd name="T18" fmla="*/ 136 w 136"/>
                <a:gd name="T19" fmla="*/ 161 h 161"/>
                <a:gd name="T20" fmla="*/ 116 w 136"/>
                <a:gd name="T21" fmla="*/ 161 h 161"/>
                <a:gd name="T22" fmla="*/ 49 w 136"/>
                <a:gd name="T23" fmla="*/ 72 h 161"/>
                <a:gd name="T24" fmla="*/ 21 w 136"/>
                <a:gd name="T25" fmla="*/ 34 h 161"/>
                <a:gd name="T26" fmla="*/ 20 w 136"/>
                <a:gd name="T27" fmla="*/ 34 h 161"/>
                <a:gd name="T28" fmla="*/ 21 w 136"/>
                <a:gd name="T29" fmla="*/ 80 h 161"/>
                <a:gd name="T30" fmla="*/ 21 w 136"/>
                <a:gd name="T31" fmla="*/ 161 h 161"/>
                <a:gd name="T32" fmla="*/ 0 w 136"/>
                <a:gd name="T33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61">
                  <a:moveTo>
                    <a:pt x="0" y="16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88" y="90"/>
                    <a:pt x="88" y="90"/>
                    <a:pt x="88" y="90"/>
                  </a:cubicBezTo>
                  <a:cubicBezTo>
                    <a:pt x="97" y="102"/>
                    <a:pt x="106" y="114"/>
                    <a:pt x="116" y="127"/>
                  </a:cubicBezTo>
                  <a:cubicBezTo>
                    <a:pt x="116" y="127"/>
                    <a:pt x="116" y="127"/>
                    <a:pt x="116" y="127"/>
                  </a:cubicBezTo>
                  <a:cubicBezTo>
                    <a:pt x="116" y="113"/>
                    <a:pt x="116" y="97"/>
                    <a:pt x="116" y="81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161"/>
                    <a:pt x="136" y="161"/>
                    <a:pt x="136" y="161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39" y="60"/>
                    <a:pt x="30" y="47"/>
                    <a:pt x="21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1" y="48"/>
                    <a:pt x="21" y="65"/>
                    <a:pt x="21" y="80"/>
                  </a:cubicBezTo>
                  <a:cubicBezTo>
                    <a:pt x="21" y="161"/>
                    <a:pt x="21" y="161"/>
                    <a:pt x="21" y="161"/>
                  </a:cubicBezTo>
                  <a:lnTo>
                    <a:pt x="0" y="16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8">
              <a:extLst>
                <a:ext uri="{FF2B5EF4-FFF2-40B4-BE49-F238E27FC236}">
                  <a16:creationId xmlns:a16="http://schemas.microsoft.com/office/drawing/2014/main" id="{B29DA787-CDC4-4596-AF5F-8BBA263EFD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6729" y="6115872"/>
              <a:ext cx="101750" cy="113253"/>
            </a:xfrm>
            <a:custGeom>
              <a:avLst/>
              <a:gdLst>
                <a:gd name="T0" fmla="*/ 0 w 145"/>
                <a:gd name="T1" fmla="*/ 0 h 161"/>
                <a:gd name="T2" fmla="*/ 23 w 145"/>
                <a:gd name="T3" fmla="*/ 0 h 161"/>
                <a:gd name="T4" fmla="*/ 57 w 145"/>
                <a:gd name="T5" fmla="*/ 90 h 161"/>
                <a:gd name="T6" fmla="*/ 73 w 145"/>
                <a:gd name="T7" fmla="*/ 133 h 161"/>
                <a:gd name="T8" fmla="*/ 73 w 145"/>
                <a:gd name="T9" fmla="*/ 133 h 161"/>
                <a:gd name="T10" fmla="*/ 89 w 145"/>
                <a:gd name="T11" fmla="*/ 90 h 161"/>
                <a:gd name="T12" fmla="*/ 124 w 145"/>
                <a:gd name="T13" fmla="*/ 0 h 161"/>
                <a:gd name="T14" fmla="*/ 145 w 145"/>
                <a:gd name="T15" fmla="*/ 0 h 161"/>
                <a:gd name="T16" fmla="*/ 84 w 145"/>
                <a:gd name="T17" fmla="*/ 161 h 161"/>
                <a:gd name="T18" fmla="*/ 62 w 145"/>
                <a:gd name="T19" fmla="*/ 161 h 161"/>
                <a:gd name="T20" fmla="*/ 0 w 145"/>
                <a:gd name="T21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5" h="161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62" y="104"/>
                    <a:pt x="67" y="118"/>
                    <a:pt x="73" y="133"/>
                  </a:cubicBezTo>
                  <a:cubicBezTo>
                    <a:pt x="73" y="133"/>
                    <a:pt x="73" y="133"/>
                    <a:pt x="73" y="133"/>
                  </a:cubicBezTo>
                  <a:cubicBezTo>
                    <a:pt x="79" y="118"/>
                    <a:pt x="84" y="104"/>
                    <a:pt x="89" y="9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84" y="161"/>
                    <a:pt x="84" y="161"/>
                    <a:pt x="84" y="161"/>
                  </a:cubicBezTo>
                  <a:cubicBezTo>
                    <a:pt x="62" y="161"/>
                    <a:pt x="62" y="161"/>
                    <a:pt x="62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9">
              <a:extLst>
                <a:ext uri="{FF2B5EF4-FFF2-40B4-BE49-F238E27FC236}">
                  <a16:creationId xmlns:a16="http://schemas.microsoft.com/office/drawing/2014/main" id="{07CBA41F-92FA-460F-9E54-5291BB0ADB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60009" y="6115872"/>
              <a:ext cx="66654" cy="113253"/>
            </a:xfrm>
            <a:custGeom>
              <a:avLst/>
              <a:gdLst>
                <a:gd name="T0" fmla="*/ 0 w 226"/>
                <a:gd name="T1" fmla="*/ 0 h 384"/>
                <a:gd name="T2" fmla="*/ 221 w 226"/>
                <a:gd name="T3" fmla="*/ 0 h 384"/>
                <a:gd name="T4" fmla="*/ 221 w 226"/>
                <a:gd name="T5" fmla="*/ 45 h 384"/>
                <a:gd name="T6" fmla="*/ 50 w 226"/>
                <a:gd name="T7" fmla="*/ 45 h 384"/>
                <a:gd name="T8" fmla="*/ 50 w 226"/>
                <a:gd name="T9" fmla="*/ 162 h 384"/>
                <a:gd name="T10" fmla="*/ 199 w 226"/>
                <a:gd name="T11" fmla="*/ 162 h 384"/>
                <a:gd name="T12" fmla="*/ 199 w 226"/>
                <a:gd name="T13" fmla="*/ 207 h 384"/>
                <a:gd name="T14" fmla="*/ 50 w 226"/>
                <a:gd name="T15" fmla="*/ 207 h 384"/>
                <a:gd name="T16" fmla="*/ 50 w 226"/>
                <a:gd name="T17" fmla="*/ 338 h 384"/>
                <a:gd name="T18" fmla="*/ 226 w 226"/>
                <a:gd name="T19" fmla="*/ 338 h 384"/>
                <a:gd name="T20" fmla="*/ 226 w 226"/>
                <a:gd name="T21" fmla="*/ 384 h 384"/>
                <a:gd name="T22" fmla="*/ 0 w 226"/>
                <a:gd name="T23" fmla="*/ 384 h 384"/>
                <a:gd name="T24" fmla="*/ 0 w 226"/>
                <a:gd name="T25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" h="384">
                  <a:moveTo>
                    <a:pt x="0" y="0"/>
                  </a:moveTo>
                  <a:lnTo>
                    <a:pt x="221" y="0"/>
                  </a:lnTo>
                  <a:lnTo>
                    <a:pt x="221" y="45"/>
                  </a:lnTo>
                  <a:lnTo>
                    <a:pt x="50" y="45"/>
                  </a:lnTo>
                  <a:lnTo>
                    <a:pt x="50" y="162"/>
                  </a:lnTo>
                  <a:lnTo>
                    <a:pt x="199" y="162"/>
                  </a:lnTo>
                  <a:lnTo>
                    <a:pt x="199" y="207"/>
                  </a:lnTo>
                  <a:lnTo>
                    <a:pt x="50" y="207"/>
                  </a:lnTo>
                  <a:lnTo>
                    <a:pt x="50" y="338"/>
                  </a:lnTo>
                  <a:lnTo>
                    <a:pt x="226" y="338"/>
                  </a:lnTo>
                  <a:lnTo>
                    <a:pt x="226" y="384"/>
                  </a:lnTo>
                  <a:lnTo>
                    <a:pt x="0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9C358B1D-0025-4177-85A1-8ACA858466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50257" y="6114397"/>
              <a:ext cx="74322" cy="116792"/>
            </a:xfrm>
            <a:custGeom>
              <a:avLst/>
              <a:gdLst>
                <a:gd name="T0" fmla="*/ 4 w 106"/>
                <a:gd name="T1" fmla="*/ 130 h 166"/>
                <a:gd name="T2" fmla="*/ 52 w 106"/>
                <a:gd name="T3" fmla="*/ 146 h 166"/>
                <a:gd name="T4" fmla="*/ 85 w 106"/>
                <a:gd name="T5" fmla="*/ 120 h 166"/>
                <a:gd name="T6" fmla="*/ 45 w 106"/>
                <a:gd name="T7" fmla="*/ 90 h 166"/>
                <a:gd name="T8" fmla="*/ 0 w 106"/>
                <a:gd name="T9" fmla="*/ 45 h 166"/>
                <a:gd name="T10" fmla="*/ 52 w 106"/>
                <a:gd name="T11" fmla="*/ 0 h 166"/>
                <a:gd name="T12" fmla="*/ 99 w 106"/>
                <a:gd name="T13" fmla="*/ 12 h 166"/>
                <a:gd name="T14" fmla="*/ 99 w 106"/>
                <a:gd name="T15" fmla="*/ 34 h 166"/>
                <a:gd name="T16" fmla="*/ 52 w 106"/>
                <a:gd name="T17" fmla="*/ 19 h 166"/>
                <a:gd name="T18" fmla="*/ 21 w 106"/>
                <a:gd name="T19" fmla="*/ 43 h 166"/>
                <a:gd name="T20" fmla="*/ 59 w 106"/>
                <a:gd name="T21" fmla="*/ 72 h 166"/>
                <a:gd name="T22" fmla="*/ 106 w 106"/>
                <a:gd name="T23" fmla="*/ 119 h 166"/>
                <a:gd name="T24" fmla="*/ 52 w 106"/>
                <a:gd name="T25" fmla="*/ 166 h 166"/>
                <a:gd name="T26" fmla="*/ 4 w 106"/>
                <a:gd name="T27" fmla="*/ 153 h 166"/>
                <a:gd name="T28" fmla="*/ 4 w 106"/>
                <a:gd name="T29" fmla="*/ 13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6" h="166">
                  <a:moveTo>
                    <a:pt x="4" y="130"/>
                  </a:moveTo>
                  <a:cubicBezTo>
                    <a:pt x="19" y="141"/>
                    <a:pt x="38" y="146"/>
                    <a:pt x="52" y="146"/>
                  </a:cubicBezTo>
                  <a:cubicBezTo>
                    <a:pt x="71" y="146"/>
                    <a:pt x="85" y="138"/>
                    <a:pt x="85" y="120"/>
                  </a:cubicBezTo>
                  <a:cubicBezTo>
                    <a:pt x="85" y="99"/>
                    <a:pt x="66" y="96"/>
                    <a:pt x="45" y="90"/>
                  </a:cubicBezTo>
                  <a:cubicBezTo>
                    <a:pt x="22" y="83"/>
                    <a:pt x="0" y="74"/>
                    <a:pt x="0" y="45"/>
                  </a:cubicBezTo>
                  <a:cubicBezTo>
                    <a:pt x="0" y="16"/>
                    <a:pt x="21" y="0"/>
                    <a:pt x="52" y="0"/>
                  </a:cubicBezTo>
                  <a:cubicBezTo>
                    <a:pt x="67" y="0"/>
                    <a:pt x="86" y="4"/>
                    <a:pt x="99" y="12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84" y="24"/>
                    <a:pt x="66" y="19"/>
                    <a:pt x="52" y="19"/>
                  </a:cubicBezTo>
                  <a:cubicBezTo>
                    <a:pt x="34" y="19"/>
                    <a:pt x="21" y="27"/>
                    <a:pt x="21" y="43"/>
                  </a:cubicBezTo>
                  <a:cubicBezTo>
                    <a:pt x="21" y="63"/>
                    <a:pt x="40" y="67"/>
                    <a:pt x="59" y="72"/>
                  </a:cubicBezTo>
                  <a:cubicBezTo>
                    <a:pt x="83" y="79"/>
                    <a:pt x="106" y="88"/>
                    <a:pt x="106" y="119"/>
                  </a:cubicBezTo>
                  <a:cubicBezTo>
                    <a:pt x="106" y="148"/>
                    <a:pt x="84" y="166"/>
                    <a:pt x="52" y="166"/>
                  </a:cubicBezTo>
                  <a:cubicBezTo>
                    <a:pt x="37" y="166"/>
                    <a:pt x="18" y="161"/>
                    <a:pt x="4" y="153"/>
                  </a:cubicBezTo>
                  <a:lnTo>
                    <a:pt x="4" y="13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11">
              <a:extLst>
                <a:ext uri="{FF2B5EF4-FFF2-40B4-BE49-F238E27FC236}">
                  <a16:creationId xmlns:a16="http://schemas.microsoft.com/office/drawing/2014/main" id="{859707A6-3DAA-4211-8EB1-323766F955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35786" y="6115872"/>
              <a:ext cx="90248" cy="113253"/>
            </a:xfrm>
            <a:custGeom>
              <a:avLst/>
              <a:gdLst>
                <a:gd name="T0" fmla="*/ 128 w 306"/>
                <a:gd name="T1" fmla="*/ 45 h 384"/>
                <a:gd name="T2" fmla="*/ 0 w 306"/>
                <a:gd name="T3" fmla="*/ 45 h 384"/>
                <a:gd name="T4" fmla="*/ 0 w 306"/>
                <a:gd name="T5" fmla="*/ 0 h 384"/>
                <a:gd name="T6" fmla="*/ 306 w 306"/>
                <a:gd name="T7" fmla="*/ 0 h 384"/>
                <a:gd name="T8" fmla="*/ 306 w 306"/>
                <a:gd name="T9" fmla="*/ 45 h 384"/>
                <a:gd name="T10" fmla="*/ 178 w 306"/>
                <a:gd name="T11" fmla="*/ 45 h 384"/>
                <a:gd name="T12" fmla="*/ 178 w 306"/>
                <a:gd name="T13" fmla="*/ 384 h 384"/>
                <a:gd name="T14" fmla="*/ 128 w 306"/>
                <a:gd name="T15" fmla="*/ 384 h 384"/>
                <a:gd name="T16" fmla="*/ 128 w 306"/>
                <a:gd name="T17" fmla="*/ 45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6" h="384">
                  <a:moveTo>
                    <a:pt x="128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306" y="0"/>
                  </a:lnTo>
                  <a:lnTo>
                    <a:pt x="306" y="45"/>
                  </a:lnTo>
                  <a:lnTo>
                    <a:pt x="178" y="45"/>
                  </a:lnTo>
                  <a:lnTo>
                    <a:pt x="178" y="384"/>
                  </a:lnTo>
                  <a:lnTo>
                    <a:pt x="128" y="384"/>
                  </a:lnTo>
                  <a:lnTo>
                    <a:pt x="128" y="4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12">
              <a:extLst>
                <a:ext uri="{FF2B5EF4-FFF2-40B4-BE49-F238E27FC236}">
                  <a16:creationId xmlns:a16="http://schemas.microsoft.com/office/drawing/2014/main" id="{0FEBAF92-9D70-4CAF-816F-BD0B92702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4066" y="6270414"/>
              <a:ext cx="153953" cy="113253"/>
            </a:xfrm>
            <a:custGeom>
              <a:avLst/>
              <a:gdLst>
                <a:gd name="T0" fmla="*/ 0 w 220"/>
                <a:gd name="T1" fmla="*/ 0 h 161"/>
                <a:gd name="T2" fmla="*/ 22 w 220"/>
                <a:gd name="T3" fmla="*/ 0 h 161"/>
                <a:gd name="T4" fmla="*/ 49 w 220"/>
                <a:gd name="T5" fmla="*/ 87 h 161"/>
                <a:gd name="T6" fmla="*/ 62 w 220"/>
                <a:gd name="T7" fmla="*/ 129 h 161"/>
                <a:gd name="T8" fmla="*/ 62 w 220"/>
                <a:gd name="T9" fmla="*/ 129 h 161"/>
                <a:gd name="T10" fmla="*/ 75 w 220"/>
                <a:gd name="T11" fmla="*/ 87 h 161"/>
                <a:gd name="T12" fmla="*/ 103 w 220"/>
                <a:gd name="T13" fmla="*/ 0 h 161"/>
                <a:gd name="T14" fmla="*/ 118 w 220"/>
                <a:gd name="T15" fmla="*/ 0 h 161"/>
                <a:gd name="T16" fmla="*/ 145 w 220"/>
                <a:gd name="T17" fmla="*/ 87 h 161"/>
                <a:gd name="T18" fmla="*/ 158 w 220"/>
                <a:gd name="T19" fmla="*/ 129 h 161"/>
                <a:gd name="T20" fmla="*/ 159 w 220"/>
                <a:gd name="T21" fmla="*/ 129 h 161"/>
                <a:gd name="T22" fmla="*/ 171 w 220"/>
                <a:gd name="T23" fmla="*/ 87 h 161"/>
                <a:gd name="T24" fmla="*/ 198 w 220"/>
                <a:gd name="T25" fmla="*/ 0 h 161"/>
                <a:gd name="T26" fmla="*/ 220 w 220"/>
                <a:gd name="T27" fmla="*/ 0 h 161"/>
                <a:gd name="T28" fmla="*/ 170 w 220"/>
                <a:gd name="T29" fmla="*/ 161 h 161"/>
                <a:gd name="T30" fmla="*/ 147 w 220"/>
                <a:gd name="T31" fmla="*/ 161 h 161"/>
                <a:gd name="T32" fmla="*/ 121 w 220"/>
                <a:gd name="T33" fmla="*/ 79 h 161"/>
                <a:gd name="T34" fmla="*/ 110 w 220"/>
                <a:gd name="T35" fmla="*/ 42 h 161"/>
                <a:gd name="T36" fmla="*/ 110 w 220"/>
                <a:gd name="T37" fmla="*/ 42 h 161"/>
                <a:gd name="T38" fmla="*/ 98 w 220"/>
                <a:gd name="T39" fmla="*/ 79 h 161"/>
                <a:gd name="T40" fmla="*/ 73 w 220"/>
                <a:gd name="T41" fmla="*/ 161 h 161"/>
                <a:gd name="T42" fmla="*/ 50 w 220"/>
                <a:gd name="T43" fmla="*/ 161 h 161"/>
                <a:gd name="T44" fmla="*/ 0 w 220"/>
                <a:gd name="T45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0" h="161">
                  <a:moveTo>
                    <a:pt x="0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54" y="101"/>
                    <a:pt x="58" y="115"/>
                    <a:pt x="62" y="129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66" y="115"/>
                    <a:pt x="71" y="101"/>
                    <a:pt x="75" y="87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45" y="87"/>
                    <a:pt x="145" y="87"/>
                    <a:pt x="145" y="87"/>
                  </a:cubicBezTo>
                  <a:cubicBezTo>
                    <a:pt x="150" y="101"/>
                    <a:pt x="154" y="115"/>
                    <a:pt x="158" y="129"/>
                  </a:cubicBezTo>
                  <a:cubicBezTo>
                    <a:pt x="159" y="129"/>
                    <a:pt x="159" y="129"/>
                    <a:pt x="159" y="129"/>
                  </a:cubicBezTo>
                  <a:cubicBezTo>
                    <a:pt x="163" y="115"/>
                    <a:pt x="167" y="101"/>
                    <a:pt x="171" y="87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170" y="161"/>
                    <a:pt x="170" y="161"/>
                    <a:pt x="170" y="161"/>
                  </a:cubicBezTo>
                  <a:cubicBezTo>
                    <a:pt x="147" y="161"/>
                    <a:pt x="147" y="161"/>
                    <a:pt x="147" y="161"/>
                  </a:cubicBezTo>
                  <a:cubicBezTo>
                    <a:pt x="121" y="79"/>
                    <a:pt x="121" y="79"/>
                    <a:pt x="121" y="79"/>
                  </a:cubicBezTo>
                  <a:cubicBezTo>
                    <a:pt x="117" y="66"/>
                    <a:pt x="114" y="54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06" y="54"/>
                    <a:pt x="102" y="67"/>
                    <a:pt x="98" y="79"/>
                  </a:cubicBezTo>
                  <a:cubicBezTo>
                    <a:pt x="73" y="161"/>
                    <a:pt x="73" y="161"/>
                    <a:pt x="73" y="161"/>
                  </a:cubicBezTo>
                  <a:cubicBezTo>
                    <a:pt x="50" y="161"/>
                    <a:pt x="50" y="161"/>
                    <a:pt x="50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13">
              <a:extLst>
                <a:ext uri="{FF2B5EF4-FFF2-40B4-BE49-F238E27FC236}">
                  <a16:creationId xmlns:a16="http://schemas.microsoft.com/office/drawing/2014/main" id="{33D4A3FE-1B1E-47A9-992E-07D98ED87F5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490111" y="6268940"/>
              <a:ext cx="114727" cy="115907"/>
            </a:xfrm>
            <a:custGeom>
              <a:avLst/>
              <a:gdLst>
                <a:gd name="T0" fmla="*/ 82 w 164"/>
                <a:gd name="T1" fmla="*/ 0 h 165"/>
                <a:gd name="T2" fmla="*/ 164 w 164"/>
                <a:gd name="T3" fmla="*/ 82 h 165"/>
                <a:gd name="T4" fmla="*/ 82 w 164"/>
                <a:gd name="T5" fmla="*/ 165 h 165"/>
                <a:gd name="T6" fmla="*/ 0 w 164"/>
                <a:gd name="T7" fmla="*/ 82 h 165"/>
                <a:gd name="T8" fmla="*/ 82 w 164"/>
                <a:gd name="T9" fmla="*/ 0 h 165"/>
                <a:gd name="T10" fmla="*/ 82 w 164"/>
                <a:gd name="T11" fmla="*/ 146 h 165"/>
                <a:gd name="T12" fmla="*/ 143 w 164"/>
                <a:gd name="T13" fmla="*/ 82 h 165"/>
                <a:gd name="T14" fmla="*/ 82 w 164"/>
                <a:gd name="T15" fmla="*/ 19 h 165"/>
                <a:gd name="T16" fmla="*/ 22 w 164"/>
                <a:gd name="T17" fmla="*/ 82 h 165"/>
                <a:gd name="T18" fmla="*/ 82 w 164"/>
                <a:gd name="T19" fmla="*/ 146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5">
                  <a:moveTo>
                    <a:pt x="82" y="0"/>
                  </a:moveTo>
                  <a:cubicBezTo>
                    <a:pt x="129" y="0"/>
                    <a:pt x="164" y="36"/>
                    <a:pt x="164" y="82"/>
                  </a:cubicBezTo>
                  <a:cubicBezTo>
                    <a:pt x="164" y="129"/>
                    <a:pt x="129" y="165"/>
                    <a:pt x="82" y="165"/>
                  </a:cubicBezTo>
                  <a:cubicBezTo>
                    <a:pt x="36" y="165"/>
                    <a:pt x="0" y="129"/>
                    <a:pt x="0" y="82"/>
                  </a:cubicBezTo>
                  <a:cubicBezTo>
                    <a:pt x="0" y="36"/>
                    <a:pt x="36" y="0"/>
                    <a:pt x="82" y="0"/>
                  </a:cubicBezTo>
                  <a:close/>
                  <a:moveTo>
                    <a:pt x="82" y="146"/>
                  </a:moveTo>
                  <a:cubicBezTo>
                    <a:pt x="117" y="146"/>
                    <a:pt x="143" y="118"/>
                    <a:pt x="143" y="82"/>
                  </a:cubicBezTo>
                  <a:cubicBezTo>
                    <a:pt x="143" y="47"/>
                    <a:pt x="117" y="19"/>
                    <a:pt x="82" y="19"/>
                  </a:cubicBezTo>
                  <a:cubicBezTo>
                    <a:pt x="47" y="19"/>
                    <a:pt x="22" y="47"/>
                    <a:pt x="22" y="82"/>
                  </a:cubicBezTo>
                  <a:cubicBezTo>
                    <a:pt x="22" y="118"/>
                    <a:pt x="47" y="146"/>
                    <a:pt x="82" y="14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14">
              <a:extLst>
                <a:ext uri="{FF2B5EF4-FFF2-40B4-BE49-F238E27FC236}">
                  <a16:creationId xmlns:a16="http://schemas.microsoft.com/office/drawing/2014/main" id="{9B08F6CB-9C29-4A26-8F0F-EF3539E2E7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631382" y="6270414"/>
              <a:ext cx="86119" cy="113253"/>
            </a:xfrm>
            <a:custGeom>
              <a:avLst/>
              <a:gdLst>
                <a:gd name="T0" fmla="*/ 0 w 123"/>
                <a:gd name="T1" fmla="*/ 0 h 161"/>
                <a:gd name="T2" fmla="*/ 43 w 123"/>
                <a:gd name="T3" fmla="*/ 0 h 161"/>
                <a:gd name="T4" fmla="*/ 88 w 123"/>
                <a:gd name="T5" fmla="*/ 8 h 161"/>
                <a:gd name="T6" fmla="*/ 111 w 123"/>
                <a:gd name="T7" fmla="*/ 46 h 161"/>
                <a:gd name="T8" fmla="*/ 90 w 123"/>
                <a:gd name="T9" fmla="*/ 83 h 161"/>
                <a:gd name="T10" fmla="*/ 71 w 123"/>
                <a:gd name="T11" fmla="*/ 90 h 161"/>
                <a:gd name="T12" fmla="*/ 123 w 123"/>
                <a:gd name="T13" fmla="*/ 161 h 161"/>
                <a:gd name="T14" fmla="*/ 97 w 123"/>
                <a:gd name="T15" fmla="*/ 161 h 161"/>
                <a:gd name="T16" fmla="*/ 48 w 123"/>
                <a:gd name="T17" fmla="*/ 92 h 161"/>
                <a:gd name="T18" fmla="*/ 21 w 123"/>
                <a:gd name="T19" fmla="*/ 92 h 161"/>
                <a:gd name="T20" fmla="*/ 21 w 123"/>
                <a:gd name="T21" fmla="*/ 161 h 161"/>
                <a:gd name="T22" fmla="*/ 0 w 123"/>
                <a:gd name="T23" fmla="*/ 161 h 161"/>
                <a:gd name="T24" fmla="*/ 0 w 123"/>
                <a:gd name="T25" fmla="*/ 0 h 161"/>
                <a:gd name="T26" fmla="*/ 48 w 123"/>
                <a:gd name="T27" fmla="*/ 75 h 161"/>
                <a:gd name="T28" fmla="*/ 80 w 123"/>
                <a:gd name="T29" fmla="*/ 67 h 161"/>
                <a:gd name="T30" fmla="*/ 89 w 123"/>
                <a:gd name="T31" fmla="*/ 47 h 161"/>
                <a:gd name="T32" fmla="*/ 76 w 123"/>
                <a:gd name="T33" fmla="*/ 25 h 161"/>
                <a:gd name="T34" fmla="*/ 42 w 123"/>
                <a:gd name="T35" fmla="*/ 19 h 161"/>
                <a:gd name="T36" fmla="*/ 21 w 123"/>
                <a:gd name="T37" fmla="*/ 19 h 161"/>
                <a:gd name="T38" fmla="*/ 21 w 123"/>
                <a:gd name="T39" fmla="*/ 75 h 161"/>
                <a:gd name="T40" fmla="*/ 48 w 123"/>
                <a:gd name="T41" fmla="*/ 75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3" h="161">
                  <a:moveTo>
                    <a:pt x="0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60" y="0"/>
                    <a:pt x="75" y="1"/>
                    <a:pt x="88" y="8"/>
                  </a:cubicBezTo>
                  <a:cubicBezTo>
                    <a:pt x="102" y="15"/>
                    <a:pt x="111" y="28"/>
                    <a:pt x="111" y="46"/>
                  </a:cubicBezTo>
                  <a:cubicBezTo>
                    <a:pt x="111" y="63"/>
                    <a:pt x="102" y="76"/>
                    <a:pt x="90" y="83"/>
                  </a:cubicBezTo>
                  <a:cubicBezTo>
                    <a:pt x="84" y="87"/>
                    <a:pt x="78" y="89"/>
                    <a:pt x="71" y="90"/>
                  </a:cubicBezTo>
                  <a:cubicBezTo>
                    <a:pt x="123" y="161"/>
                    <a:pt x="123" y="161"/>
                    <a:pt x="123" y="161"/>
                  </a:cubicBezTo>
                  <a:cubicBezTo>
                    <a:pt x="97" y="161"/>
                    <a:pt x="97" y="161"/>
                    <a:pt x="97" y="161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0" y="161"/>
                    <a:pt x="0" y="161"/>
                    <a:pt x="0" y="161"/>
                  </a:cubicBezTo>
                  <a:lnTo>
                    <a:pt x="0" y="0"/>
                  </a:lnTo>
                  <a:close/>
                  <a:moveTo>
                    <a:pt x="48" y="75"/>
                  </a:moveTo>
                  <a:cubicBezTo>
                    <a:pt x="63" y="75"/>
                    <a:pt x="73" y="73"/>
                    <a:pt x="80" y="67"/>
                  </a:cubicBezTo>
                  <a:cubicBezTo>
                    <a:pt x="86" y="63"/>
                    <a:pt x="89" y="56"/>
                    <a:pt x="89" y="47"/>
                  </a:cubicBezTo>
                  <a:cubicBezTo>
                    <a:pt x="89" y="37"/>
                    <a:pt x="85" y="29"/>
                    <a:pt x="76" y="25"/>
                  </a:cubicBezTo>
                  <a:cubicBezTo>
                    <a:pt x="68" y="20"/>
                    <a:pt x="57" y="19"/>
                    <a:pt x="42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75"/>
                    <a:pt x="21" y="75"/>
                    <a:pt x="21" y="75"/>
                  </a:cubicBezTo>
                  <a:lnTo>
                    <a:pt x="48" y="7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15">
              <a:extLst>
                <a:ext uri="{FF2B5EF4-FFF2-40B4-BE49-F238E27FC236}">
                  <a16:creationId xmlns:a16="http://schemas.microsoft.com/office/drawing/2014/main" id="{F626DAF7-0DC4-4761-B822-0EF1F4E2A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44929" y="6270414"/>
              <a:ext cx="86709" cy="113253"/>
            </a:xfrm>
            <a:custGeom>
              <a:avLst/>
              <a:gdLst>
                <a:gd name="T0" fmla="*/ 0 w 294"/>
                <a:gd name="T1" fmla="*/ 0 h 384"/>
                <a:gd name="T2" fmla="*/ 49 w 294"/>
                <a:gd name="T3" fmla="*/ 0 h 384"/>
                <a:gd name="T4" fmla="*/ 49 w 294"/>
                <a:gd name="T5" fmla="*/ 174 h 384"/>
                <a:gd name="T6" fmla="*/ 49 w 294"/>
                <a:gd name="T7" fmla="*/ 174 h 384"/>
                <a:gd name="T8" fmla="*/ 216 w 294"/>
                <a:gd name="T9" fmla="*/ 0 h 384"/>
                <a:gd name="T10" fmla="*/ 280 w 294"/>
                <a:gd name="T11" fmla="*/ 0 h 384"/>
                <a:gd name="T12" fmla="*/ 106 w 294"/>
                <a:gd name="T13" fmla="*/ 179 h 384"/>
                <a:gd name="T14" fmla="*/ 294 w 294"/>
                <a:gd name="T15" fmla="*/ 384 h 384"/>
                <a:gd name="T16" fmla="*/ 227 w 294"/>
                <a:gd name="T17" fmla="*/ 384 h 384"/>
                <a:gd name="T18" fmla="*/ 49 w 294"/>
                <a:gd name="T19" fmla="*/ 186 h 384"/>
                <a:gd name="T20" fmla="*/ 49 w 294"/>
                <a:gd name="T21" fmla="*/ 186 h 384"/>
                <a:gd name="T22" fmla="*/ 49 w 294"/>
                <a:gd name="T23" fmla="*/ 384 h 384"/>
                <a:gd name="T24" fmla="*/ 0 w 294"/>
                <a:gd name="T25" fmla="*/ 384 h 384"/>
                <a:gd name="T26" fmla="*/ 0 w 294"/>
                <a:gd name="T27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384">
                  <a:moveTo>
                    <a:pt x="0" y="0"/>
                  </a:moveTo>
                  <a:lnTo>
                    <a:pt x="49" y="0"/>
                  </a:lnTo>
                  <a:lnTo>
                    <a:pt x="49" y="174"/>
                  </a:lnTo>
                  <a:lnTo>
                    <a:pt x="49" y="174"/>
                  </a:lnTo>
                  <a:lnTo>
                    <a:pt x="216" y="0"/>
                  </a:lnTo>
                  <a:lnTo>
                    <a:pt x="280" y="0"/>
                  </a:lnTo>
                  <a:lnTo>
                    <a:pt x="106" y="179"/>
                  </a:lnTo>
                  <a:lnTo>
                    <a:pt x="294" y="384"/>
                  </a:lnTo>
                  <a:lnTo>
                    <a:pt x="227" y="384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384"/>
                  </a:lnTo>
                  <a:lnTo>
                    <a:pt x="0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16">
              <a:extLst>
                <a:ext uri="{FF2B5EF4-FFF2-40B4-BE49-F238E27FC236}">
                  <a16:creationId xmlns:a16="http://schemas.microsoft.com/office/drawing/2014/main" id="{6E1B8E6D-FE7A-4E16-9FE0-27110C65BA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67106" y="6424367"/>
              <a:ext cx="66359" cy="112958"/>
            </a:xfrm>
            <a:custGeom>
              <a:avLst/>
              <a:gdLst>
                <a:gd name="T0" fmla="*/ 0 w 225"/>
                <a:gd name="T1" fmla="*/ 0 h 383"/>
                <a:gd name="T2" fmla="*/ 225 w 225"/>
                <a:gd name="T3" fmla="*/ 0 h 383"/>
                <a:gd name="T4" fmla="*/ 225 w 225"/>
                <a:gd name="T5" fmla="*/ 45 h 383"/>
                <a:gd name="T6" fmla="*/ 49 w 225"/>
                <a:gd name="T7" fmla="*/ 45 h 383"/>
                <a:gd name="T8" fmla="*/ 49 w 225"/>
                <a:gd name="T9" fmla="*/ 169 h 383"/>
                <a:gd name="T10" fmla="*/ 204 w 225"/>
                <a:gd name="T11" fmla="*/ 169 h 383"/>
                <a:gd name="T12" fmla="*/ 204 w 225"/>
                <a:gd name="T13" fmla="*/ 214 h 383"/>
                <a:gd name="T14" fmla="*/ 49 w 225"/>
                <a:gd name="T15" fmla="*/ 214 h 383"/>
                <a:gd name="T16" fmla="*/ 49 w 225"/>
                <a:gd name="T17" fmla="*/ 383 h 383"/>
                <a:gd name="T18" fmla="*/ 0 w 225"/>
                <a:gd name="T19" fmla="*/ 383 h 383"/>
                <a:gd name="T20" fmla="*/ 0 w 225"/>
                <a:gd name="T21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5" h="383">
                  <a:moveTo>
                    <a:pt x="0" y="0"/>
                  </a:moveTo>
                  <a:lnTo>
                    <a:pt x="225" y="0"/>
                  </a:lnTo>
                  <a:lnTo>
                    <a:pt x="225" y="45"/>
                  </a:lnTo>
                  <a:lnTo>
                    <a:pt x="49" y="45"/>
                  </a:lnTo>
                  <a:lnTo>
                    <a:pt x="49" y="169"/>
                  </a:lnTo>
                  <a:lnTo>
                    <a:pt x="204" y="169"/>
                  </a:lnTo>
                  <a:lnTo>
                    <a:pt x="204" y="214"/>
                  </a:lnTo>
                  <a:lnTo>
                    <a:pt x="49" y="214"/>
                  </a:lnTo>
                  <a:lnTo>
                    <a:pt x="49" y="383"/>
                  </a:lnTo>
                  <a:lnTo>
                    <a:pt x="0" y="3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Rectangle 17">
              <a:extLst>
                <a:ext uri="{FF2B5EF4-FFF2-40B4-BE49-F238E27FC236}">
                  <a16:creationId xmlns:a16="http://schemas.microsoft.com/office/drawing/2014/main" id="{40E31F21-2B6F-4D92-907D-1F1F3475A92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565023" y="6424367"/>
              <a:ext cx="14746" cy="11295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18">
              <a:extLst>
                <a:ext uri="{FF2B5EF4-FFF2-40B4-BE49-F238E27FC236}">
                  <a16:creationId xmlns:a16="http://schemas.microsoft.com/office/drawing/2014/main" id="{32FBCDEA-7BEF-42EF-81AC-24968161A2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15455" y="6424367"/>
              <a:ext cx="67834" cy="112958"/>
            </a:xfrm>
            <a:custGeom>
              <a:avLst/>
              <a:gdLst>
                <a:gd name="T0" fmla="*/ 0 w 230"/>
                <a:gd name="T1" fmla="*/ 0 h 383"/>
                <a:gd name="T2" fmla="*/ 49 w 230"/>
                <a:gd name="T3" fmla="*/ 0 h 383"/>
                <a:gd name="T4" fmla="*/ 49 w 230"/>
                <a:gd name="T5" fmla="*/ 338 h 383"/>
                <a:gd name="T6" fmla="*/ 230 w 230"/>
                <a:gd name="T7" fmla="*/ 338 h 383"/>
                <a:gd name="T8" fmla="*/ 230 w 230"/>
                <a:gd name="T9" fmla="*/ 383 h 383"/>
                <a:gd name="T10" fmla="*/ 0 w 230"/>
                <a:gd name="T11" fmla="*/ 383 h 383"/>
                <a:gd name="T12" fmla="*/ 0 w 230"/>
                <a:gd name="T13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0" h="383">
                  <a:moveTo>
                    <a:pt x="0" y="0"/>
                  </a:moveTo>
                  <a:lnTo>
                    <a:pt x="49" y="0"/>
                  </a:lnTo>
                  <a:lnTo>
                    <a:pt x="49" y="338"/>
                  </a:lnTo>
                  <a:lnTo>
                    <a:pt x="230" y="338"/>
                  </a:lnTo>
                  <a:lnTo>
                    <a:pt x="230" y="383"/>
                  </a:lnTo>
                  <a:lnTo>
                    <a:pt x="0" y="3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19">
              <a:extLst>
                <a:ext uri="{FF2B5EF4-FFF2-40B4-BE49-F238E27FC236}">
                  <a16:creationId xmlns:a16="http://schemas.microsoft.com/office/drawing/2014/main" id="{7B4A8E0B-4E22-4265-A287-290F427A44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08358" y="6424367"/>
              <a:ext cx="108534" cy="112958"/>
            </a:xfrm>
            <a:custGeom>
              <a:avLst/>
              <a:gdLst>
                <a:gd name="T0" fmla="*/ 42 w 155"/>
                <a:gd name="T1" fmla="*/ 67 h 161"/>
                <a:gd name="T2" fmla="*/ 20 w 155"/>
                <a:gd name="T3" fmla="*/ 35 h 161"/>
                <a:gd name="T4" fmla="*/ 20 w 155"/>
                <a:gd name="T5" fmla="*/ 36 h 161"/>
                <a:gd name="T6" fmla="*/ 20 w 155"/>
                <a:gd name="T7" fmla="*/ 71 h 161"/>
                <a:gd name="T8" fmla="*/ 20 w 155"/>
                <a:gd name="T9" fmla="*/ 161 h 161"/>
                <a:gd name="T10" fmla="*/ 0 w 155"/>
                <a:gd name="T11" fmla="*/ 161 h 161"/>
                <a:gd name="T12" fmla="*/ 0 w 155"/>
                <a:gd name="T13" fmla="*/ 0 h 161"/>
                <a:gd name="T14" fmla="*/ 20 w 155"/>
                <a:gd name="T15" fmla="*/ 0 h 161"/>
                <a:gd name="T16" fmla="*/ 78 w 155"/>
                <a:gd name="T17" fmla="*/ 82 h 161"/>
                <a:gd name="T18" fmla="*/ 135 w 155"/>
                <a:gd name="T19" fmla="*/ 0 h 161"/>
                <a:gd name="T20" fmla="*/ 155 w 155"/>
                <a:gd name="T21" fmla="*/ 0 h 161"/>
                <a:gd name="T22" fmla="*/ 155 w 155"/>
                <a:gd name="T23" fmla="*/ 161 h 161"/>
                <a:gd name="T24" fmla="*/ 134 w 155"/>
                <a:gd name="T25" fmla="*/ 161 h 161"/>
                <a:gd name="T26" fmla="*/ 134 w 155"/>
                <a:gd name="T27" fmla="*/ 71 h 161"/>
                <a:gd name="T28" fmla="*/ 134 w 155"/>
                <a:gd name="T29" fmla="*/ 36 h 161"/>
                <a:gd name="T30" fmla="*/ 134 w 155"/>
                <a:gd name="T31" fmla="*/ 35 h 161"/>
                <a:gd name="T32" fmla="*/ 112 w 155"/>
                <a:gd name="T33" fmla="*/ 67 h 161"/>
                <a:gd name="T34" fmla="*/ 77 w 155"/>
                <a:gd name="T35" fmla="*/ 117 h 161"/>
                <a:gd name="T36" fmla="*/ 42 w 155"/>
                <a:gd name="T37" fmla="*/ 6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61">
                  <a:moveTo>
                    <a:pt x="42" y="67"/>
                  </a:moveTo>
                  <a:cubicBezTo>
                    <a:pt x="35" y="57"/>
                    <a:pt x="28" y="46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45"/>
                    <a:pt x="20" y="57"/>
                    <a:pt x="20" y="71"/>
                  </a:cubicBezTo>
                  <a:cubicBezTo>
                    <a:pt x="20" y="161"/>
                    <a:pt x="20" y="161"/>
                    <a:pt x="2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5" y="161"/>
                    <a:pt x="155" y="161"/>
                    <a:pt x="155" y="161"/>
                  </a:cubicBezTo>
                  <a:cubicBezTo>
                    <a:pt x="134" y="161"/>
                    <a:pt x="134" y="161"/>
                    <a:pt x="134" y="161"/>
                  </a:cubicBezTo>
                  <a:cubicBezTo>
                    <a:pt x="134" y="71"/>
                    <a:pt x="134" y="71"/>
                    <a:pt x="134" y="71"/>
                  </a:cubicBezTo>
                  <a:cubicBezTo>
                    <a:pt x="134" y="57"/>
                    <a:pt x="134" y="45"/>
                    <a:pt x="134" y="36"/>
                  </a:cubicBezTo>
                  <a:cubicBezTo>
                    <a:pt x="134" y="35"/>
                    <a:pt x="134" y="35"/>
                    <a:pt x="134" y="35"/>
                  </a:cubicBezTo>
                  <a:cubicBezTo>
                    <a:pt x="127" y="46"/>
                    <a:pt x="120" y="57"/>
                    <a:pt x="112" y="67"/>
                  </a:cubicBezTo>
                  <a:cubicBezTo>
                    <a:pt x="77" y="117"/>
                    <a:pt x="77" y="117"/>
                    <a:pt x="77" y="117"/>
                  </a:cubicBezTo>
                  <a:lnTo>
                    <a:pt x="42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20">
              <a:extLst>
                <a:ext uri="{FF2B5EF4-FFF2-40B4-BE49-F238E27FC236}">
                  <a16:creationId xmlns:a16="http://schemas.microsoft.com/office/drawing/2014/main" id="{99A25193-0AFC-4FC5-A97B-9086ECF9EB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9018" y="6115872"/>
              <a:ext cx="510226" cy="421453"/>
            </a:xfrm>
            <a:custGeom>
              <a:avLst/>
              <a:gdLst>
                <a:gd name="T0" fmla="*/ 318 w 1730"/>
                <a:gd name="T1" fmla="*/ 1429 h 1429"/>
                <a:gd name="T2" fmla="*/ 0 w 1730"/>
                <a:gd name="T3" fmla="*/ 1429 h 1429"/>
                <a:gd name="T4" fmla="*/ 721 w 1730"/>
                <a:gd name="T5" fmla="*/ 0 h 1429"/>
                <a:gd name="T6" fmla="*/ 1008 w 1730"/>
                <a:gd name="T7" fmla="*/ 0 h 1429"/>
                <a:gd name="T8" fmla="*/ 1730 w 1730"/>
                <a:gd name="T9" fmla="*/ 1429 h 1429"/>
                <a:gd name="T10" fmla="*/ 1404 w 1730"/>
                <a:gd name="T11" fmla="*/ 1429 h 1429"/>
                <a:gd name="T12" fmla="*/ 861 w 1730"/>
                <a:gd name="T13" fmla="*/ 376 h 1429"/>
                <a:gd name="T14" fmla="*/ 318 w 1730"/>
                <a:gd name="T15" fmla="*/ 1429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0" h="1429">
                  <a:moveTo>
                    <a:pt x="318" y="1429"/>
                  </a:moveTo>
                  <a:lnTo>
                    <a:pt x="0" y="1429"/>
                  </a:lnTo>
                  <a:lnTo>
                    <a:pt x="721" y="0"/>
                  </a:lnTo>
                  <a:lnTo>
                    <a:pt x="1008" y="0"/>
                  </a:lnTo>
                  <a:lnTo>
                    <a:pt x="1730" y="1429"/>
                  </a:lnTo>
                  <a:lnTo>
                    <a:pt x="1404" y="1429"/>
                  </a:lnTo>
                  <a:lnTo>
                    <a:pt x="861" y="376"/>
                  </a:lnTo>
                  <a:lnTo>
                    <a:pt x="318" y="14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21">
              <a:extLst>
                <a:ext uri="{FF2B5EF4-FFF2-40B4-BE49-F238E27FC236}">
                  <a16:creationId xmlns:a16="http://schemas.microsoft.com/office/drawing/2014/main" id="{247E6B6B-34CD-4044-9D7C-221A4DFB4EC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82949" y="6118821"/>
              <a:ext cx="353914" cy="418504"/>
            </a:xfrm>
            <a:custGeom>
              <a:avLst/>
              <a:gdLst>
                <a:gd name="T0" fmla="*/ 0 w 506"/>
                <a:gd name="T1" fmla="*/ 596 h 596"/>
                <a:gd name="T2" fmla="*/ 74 w 506"/>
                <a:gd name="T3" fmla="*/ 596 h 596"/>
                <a:gd name="T4" fmla="*/ 127 w 506"/>
                <a:gd name="T5" fmla="*/ 596 h 596"/>
                <a:gd name="T6" fmla="*/ 283 w 506"/>
                <a:gd name="T7" fmla="*/ 596 h 596"/>
                <a:gd name="T8" fmla="*/ 506 w 506"/>
                <a:gd name="T9" fmla="*/ 433 h 596"/>
                <a:gd name="T10" fmla="*/ 395 w 506"/>
                <a:gd name="T11" fmla="*/ 285 h 596"/>
                <a:gd name="T12" fmla="*/ 473 w 506"/>
                <a:gd name="T13" fmla="*/ 156 h 596"/>
                <a:gd name="T14" fmla="*/ 432 w 506"/>
                <a:gd name="T15" fmla="*/ 53 h 596"/>
                <a:gd name="T16" fmla="*/ 276 w 506"/>
                <a:gd name="T17" fmla="*/ 0 h 596"/>
                <a:gd name="T18" fmla="*/ 0 w 506"/>
                <a:gd name="T19" fmla="*/ 0 h 596"/>
                <a:gd name="T20" fmla="*/ 0 w 506"/>
                <a:gd name="T21" fmla="*/ 115 h 596"/>
                <a:gd name="T22" fmla="*/ 257 w 506"/>
                <a:gd name="T23" fmla="*/ 115 h 596"/>
                <a:gd name="T24" fmla="*/ 343 w 506"/>
                <a:gd name="T25" fmla="*/ 177 h 596"/>
                <a:gd name="T26" fmla="*/ 248 w 506"/>
                <a:gd name="T27" fmla="*/ 241 h 596"/>
                <a:gd name="T28" fmla="*/ 0 w 506"/>
                <a:gd name="T29" fmla="*/ 241 h 596"/>
                <a:gd name="T30" fmla="*/ 0 w 506"/>
                <a:gd name="T31" fmla="*/ 596 h 596"/>
                <a:gd name="T32" fmla="*/ 283 w 506"/>
                <a:gd name="T33" fmla="*/ 481 h 596"/>
                <a:gd name="T34" fmla="*/ 127 w 506"/>
                <a:gd name="T35" fmla="*/ 481 h 596"/>
                <a:gd name="T36" fmla="*/ 127 w 506"/>
                <a:gd name="T37" fmla="*/ 350 h 596"/>
                <a:gd name="T38" fmla="*/ 279 w 506"/>
                <a:gd name="T39" fmla="*/ 350 h 596"/>
                <a:gd name="T40" fmla="*/ 376 w 506"/>
                <a:gd name="T41" fmla="*/ 415 h 596"/>
                <a:gd name="T42" fmla="*/ 283 w 506"/>
                <a:gd name="T43" fmla="*/ 481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06" h="596">
                  <a:moveTo>
                    <a:pt x="0" y="596"/>
                  </a:moveTo>
                  <a:cubicBezTo>
                    <a:pt x="74" y="596"/>
                    <a:pt x="74" y="596"/>
                    <a:pt x="74" y="596"/>
                  </a:cubicBezTo>
                  <a:cubicBezTo>
                    <a:pt x="127" y="596"/>
                    <a:pt x="127" y="596"/>
                    <a:pt x="127" y="596"/>
                  </a:cubicBezTo>
                  <a:cubicBezTo>
                    <a:pt x="283" y="596"/>
                    <a:pt x="283" y="596"/>
                    <a:pt x="283" y="596"/>
                  </a:cubicBezTo>
                  <a:cubicBezTo>
                    <a:pt x="418" y="596"/>
                    <a:pt x="506" y="542"/>
                    <a:pt x="506" y="433"/>
                  </a:cubicBezTo>
                  <a:cubicBezTo>
                    <a:pt x="506" y="351"/>
                    <a:pt x="464" y="311"/>
                    <a:pt x="395" y="285"/>
                  </a:cubicBezTo>
                  <a:cubicBezTo>
                    <a:pt x="437" y="261"/>
                    <a:pt x="473" y="223"/>
                    <a:pt x="473" y="156"/>
                  </a:cubicBezTo>
                  <a:cubicBezTo>
                    <a:pt x="473" y="114"/>
                    <a:pt x="459" y="80"/>
                    <a:pt x="432" y="53"/>
                  </a:cubicBezTo>
                  <a:cubicBezTo>
                    <a:pt x="398" y="19"/>
                    <a:pt x="344" y="0"/>
                    <a:pt x="27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257" y="115"/>
                    <a:pt x="257" y="115"/>
                    <a:pt x="257" y="115"/>
                  </a:cubicBezTo>
                  <a:cubicBezTo>
                    <a:pt x="312" y="115"/>
                    <a:pt x="343" y="137"/>
                    <a:pt x="343" y="177"/>
                  </a:cubicBezTo>
                  <a:cubicBezTo>
                    <a:pt x="343" y="222"/>
                    <a:pt x="306" y="241"/>
                    <a:pt x="248" y="241"/>
                  </a:cubicBezTo>
                  <a:cubicBezTo>
                    <a:pt x="0" y="241"/>
                    <a:pt x="0" y="241"/>
                    <a:pt x="0" y="241"/>
                  </a:cubicBezTo>
                  <a:lnTo>
                    <a:pt x="0" y="596"/>
                  </a:lnTo>
                  <a:close/>
                  <a:moveTo>
                    <a:pt x="283" y="481"/>
                  </a:moveTo>
                  <a:cubicBezTo>
                    <a:pt x="127" y="481"/>
                    <a:pt x="127" y="481"/>
                    <a:pt x="127" y="481"/>
                  </a:cubicBezTo>
                  <a:cubicBezTo>
                    <a:pt x="127" y="350"/>
                    <a:pt x="127" y="350"/>
                    <a:pt x="127" y="350"/>
                  </a:cubicBezTo>
                  <a:cubicBezTo>
                    <a:pt x="279" y="350"/>
                    <a:pt x="279" y="350"/>
                    <a:pt x="279" y="350"/>
                  </a:cubicBezTo>
                  <a:cubicBezTo>
                    <a:pt x="346" y="350"/>
                    <a:pt x="376" y="375"/>
                    <a:pt x="376" y="415"/>
                  </a:cubicBezTo>
                  <a:cubicBezTo>
                    <a:pt x="376" y="461"/>
                    <a:pt x="341" y="481"/>
                    <a:pt x="283" y="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9" name="object 3">
            <a:extLst>
              <a:ext uri="{FF2B5EF4-FFF2-40B4-BE49-F238E27FC236}">
                <a16:creationId xmlns:a16="http://schemas.microsoft.com/office/drawing/2014/main" id="{8D333F5B-204A-4E2E-8A90-555E8523977A}"/>
              </a:ext>
            </a:extLst>
          </p:cNvPr>
          <p:cNvSpPr/>
          <p:nvPr userDrawn="1"/>
        </p:nvSpPr>
        <p:spPr>
          <a:xfrm>
            <a:off x="9204" y="4559"/>
            <a:ext cx="655813" cy="840582"/>
          </a:xfrm>
          <a:custGeom>
            <a:avLst/>
            <a:gdLst/>
            <a:ahLst/>
            <a:cxnLst/>
            <a:rect l="l" t="t" r="r" b="b"/>
            <a:pathLst>
              <a:path w="1005205" h="1288415">
                <a:moveTo>
                  <a:pt x="0" y="0"/>
                </a:moveTo>
                <a:lnTo>
                  <a:pt x="0" y="335068"/>
                </a:lnTo>
                <a:lnTo>
                  <a:pt x="609552" y="640462"/>
                </a:lnTo>
                <a:lnTo>
                  <a:pt x="0" y="952850"/>
                </a:lnTo>
                <a:lnTo>
                  <a:pt x="0" y="1287918"/>
                </a:lnTo>
                <a:lnTo>
                  <a:pt x="1005204" y="793253"/>
                </a:lnTo>
                <a:lnTo>
                  <a:pt x="1005204" y="49601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 anchor="ctr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08459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-bleed F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52AF02E-2129-4013-BA2B-4355D657A4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1402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52AF02E-2129-4013-BA2B-4355D657A4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object 3">
            <a:extLst>
              <a:ext uri="{FF2B5EF4-FFF2-40B4-BE49-F238E27FC236}">
                <a16:creationId xmlns:a16="http://schemas.microsoft.com/office/drawing/2014/main" id="{DF0DF7E7-67EA-4956-8C31-6F90A10C92FE}"/>
              </a:ext>
            </a:extLst>
          </p:cNvPr>
          <p:cNvSpPr/>
          <p:nvPr userDrawn="1"/>
        </p:nvSpPr>
        <p:spPr>
          <a:xfrm>
            <a:off x="1" y="4559"/>
            <a:ext cx="540326" cy="692558"/>
          </a:xfrm>
          <a:custGeom>
            <a:avLst/>
            <a:gdLst/>
            <a:ahLst/>
            <a:cxnLst/>
            <a:rect l="l" t="t" r="r" b="b"/>
            <a:pathLst>
              <a:path w="1005205" h="1288415">
                <a:moveTo>
                  <a:pt x="0" y="0"/>
                </a:moveTo>
                <a:lnTo>
                  <a:pt x="0" y="335068"/>
                </a:lnTo>
                <a:lnTo>
                  <a:pt x="609552" y="640462"/>
                </a:lnTo>
                <a:lnTo>
                  <a:pt x="0" y="952850"/>
                </a:lnTo>
                <a:lnTo>
                  <a:pt x="0" y="1287918"/>
                </a:lnTo>
                <a:lnTo>
                  <a:pt x="1005204" y="793253"/>
                </a:lnTo>
                <a:lnTo>
                  <a:pt x="1005204" y="49601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 anchor="ctr"/>
          <a:lstStyle/>
          <a:p>
            <a:endParaRPr/>
          </a:p>
        </p:txBody>
      </p:sp>
      <p:sp>
        <p:nvSpPr>
          <p:cNvPr id="132" name="Picture Placeholder 8">
            <a:extLst>
              <a:ext uri="{FF2B5EF4-FFF2-40B4-BE49-F238E27FC236}">
                <a16:creationId xmlns:a16="http://schemas.microsoft.com/office/drawing/2014/main" id="{EDCBD13A-C811-4A36-B374-1BD6EDEFAC8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C168B6FE-8C02-4842-88D8-2BF6C87C7203}"/>
              </a:ext>
            </a:extLst>
          </p:cNvPr>
          <p:cNvGrpSpPr/>
          <p:nvPr userDrawn="1"/>
        </p:nvGrpSpPr>
        <p:grpSpPr>
          <a:xfrm>
            <a:off x="9809018" y="6114397"/>
            <a:ext cx="2022620" cy="422928"/>
            <a:chOff x="9809018" y="6114397"/>
            <a:chExt cx="2022620" cy="422928"/>
          </a:xfrm>
        </p:grpSpPr>
        <p:sp>
          <p:nvSpPr>
            <p:cNvPr id="134" name="Freeform 5">
              <a:extLst>
                <a:ext uri="{FF2B5EF4-FFF2-40B4-BE49-F238E27FC236}">
                  <a16:creationId xmlns:a16="http://schemas.microsoft.com/office/drawing/2014/main" id="{7FC05F61-C049-43FE-8259-8A45BBC5B4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66356" y="6115872"/>
              <a:ext cx="510226" cy="421453"/>
            </a:xfrm>
            <a:custGeom>
              <a:avLst/>
              <a:gdLst>
                <a:gd name="T0" fmla="*/ 318 w 1730"/>
                <a:gd name="T1" fmla="*/ 1429 h 1429"/>
                <a:gd name="T2" fmla="*/ 0 w 1730"/>
                <a:gd name="T3" fmla="*/ 1429 h 1429"/>
                <a:gd name="T4" fmla="*/ 721 w 1730"/>
                <a:gd name="T5" fmla="*/ 0 h 1429"/>
                <a:gd name="T6" fmla="*/ 1009 w 1730"/>
                <a:gd name="T7" fmla="*/ 0 h 1429"/>
                <a:gd name="T8" fmla="*/ 1730 w 1730"/>
                <a:gd name="T9" fmla="*/ 1429 h 1429"/>
                <a:gd name="T10" fmla="*/ 1405 w 1730"/>
                <a:gd name="T11" fmla="*/ 1429 h 1429"/>
                <a:gd name="T12" fmla="*/ 861 w 1730"/>
                <a:gd name="T13" fmla="*/ 376 h 1429"/>
                <a:gd name="T14" fmla="*/ 318 w 1730"/>
                <a:gd name="T15" fmla="*/ 1429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0" h="1429">
                  <a:moveTo>
                    <a:pt x="318" y="1429"/>
                  </a:moveTo>
                  <a:lnTo>
                    <a:pt x="0" y="1429"/>
                  </a:lnTo>
                  <a:lnTo>
                    <a:pt x="721" y="0"/>
                  </a:lnTo>
                  <a:lnTo>
                    <a:pt x="1009" y="0"/>
                  </a:lnTo>
                  <a:lnTo>
                    <a:pt x="1730" y="1429"/>
                  </a:lnTo>
                  <a:lnTo>
                    <a:pt x="1405" y="1429"/>
                  </a:lnTo>
                  <a:lnTo>
                    <a:pt x="861" y="376"/>
                  </a:lnTo>
                  <a:lnTo>
                    <a:pt x="318" y="14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" name="Rectangle 6">
              <a:extLst>
                <a:ext uri="{FF2B5EF4-FFF2-40B4-BE49-F238E27FC236}">
                  <a16:creationId xmlns:a16="http://schemas.microsoft.com/office/drawing/2014/main" id="{1DF7864D-B6D0-4572-BEA5-E403C010DEC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273043" y="6115872"/>
              <a:ext cx="14746" cy="11325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" name="Freeform 7">
              <a:extLst>
                <a:ext uri="{FF2B5EF4-FFF2-40B4-BE49-F238E27FC236}">
                  <a16:creationId xmlns:a16="http://schemas.microsoft.com/office/drawing/2014/main" id="{A972C330-034B-4C10-A85F-F1AE11C233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0822" y="6115872"/>
              <a:ext cx="94967" cy="113253"/>
            </a:xfrm>
            <a:custGeom>
              <a:avLst/>
              <a:gdLst>
                <a:gd name="T0" fmla="*/ 0 w 136"/>
                <a:gd name="T1" fmla="*/ 161 h 161"/>
                <a:gd name="T2" fmla="*/ 0 w 136"/>
                <a:gd name="T3" fmla="*/ 0 h 161"/>
                <a:gd name="T4" fmla="*/ 20 w 136"/>
                <a:gd name="T5" fmla="*/ 0 h 161"/>
                <a:gd name="T6" fmla="*/ 88 w 136"/>
                <a:gd name="T7" fmla="*/ 90 h 161"/>
                <a:gd name="T8" fmla="*/ 116 w 136"/>
                <a:gd name="T9" fmla="*/ 127 h 161"/>
                <a:gd name="T10" fmla="*/ 116 w 136"/>
                <a:gd name="T11" fmla="*/ 127 h 161"/>
                <a:gd name="T12" fmla="*/ 116 w 136"/>
                <a:gd name="T13" fmla="*/ 81 h 161"/>
                <a:gd name="T14" fmla="*/ 116 w 136"/>
                <a:gd name="T15" fmla="*/ 0 h 161"/>
                <a:gd name="T16" fmla="*/ 136 w 136"/>
                <a:gd name="T17" fmla="*/ 0 h 161"/>
                <a:gd name="T18" fmla="*/ 136 w 136"/>
                <a:gd name="T19" fmla="*/ 161 h 161"/>
                <a:gd name="T20" fmla="*/ 116 w 136"/>
                <a:gd name="T21" fmla="*/ 161 h 161"/>
                <a:gd name="T22" fmla="*/ 49 w 136"/>
                <a:gd name="T23" fmla="*/ 72 h 161"/>
                <a:gd name="T24" fmla="*/ 21 w 136"/>
                <a:gd name="T25" fmla="*/ 34 h 161"/>
                <a:gd name="T26" fmla="*/ 20 w 136"/>
                <a:gd name="T27" fmla="*/ 34 h 161"/>
                <a:gd name="T28" fmla="*/ 21 w 136"/>
                <a:gd name="T29" fmla="*/ 80 h 161"/>
                <a:gd name="T30" fmla="*/ 21 w 136"/>
                <a:gd name="T31" fmla="*/ 161 h 161"/>
                <a:gd name="T32" fmla="*/ 0 w 136"/>
                <a:gd name="T33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61">
                  <a:moveTo>
                    <a:pt x="0" y="16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88" y="90"/>
                    <a:pt x="88" y="90"/>
                    <a:pt x="88" y="90"/>
                  </a:cubicBezTo>
                  <a:cubicBezTo>
                    <a:pt x="97" y="102"/>
                    <a:pt x="106" y="114"/>
                    <a:pt x="116" y="127"/>
                  </a:cubicBezTo>
                  <a:cubicBezTo>
                    <a:pt x="116" y="127"/>
                    <a:pt x="116" y="127"/>
                    <a:pt x="116" y="127"/>
                  </a:cubicBezTo>
                  <a:cubicBezTo>
                    <a:pt x="116" y="113"/>
                    <a:pt x="116" y="97"/>
                    <a:pt x="116" y="81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161"/>
                    <a:pt x="136" y="161"/>
                    <a:pt x="136" y="161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39" y="60"/>
                    <a:pt x="30" y="47"/>
                    <a:pt x="21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1" y="48"/>
                    <a:pt x="21" y="65"/>
                    <a:pt x="21" y="80"/>
                  </a:cubicBezTo>
                  <a:cubicBezTo>
                    <a:pt x="21" y="161"/>
                    <a:pt x="21" y="161"/>
                    <a:pt x="21" y="161"/>
                  </a:cubicBezTo>
                  <a:lnTo>
                    <a:pt x="0" y="16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" name="Freeform 8">
              <a:extLst>
                <a:ext uri="{FF2B5EF4-FFF2-40B4-BE49-F238E27FC236}">
                  <a16:creationId xmlns:a16="http://schemas.microsoft.com/office/drawing/2014/main" id="{9C56225E-DEE0-4BC7-9BAF-A836577675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6729" y="6115872"/>
              <a:ext cx="101750" cy="113253"/>
            </a:xfrm>
            <a:custGeom>
              <a:avLst/>
              <a:gdLst>
                <a:gd name="T0" fmla="*/ 0 w 145"/>
                <a:gd name="T1" fmla="*/ 0 h 161"/>
                <a:gd name="T2" fmla="*/ 23 w 145"/>
                <a:gd name="T3" fmla="*/ 0 h 161"/>
                <a:gd name="T4" fmla="*/ 57 w 145"/>
                <a:gd name="T5" fmla="*/ 90 h 161"/>
                <a:gd name="T6" fmla="*/ 73 w 145"/>
                <a:gd name="T7" fmla="*/ 133 h 161"/>
                <a:gd name="T8" fmla="*/ 73 w 145"/>
                <a:gd name="T9" fmla="*/ 133 h 161"/>
                <a:gd name="T10" fmla="*/ 89 w 145"/>
                <a:gd name="T11" fmla="*/ 90 h 161"/>
                <a:gd name="T12" fmla="*/ 124 w 145"/>
                <a:gd name="T13" fmla="*/ 0 h 161"/>
                <a:gd name="T14" fmla="*/ 145 w 145"/>
                <a:gd name="T15" fmla="*/ 0 h 161"/>
                <a:gd name="T16" fmla="*/ 84 w 145"/>
                <a:gd name="T17" fmla="*/ 161 h 161"/>
                <a:gd name="T18" fmla="*/ 62 w 145"/>
                <a:gd name="T19" fmla="*/ 161 h 161"/>
                <a:gd name="T20" fmla="*/ 0 w 145"/>
                <a:gd name="T21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5" h="161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62" y="104"/>
                    <a:pt x="67" y="118"/>
                    <a:pt x="73" y="133"/>
                  </a:cubicBezTo>
                  <a:cubicBezTo>
                    <a:pt x="73" y="133"/>
                    <a:pt x="73" y="133"/>
                    <a:pt x="73" y="133"/>
                  </a:cubicBezTo>
                  <a:cubicBezTo>
                    <a:pt x="79" y="118"/>
                    <a:pt x="84" y="104"/>
                    <a:pt x="89" y="9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84" y="161"/>
                    <a:pt x="84" y="161"/>
                    <a:pt x="84" y="161"/>
                  </a:cubicBezTo>
                  <a:cubicBezTo>
                    <a:pt x="62" y="161"/>
                    <a:pt x="62" y="161"/>
                    <a:pt x="62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" name="Freeform 9">
              <a:extLst>
                <a:ext uri="{FF2B5EF4-FFF2-40B4-BE49-F238E27FC236}">
                  <a16:creationId xmlns:a16="http://schemas.microsoft.com/office/drawing/2014/main" id="{A4B0150F-461F-4C57-953C-2A11598913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60009" y="6115872"/>
              <a:ext cx="66654" cy="113253"/>
            </a:xfrm>
            <a:custGeom>
              <a:avLst/>
              <a:gdLst>
                <a:gd name="T0" fmla="*/ 0 w 226"/>
                <a:gd name="T1" fmla="*/ 0 h 384"/>
                <a:gd name="T2" fmla="*/ 221 w 226"/>
                <a:gd name="T3" fmla="*/ 0 h 384"/>
                <a:gd name="T4" fmla="*/ 221 w 226"/>
                <a:gd name="T5" fmla="*/ 45 h 384"/>
                <a:gd name="T6" fmla="*/ 50 w 226"/>
                <a:gd name="T7" fmla="*/ 45 h 384"/>
                <a:gd name="T8" fmla="*/ 50 w 226"/>
                <a:gd name="T9" fmla="*/ 162 h 384"/>
                <a:gd name="T10" fmla="*/ 199 w 226"/>
                <a:gd name="T11" fmla="*/ 162 h 384"/>
                <a:gd name="T12" fmla="*/ 199 w 226"/>
                <a:gd name="T13" fmla="*/ 207 h 384"/>
                <a:gd name="T14" fmla="*/ 50 w 226"/>
                <a:gd name="T15" fmla="*/ 207 h 384"/>
                <a:gd name="T16" fmla="*/ 50 w 226"/>
                <a:gd name="T17" fmla="*/ 338 h 384"/>
                <a:gd name="T18" fmla="*/ 226 w 226"/>
                <a:gd name="T19" fmla="*/ 338 h 384"/>
                <a:gd name="T20" fmla="*/ 226 w 226"/>
                <a:gd name="T21" fmla="*/ 384 h 384"/>
                <a:gd name="T22" fmla="*/ 0 w 226"/>
                <a:gd name="T23" fmla="*/ 384 h 384"/>
                <a:gd name="T24" fmla="*/ 0 w 226"/>
                <a:gd name="T25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" h="384">
                  <a:moveTo>
                    <a:pt x="0" y="0"/>
                  </a:moveTo>
                  <a:lnTo>
                    <a:pt x="221" y="0"/>
                  </a:lnTo>
                  <a:lnTo>
                    <a:pt x="221" y="45"/>
                  </a:lnTo>
                  <a:lnTo>
                    <a:pt x="50" y="45"/>
                  </a:lnTo>
                  <a:lnTo>
                    <a:pt x="50" y="162"/>
                  </a:lnTo>
                  <a:lnTo>
                    <a:pt x="199" y="162"/>
                  </a:lnTo>
                  <a:lnTo>
                    <a:pt x="199" y="207"/>
                  </a:lnTo>
                  <a:lnTo>
                    <a:pt x="50" y="207"/>
                  </a:lnTo>
                  <a:lnTo>
                    <a:pt x="50" y="338"/>
                  </a:lnTo>
                  <a:lnTo>
                    <a:pt x="226" y="338"/>
                  </a:lnTo>
                  <a:lnTo>
                    <a:pt x="226" y="384"/>
                  </a:lnTo>
                  <a:lnTo>
                    <a:pt x="0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" name="Freeform 10">
              <a:extLst>
                <a:ext uri="{FF2B5EF4-FFF2-40B4-BE49-F238E27FC236}">
                  <a16:creationId xmlns:a16="http://schemas.microsoft.com/office/drawing/2014/main" id="{ABC4F550-0B0F-46F4-9CDB-53266CEC69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50257" y="6114397"/>
              <a:ext cx="74322" cy="116792"/>
            </a:xfrm>
            <a:custGeom>
              <a:avLst/>
              <a:gdLst>
                <a:gd name="T0" fmla="*/ 4 w 106"/>
                <a:gd name="T1" fmla="*/ 130 h 166"/>
                <a:gd name="T2" fmla="*/ 52 w 106"/>
                <a:gd name="T3" fmla="*/ 146 h 166"/>
                <a:gd name="T4" fmla="*/ 85 w 106"/>
                <a:gd name="T5" fmla="*/ 120 h 166"/>
                <a:gd name="T6" fmla="*/ 45 w 106"/>
                <a:gd name="T7" fmla="*/ 90 h 166"/>
                <a:gd name="T8" fmla="*/ 0 w 106"/>
                <a:gd name="T9" fmla="*/ 45 h 166"/>
                <a:gd name="T10" fmla="*/ 52 w 106"/>
                <a:gd name="T11" fmla="*/ 0 h 166"/>
                <a:gd name="T12" fmla="*/ 99 w 106"/>
                <a:gd name="T13" fmla="*/ 12 h 166"/>
                <a:gd name="T14" fmla="*/ 99 w 106"/>
                <a:gd name="T15" fmla="*/ 34 h 166"/>
                <a:gd name="T16" fmla="*/ 52 w 106"/>
                <a:gd name="T17" fmla="*/ 19 h 166"/>
                <a:gd name="T18" fmla="*/ 21 w 106"/>
                <a:gd name="T19" fmla="*/ 43 h 166"/>
                <a:gd name="T20" fmla="*/ 59 w 106"/>
                <a:gd name="T21" fmla="*/ 72 h 166"/>
                <a:gd name="T22" fmla="*/ 106 w 106"/>
                <a:gd name="T23" fmla="*/ 119 h 166"/>
                <a:gd name="T24" fmla="*/ 52 w 106"/>
                <a:gd name="T25" fmla="*/ 166 h 166"/>
                <a:gd name="T26" fmla="*/ 4 w 106"/>
                <a:gd name="T27" fmla="*/ 153 h 166"/>
                <a:gd name="T28" fmla="*/ 4 w 106"/>
                <a:gd name="T29" fmla="*/ 13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6" h="166">
                  <a:moveTo>
                    <a:pt x="4" y="130"/>
                  </a:moveTo>
                  <a:cubicBezTo>
                    <a:pt x="19" y="141"/>
                    <a:pt x="38" y="146"/>
                    <a:pt x="52" y="146"/>
                  </a:cubicBezTo>
                  <a:cubicBezTo>
                    <a:pt x="71" y="146"/>
                    <a:pt x="85" y="138"/>
                    <a:pt x="85" y="120"/>
                  </a:cubicBezTo>
                  <a:cubicBezTo>
                    <a:pt x="85" y="99"/>
                    <a:pt x="66" y="96"/>
                    <a:pt x="45" y="90"/>
                  </a:cubicBezTo>
                  <a:cubicBezTo>
                    <a:pt x="22" y="83"/>
                    <a:pt x="0" y="74"/>
                    <a:pt x="0" y="45"/>
                  </a:cubicBezTo>
                  <a:cubicBezTo>
                    <a:pt x="0" y="16"/>
                    <a:pt x="21" y="0"/>
                    <a:pt x="52" y="0"/>
                  </a:cubicBezTo>
                  <a:cubicBezTo>
                    <a:pt x="67" y="0"/>
                    <a:pt x="86" y="4"/>
                    <a:pt x="99" y="12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84" y="24"/>
                    <a:pt x="66" y="19"/>
                    <a:pt x="52" y="19"/>
                  </a:cubicBezTo>
                  <a:cubicBezTo>
                    <a:pt x="34" y="19"/>
                    <a:pt x="21" y="27"/>
                    <a:pt x="21" y="43"/>
                  </a:cubicBezTo>
                  <a:cubicBezTo>
                    <a:pt x="21" y="63"/>
                    <a:pt x="40" y="67"/>
                    <a:pt x="59" y="72"/>
                  </a:cubicBezTo>
                  <a:cubicBezTo>
                    <a:pt x="83" y="79"/>
                    <a:pt x="106" y="88"/>
                    <a:pt x="106" y="119"/>
                  </a:cubicBezTo>
                  <a:cubicBezTo>
                    <a:pt x="106" y="148"/>
                    <a:pt x="84" y="166"/>
                    <a:pt x="52" y="166"/>
                  </a:cubicBezTo>
                  <a:cubicBezTo>
                    <a:pt x="37" y="166"/>
                    <a:pt x="18" y="161"/>
                    <a:pt x="4" y="153"/>
                  </a:cubicBezTo>
                  <a:lnTo>
                    <a:pt x="4" y="13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" name="Freeform 11">
              <a:extLst>
                <a:ext uri="{FF2B5EF4-FFF2-40B4-BE49-F238E27FC236}">
                  <a16:creationId xmlns:a16="http://schemas.microsoft.com/office/drawing/2014/main" id="{D4D51628-17C0-4828-A2D1-271E4328AB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35786" y="6115872"/>
              <a:ext cx="90248" cy="113253"/>
            </a:xfrm>
            <a:custGeom>
              <a:avLst/>
              <a:gdLst>
                <a:gd name="T0" fmla="*/ 128 w 306"/>
                <a:gd name="T1" fmla="*/ 45 h 384"/>
                <a:gd name="T2" fmla="*/ 0 w 306"/>
                <a:gd name="T3" fmla="*/ 45 h 384"/>
                <a:gd name="T4" fmla="*/ 0 w 306"/>
                <a:gd name="T5" fmla="*/ 0 h 384"/>
                <a:gd name="T6" fmla="*/ 306 w 306"/>
                <a:gd name="T7" fmla="*/ 0 h 384"/>
                <a:gd name="T8" fmla="*/ 306 w 306"/>
                <a:gd name="T9" fmla="*/ 45 h 384"/>
                <a:gd name="T10" fmla="*/ 178 w 306"/>
                <a:gd name="T11" fmla="*/ 45 h 384"/>
                <a:gd name="T12" fmla="*/ 178 w 306"/>
                <a:gd name="T13" fmla="*/ 384 h 384"/>
                <a:gd name="T14" fmla="*/ 128 w 306"/>
                <a:gd name="T15" fmla="*/ 384 h 384"/>
                <a:gd name="T16" fmla="*/ 128 w 306"/>
                <a:gd name="T17" fmla="*/ 45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6" h="384">
                  <a:moveTo>
                    <a:pt x="128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306" y="0"/>
                  </a:lnTo>
                  <a:lnTo>
                    <a:pt x="306" y="45"/>
                  </a:lnTo>
                  <a:lnTo>
                    <a:pt x="178" y="45"/>
                  </a:lnTo>
                  <a:lnTo>
                    <a:pt x="178" y="384"/>
                  </a:lnTo>
                  <a:lnTo>
                    <a:pt x="128" y="384"/>
                  </a:lnTo>
                  <a:lnTo>
                    <a:pt x="128" y="4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" name="Freeform 12">
              <a:extLst>
                <a:ext uri="{FF2B5EF4-FFF2-40B4-BE49-F238E27FC236}">
                  <a16:creationId xmlns:a16="http://schemas.microsoft.com/office/drawing/2014/main" id="{F69032A7-22BC-4758-91C4-F952E59B21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4066" y="6270414"/>
              <a:ext cx="153953" cy="113253"/>
            </a:xfrm>
            <a:custGeom>
              <a:avLst/>
              <a:gdLst>
                <a:gd name="T0" fmla="*/ 0 w 220"/>
                <a:gd name="T1" fmla="*/ 0 h 161"/>
                <a:gd name="T2" fmla="*/ 22 w 220"/>
                <a:gd name="T3" fmla="*/ 0 h 161"/>
                <a:gd name="T4" fmla="*/ 49 w 220"/>
                <a:gd name="T5" fmla="*/ 87 h 161"/>
                <a:gd name="T6" fmla="*/ 62 w 220"/>
                <a:gd name="T7" fmla="*/ 129 h 161"/>
                <a:gd name="T8" fmla="*/ 62 w 220"/>
                <a:gd name="T9" fmla="*/ 129 h 161"/>
                <a:gd name="T10" fmla="*/ 75 w 220"/>
                <a:gd name="T11" fmla="*/ 87 h 161"/>
                <a:gd name="T12" fmla="*/ 103 w 220"/>
                <a:gd name="T13" fmla="*/ 0 h 161"/>
                <a:gd name="T14" fmla="*/ 118 w 220"/>
                <a:gd name="T15" fmla="*/ 0 h 161"/>
                <a:gd name="T16" fmla="*/ 145 w 220"/>
                <a:gd name="T17" fmla="*/ 87 h 161"/>
                <a:gd name="T18" fmla="*/ 158 w 220"/>
                <a:gd name="T19" fmla="*/ 129 h 161"/>
                <a:gd name="T20" fmla="*/ 159 w 220"/>
                <a:gd name="T21" fmla="*/ 129 h 161"/>
                <a:gd name="T22" fmla="*/ 171 w 220"/>
                <a:gd name="T23" fmla="*/ 87 h 161"/>
                <a:gd name="T24" fmla="*/ 198 w 220"/>
                <a:gd name="T25" fmla="*/ 0 h 161"/>
                <a:gd name="T26" fmla="*/ 220 w 220"/>
                <a:gd name="T27" fmla="*/ 0 h 161"/>
                <a:gd name="T28" fmla="*/ 170 w 220"/>
                <a:gd name="T29" fmla="*/ 161 h 161"/>
                <a:gd name="T30" fmla="*/ 147 w 220"/>
                <a:gd name="T31" fmla="*/ 161 h 161"/>
                <a:gd name="T32" fmla="*/ 121 w 220"/>
                <a:gd name="T33" fmla="*/ 79 h 161"/>
                <a:gd name="T34" fmla="*/ 110 w 220"/>
                <a:gd name="T35" fmla="*/ 42 h 161"/>
                <a:gd name="T36" fmla="*/ 110 w 220"/>
                <a:gd name="T37" fmla="*/ 42 h 161"/>
                <a:gd name="T38" fmla="*/ 98 w 220"/>
                <a:gd name="T39" fmla="*/ 79 h 161"/>
                <a:gd name="T40" fmla="*/ 73 w 220"/>
                <a:gd name="T41" fmla="*/ 161 h 161"/>
                <a:gd name="T42" fmla="*/ 50 w 220"/>
                <a:gd name="T43" fmla="*/ 161 h 161"/>
                <a:gd name="T44" fmla="*/ 0 w 220"/>
                <a:gd name="T45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0" h="161">
                  <a:moveTo>
                    <a:pt x="0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54" y="101"/>
                    <a:pt x="58" y="115"/>
                    <a:pt x="62" y="129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66" y="115"/>
                    <a:pt x="71" y="101"/>
                    <a:pt x="75" y="87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45" y="87"/>
                    <a:pt x="145" y="87"/>
                    <a:pt x="145" y="87"/>
                  </a:cubicBezTo>
                  <a:cubicBezTo>
                    <a:pt x="150" y="101"/>
                    <a:pt x="154" y="115"/>
                    <a:pt x="158" y="129"/>
                  </a:cubicBezTo>
                  <a:cubicBezTo>
                    <a:pt x="159" y="129"/>
                    <a:pt x="159" y="129"/>
                    <a:pt x="159" y="129"/>
                  </a:cubicBezTo>
                  <a:cubicBezTo>
                    <a:pt x="163" y="115"/>
                    <a:pt x="167" y="101"/>
                    <a:pt x="171" y="87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170" y="161"/>
                    <a:pt x="170" y="161"/>
                    <a:pt x="170" y="161"/>
                  </a:cubicBezTo>
                  <a:cubicBezTo>
                    <a:pt x="147" y="161"/>
                    <a:pt x="147" y="161"/>
                    <a:pt x="147" y="161"/>
                  </a:cubicBezTo>
                  <a:cubicBezTo>
                    <a:pt x="121" y="79"/>
                    <a:pt x="121" y="79"/>
                    <a:pt x="121" y="79"/>
                  </a:cubicBezTo>
                  <a:cubicBezTo>
                    <a:pt x="117" y="66"/>
                    <a:pt x="114" y="54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06" y="54"/>
                    <a:pt x="102" y="67"/>
                    <a:pt x="98" y="79"/>
                  </a:cubicBezTo>
                  <a:cubicBezTo>
                    <a:pt x="73" y="161"/>
                    <a:pt x="73" y="161"/>
                    <a:pt x="73" y="161"/>
                  </a:cubicBezTo>
                  <a:cubicBezTo>
                    <a:pt x="50" y="161"/>
                    <a:pt x="50" y="161"/>
                    <a:pt x="50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" name="Freeform 13">
              <a:extLst>
                <a:ext uri="{FF2B5EF4-FFF2-40B4-BE49-F238E27FC236}">
                  <a16:creationId xmlns:a16="http://schemas.microsoft.com/office/drawing/2014/main" id="{9703A661-DF9D-46EB-9410-1F7A083F338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490111" y="6268940"/>
              <a:ext cx="114727" cy="115907"/>
            </a:xfrm>
            <a:custGeom>
              <a:avLst/>
              <a:gdLst>
                <a:gd name="T0" fmla="*/ 82 w 164"/>
                <a:gd name="T1" fmla="*/ 0 h 165"/>
                <a:gd name="T2" fmla="*/ 164 w 164"/>
                <a:gd name="T3" fmla="*/ 82 h 165"/>
                <a:gd name="T4" fmla="*/ 82 w 164"/>
                <a:gd name="T5" fmla="*/ 165 h 165"/>
                <a:gd name="T6" fmla="*/ 0 w 164"/>
                <a:gd name="T7" fmla="*/ 82 h 165"/>
                <a:gd name="T8" fmla="*/ 82 w 164"/>
                <a:gd name="T9" fmla="*/ 0 h 165"/>
                <a:gd name="T10" fmla="*/ 82 w 164"/>
                <a:gd name="T11" fmla="*/ 146 h 165"/>
                <a:gd name="T12" fmla="*/ 143 w 164"/>
                <a:gd name="T13" fmla="*/ 82 h 165"/>
                <a:gd name="T14" fmla="*/ 82 w 164"/>
                <a:gd name="T15" fmla="*/ 19 h 165"/>
                <a:gd name="T16" fmla="*/ 22 w 164"/>
                <a:gd name="T17" fmla="*/ 82 h 165"/>
                <a:gd name="T18" fmla="*/ 82 w 164"/>
                <a:gd name="T19" fmla="*/ 146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5">
                  <a:moveTo>
                    <a:pt x="82" y="0"/>
                  </a:moveTo>
                  <a:cubicBezTo>
                    <a:pt x="129" y="0"/>
                    <a:pt x="164" y="36"/>
                    <a:pt x="164" y="82"/>
                  </a:cubicBezTo>
                  <a:cubicBezTo>
                    <a:pt x="164" y="129"/>
                    <a:pt x="129" y="165"/>
                    <a:pt x="82" y="165"/>
                  </a:cubicBezTo>
                  <a:cubicBezTo>
                    <a:pt x="36" y="165"/>
                    <a:pt x="0" y="129"/>
                    <a:pt x="0" y="82"/>
                  </a:cubicBezTo>
                  <a:cubicBezTo>
                    <a:pt x="0" y="36"/>
                    <a:pt x="36" y="0"/>
                    <a:pt x="82" y="0"/>
                  </a:cubicBezTo>
                  <a:close/>
                  <a:moveTo>
                    <a:pt x="82" y="146"/>
                  </a:moveTo>
                  <a:cubicBezTo>
                    <a:pt x="117" y="146"/>
                    <a:pt x="143" y="118"/>
                    <a:pt x="143" y="82"/>
                  </a:cubicBezTo>
                  <a:cubicBezTo>
                    <a:pt x="143" y="47"/>
                    <a:pt x="117" y="19"/>
                    <a:pt x="82" y="19"/>
                  </a:cubicBezTo>
                  <a:cubicBezTo>
                    <a:pt x="47" y="19"/>
                    <a:pt x="22" y="47"/>
                    <a:pt x="22" y="82"/>
                  </a:cubicBezTo>
                  <a:cubicBezTo>
                    <a:pt x="22" y="118"/>
                    <a:pt x="47" y="146"/>
                    <a:pt x="82" y="14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" name="Freeform 14">
              <a:extLst>
                <a:ext uri="{FF2B5EF4-FFF2-40B4-BE49-F238E27FC236}">
                  <a16:creationId xmlns:a16="http://schemas.microsoft.com/office/drawing/2014/main" id="{7E5E2063-914E-4654-B51A-C27F6846F0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631382" y="6270414"/>
              <a:ext cx="86119" cy="113253"/>
            </a:xfrm>
            <a:custGeom>
              <a:avLst/>
              <a:gdLst>
                <a:gd name="T0" fmla="*/ 0 w 123"/>
                <a:gd name="T1" fmla="*/ 0 h 161"/>
                <a:gd name="T2" fmla="*/ 43 w 123"/>
                <a:gd name="T3" fmla="*/ 0 h 161"/>
                <a:gd name="T4" fmla="*/ 88 w 123"/>
                <a:gd name="T5" fmla="*/ 8 h 161"/>
                <a:gd name="T6" fmla="*/ 111 w 123"/>
                <a:gd name="T7" fmla="*/ 46 h 161"/>
                <a:gd name="T8" fmla="*/ 90 w 123"/>
                <a:gd name="T9" fmla="*/ 83 h 161"/>
                <a:gd name="T10" fmla="*/ 71 w 123"/>
                <a:gd name="T11" fmla="*/ 90 h 161"/>
                <a:gd name="T12" fmla="*/ 123 w 123"/>
                <a:gd name="T13" fmla="*/ 161 h 161"/>
                <a:gd name="T14" fmla="*/ 97 w 123"/>
                <a:gd name="T15" fmla="*/ 161 h 161"/>
                <a:gd name="T16" fmla="*/ 48 w 123"/>
                <a:gd name="T17" fmla="*/ 92 h 161"/>
                <a:gd name="T18" fmla="*/ 21 w 123"/>
                <a:gd name="T19" fmla="*/ 92 h 161"/>
                <a:gd name="T20" fmla="*/ 21 w 123"/>
                <a:gd name="T21" fmla="*/ 161 h 161"/>
                <a:gd name="T22" fmla="*/ 0 w 123"/>
                <a:gd name="T23" fmla="*/ 161 h 161"/>
                <a:gd name="T24" fmla="*/ 0 w 123"/>
                <a:gd name="T25" fmla="*/ 0 h 161"/>
                <a:gd name="T26" fmla="*/ 48 w 123"/>
                <a:gd name="T27" fmla="*/ 75 h 161"/>
                <a:gd name="T28" fmla="*/ 80 w 123"/>
                <a:gd name="T29" fmla="*/ 67 h 161"/>
                <a:gd name="T30" fmla="*/ 89 w 123"/>
                <a:gd name="T31" fmla="*/ 47 h 161"/>
                <a:gd name="T32" fmla="*/ 76 w 123"/>
                <a:gd name="T33" fmla="*/ 25 h 161"/>
                <a:gd name="T34" fmla="*/ 42 w 123"/>
                <a:gd name="T35" fmla="*/ 19 h 161"/>
                <a:gd name="T36" fmla="*/ 21 w 123"/>
                <a:gd name="T37" fmla="*/ 19 h 161"/>
                <a:gd name="T38" fmla="*/ 21 w 123"/>
                <a:gd name="T39" fmla="*/ 75 h 161"/>
                <a:gd name="T40" fmla="*/ 48 w 123"/>
                <a:gd name="T41" fmla="*/ 75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3" h="161">
                  <a:moveTo>
                    <a:pt x="0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60" y="0"/>
                    <a:pt x="75" y="1"/>
                    <a:pt x="88" y="8"/>
                  </a:cubicBezTo>
                  <a:cubicBezTo>
                    <a:pt x="102" y="15"/>
                    <a:pt x="111" y="28"/>
                    <a:pt x="111" y="46"/>
                  </a:cubicBezTo>
                  <a:cubicBezTo>
                    <a:pt x="111" y="63"/>
                    <a:pt x="102" y="76"/>
                    <a:pt x="90" y="83"/>
                  </a:cubicBezTo>
                  <a:cubicBezTo>
                    <a:pt x="84" y="87"/>
                    <a:pt x="78" y="89"/>
                    <a:pt x="71" y="90"/>
                  </a:cubicBezTo>
                  <a:cubicBezTo>
                    <a:pt x="123" y="161"/>
                    <a:pt x="123" y="161"/>
                    <a:pt x="123" y="161"/>
                  </a:cubicBezTo>
                  <a:cubicBezTo>
                    <a:pt x="97" y="161"/>
                    <a:pt x="97" y="161"/>
                    <a:pt x="97" y="161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0" y="161"/>
                    <a:pt x="0" y="161"/>
                    <a:pt x="0" y="161"/>
                  </a:cubicBezTo>
                  <a:lnTo>
                    <a:pt x="0" y="0"/>
                  </a:lnTo>
                  <a:close/>
                  <a:moveTo>
                    <a:pt x="48" y="75"/>
                  </a:moveTo>
                  <a:cubicBezTo>
                    <a:pt x="63" y="75"/>
                    <a:pt x="73" y="73"/>
                    <a:pt x="80" y="67"/>
                  </a:cubicBezTo>
                  <a:cubicBezTo>
                    <a:pt x="86" y="63"/>
                    <a:pt x="89" y="56"/>
                    <a:pt x="89" y="47"/>
                  </a:cubicBezTo>
                  <a:cubicBezTo>
                    <a:pt x="89" y="37"/>
                    <a:pt x="85" y="29"/>
                    <a:pt x="76" y="25"/>
                  </a:cubicBezTo>
                  <a:cubicBezTo>
                    <a:pt x="68" y="20"/>
                    <a:pt x="57" y="19"/>
                    <a:pt x="42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75"/>
                    <a:pt x="21" y="75"/>
                    <a:pt x="21" y="75"/>
                  </a:cubicBezTo>
                  <a:lnTo>
                    <a:pt x="48" y="7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" name="Freeform 15">
              <a:extLst>
                <a:ext uri="{FF2B5EF4-FFF2-40B4-BE49-F238E27FC236}">
                  <a16:creationId xmlns:a16="http://schemas.microsoft.com/office/drawing/2014/main" id="{096ABFB1-000D-4EF9-AF51-C838608FED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44929" y="6270414"/>
              <a:ext cx="86709" cy="113253"/>
            </a:xfrm>
            <a:custGeom>
              <a:avLst/>
              <a:gdLst>
                <a:gd name="T0" fmla="*/ 0 w 294"/>
                <a:gd name="T1" fmla="*/ 0 h 384"/>
                <a:gd name="T2" fmla="*/ 49 w 294"/>
                <a:gd name="T3" fmla="*/ 0 h 384"/>
                <a:gd name="T4" fmla="*/ 49 w 294"/>
                <a:gd name="T5" fmla="*/ 174 h 384"/>
                <a:gd name="T6" fmla="*/ 49 w 294"/>
                <a:gd name="T7" fmla="*/ 174 h 384"/>
                <a:gd name="T8" fmla="*/ 216 w 294"/>
                <a:gd name="T9" fmla="*/ 0 h 384"/>
                <a:gd name="T10" fmla="*/ 280 w 294"/>
                <a:gd name="T11" fmla="*/ 0 h 384"/>
                <a:gd name="T12" fmla="*/ 106 w 294"/>
                <a:gd name="T13" fmla="*/ 179 h 384"/>
                <a:gd name="T14" fmla="*/ 294 w 294"/>
                <a:gd name="T15" fmla="*/ 384 h 384"/>
                <a:gd name="T16" fmla="*/ 227 w 294"/>
                <a:gd name="T17" fmla="*/ 384 h 384"/>
                <a:gd name="T18" fmla="*/ 49 w 294"/>
                <a:gd name="T19" fmla="*/ 186 h 384"/>
                <a:gd name="T20" fmla="*/ 49 w 294"/>
                <a:gd name="T21" fmla="*/ 186 h 384"/>
                <a:gd name="T22" fmla="*/ 49 w 294"/>
                <a:gd name="T23" fmla="*/ 384 h 384"/>
                <a:gd name="T24" fmla="*/ 0 w 294"/>
                <a:gd name="T25" fmla="*/ 384 h 384"/>
                <a:gd name="T26" fmla="*/ 0 w 294"/>
                <a:gd name="T27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384">
                  <a:moveTo>
                    <a:pt x="0" y="0"/>
                  </a:moveTo>
                  <a:lnTo>
                    <a:pt x="49" y="0"/>
                  </a:lnTo>
                  <a:lnTo>
                    <a:pt x="49" y="174"/>
                  </a:lnTo>
                  <a:lnTo>
                    <a:pt x="49" y="174"/>
                  </a:lnTo>
                  <a:lnTo>
                    <a:pt x="216" y="0"/>
                  </a:lnTo>
                  <a:lnTo>
                    <a:pt x="280" y="0"/>
                  </a:lnTo>
                  <a:lnTo>
                    <a:pt x="106" y="179"/>
                  </a:lnTo>
                  <a:lnTo>
                    <a:pt x="294" y="384"/>
                  </a:lnTo>
                  <a:lnTo>
                    <a:pt x="227" y="384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384"/>
                  </a:lnTo>
                  <a:lnTo>
                    <a:pt x="0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" name="Freeform 16">
              <a:extLst>
                <a:ext uri="{FF2B5EF4-FFF2-40B4-BE49-F238E27FC236}">
                  <a16:creationId xmlns:a16="http://schemas.microsoft.com/office/drawing/2014/main" id="{EAEBC4A3-2171-4610-B11B-E1763D8C65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67106" y="6424367"/>
              <a:ext cx="66359" cy="112958"/>
            </a:xfrm>
            <a:custGeom>
              <a:avLst/>
              <a:gdLst>
                <a:gd name="T0" fmla="*/ 0 w 225"/>
                <a:gd name="T1" fmla="*/ 0 h 383"/>
                <a:gd name="T2" fmla="*/ 225 w 225"/>
                <a:gd name="T3" fmla="*/ 0 h 383"/>
                <a:gd name="T4" fmla="*/ 225 w 225"/>
                <a:gd name="T5" fmla="*/ 45 h 383"/>
                <a:gd name="T6" fmla="*/ 49 w 225"/>
                <a:gd name="T7" fmla="*/ 45 h 383"/>
                <a:gd name="T8" fmla="*/ 49 w 225"/>
                <a:gd name="T9" fmla="*/ 169 h 383"/>
                <a:gd name="T10" fmla="*/ 204 w 225"/>
                <a:gd name="T11" fmla="*/ 169 h 383"/>
                <a:gd name="T12" fmla="*/ 204 w 225"/>
                <a:gd name="T13" fmla="*/ 214 h 383"/>
                <a:gd name="T14" fmla="*/ 49 w 225"/>
                <a:gd name="T15" fmla="*/ 214 h 383"/>
                <a:gd name="T16" fmla="*/ 49 w 225"/>
                <a:gd name="T17" fmla="*/ 383 h 383"/>
                <a:gd name="T18" fmla="*/ 0 w 225"/>
                <a:gd name="T19" fmla="*/ 383 h 383"/>
                <a:gd name="T20" fmla="*/ 0 w 225"/>
                <a:gd name="T21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5" h="383">
                  <a:moveTo>
                    <a:pt x="0" y="0"/>
                  </a:moveTo>
                  <a:lnTo>
                    <a:pt x="225" y="0"/>
                  </a:lnTo>
                  <a:lnTo>
                    <a:pt x="225" y="45"/>
                  </a:lnTo>
                  <a:lnTo>
                    <a:pt x="49" y="45"/>
                  </a:lnTo>
                  <a:lnTo>
                    <a:pt x="49" y="169"/>
                  </a:lnTo>
                  <a:lnTo>
                    <a:pt x="204" y="169"/>
                  </a:lnTo>
                  <a:lnTo>
                    <a:pt x="204" y="214"/>
                  </a:lnTo>
                  <a:lnTo>
                    <a:pt x="49" y="214"/>
                  </a:lnTo>
                  <a:lnTo>
                    <a:pt x="49" y="383"/>
                  </a:lnTo>
                  <a:lnTo>
                    <a:pt x="0" y="3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" name="Rectangle 17">
              <a:extLst>
                <a:ext uri="{FF2B5EF4-FFF2-40B4-BE49-F238E27FC236}">
                  <a16:creationId xmlns:a16="http://schemas.microsoft.com/office/drawing/2014/main" id="{AF0A0B90-7573-463E-9D9D-4BC4FC21780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565023" y="6424367"/>
              <a:ext cx="14746" cy="11295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" name="Freeform 18">
              <a:extLst>
                <a:ext uri="{FF2B5EF4-FFF2-40B4-BE49-F238E27FC236}">
                  <a16:creationId xmlns:a16="http://schemas.microsoft.com/office/drawing/2014/main" id="{39187812-ABFF-41D4-B84E-ED321FD2CD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15455" y="6424367"/>
              <a:ext cx="67834" cy="112958"/>
            </a:xfrm>
            <a:custGeom>
              <a:avLst/>
              <a:gdLst>
                <a:gd name="T0" fmla="*/ 0 w 230"/>
                <a:gd name="T1" fmla="*/ 0 h 383"/>
                <a:gd name="T2" fmla="*/ 49 w 230"/>
                <a:gd name="T3" fmla="*/ 0 h 383"/>
                <a:gd name="T4" fmla="*/ 49 w 230"/>
                <a:gd name="T5" fmla="*/ 338 h 383"/>
                <a:gd name="T6" fmla="*/ 230 w 230"/>
                <a:gd name="T7" fmla="*/ 338 h 383"/>
                <a:gd name="T8" fmla="*/ 230 w 230"/>
                <a:gd name="T9" fmla="*/ 383 h 383"/>
                <a:gd name="T10" fmla="*/ 0 w 230"/>
                <a:gd name="T11" fmla="*/ 383 h 383"/>
                <a:gd name="T12" fmla="*/ 0 w 230"/>
                <a:gd name="T13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0" h="383">
                  <a:moveTo>
                    <a:pt x="0" y="0"/>
                  </a:moveTo>
                  <a:lnTo>
                    <a:pt x="49" y="0"/>
                  </a:lnTo>
                  <a:lnTo>
                    <a:pt x="49" y="338"/>
                  </a:lnTo>
                  <a:lnTo>
                    <a:pt x="230" y="338"/>
                  </a:lnTo>
                  <a:lnTo>
                    <a:pt x="230" y="383"/>
                  </a:lnTo>
                  <a:lnTo>
                    <a:pt x="0" y="3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" name="Freeform 19">
              <a:extLst>
                <a:ext uri="{FF2B5EF4-FFF2-40B4-BE49-F238E27FC236}">
                  <a16:creationId xmlns:a16="http://schemas.microsoft.com/office/drawing/2014/main" id="{D065D3F7-EF7C-4441-AB78-2337EB2357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08358" y="6424367"/>
              <a:ext cx="108534" cy="112958"/>
            </a:xfrm>
            <a:custGeom>
              <a:avLst/>
              <a:gdLst>
                <a:gd name="T0" fmla="*/ 42 w 155"/>
                <a:gd name="T1" fmla="*/ 67 h 161"/>
                <a:gd name="T2" fmla="*/ 20 w 155"/>
                <a:gd name="T3" fmla="*/ 35 h 161"/>
                <a:gd name="T4" fmla="*/ 20 w 155"/>
                <a:gd name="T5" fmla="*/ 36 h 161"/>
                <a:gd name="T6" fmla="*/ 20 w 155"/>
                <a:gd name="T7" fmla="*/ 71 h 161"/>
                <a:gd name="T8" fmla="*/ 20 w 155"/>
                <a:gd name="T9" fmla="*/ 161 h 161"/>
                <a:gd name="T10" fmla="*/ 0 w 155"/>
                <a:gd name="T11" fmla="*/ 161 h 161"/>
                <a:gd name="T12" fmla="*/ 0 w 155"/>
                <a:gd name="T13" fmla="*/ 0 h 161"/>
                <a:gd name="T14" fmla="*/ 20 w 155"/>
                <a:gd name="T15" fmla="*/ 0 h 161"/>
                <a:gd name="T16" fmla="*/ 78 w 155"/>
                <a:gd name="T17" fmla="*/ 82 h 161"/>
                <a:gd name="T18" fmla="*/ 135 w 155"/>
                <a:gd name="T19" fmla="*/ 0 h 161"/>
                <a:gd name="T20" fmla="*/ 155 w 155"/>
                <a:gd name="T21" fmla="*/ 0 h 161"/>
                <a:gd name="T22" fmla="*/ 155 w 155"/>
                <a:gd name="T23" fmla="*/ 161 h 161"/>
                <a:gd name="T24" fmla="*/ 134 w 155"/>
                <a:gd name="T25" fmla="*/ 161 h 161"/>
                <a:gd name="T26" fmla="*/ 134 w 155"/>
                <a:gd name="T27" fmla="*/ 71 h 161"/>
                <a:gd name="T28" fmla="*/ 134 w 155"/>
                <a:gd name="T29" fmla="*/ 36 h 161"/>
                <a:gd name="T30" fmla="*/ 134 w 155"/>
                <a:gd name="T31" fmla="*/ 35 h 161"/>
                <a:gd name="T32" fmla="*/ 112 w 155"/>
                <a:gd name="T33" fmla="*/ 67 h 161"/>
                <a:gd name="T34" fmla="*/ 77 w 155"/>
                <a:gd name="T35" fmla="*/ 117 h 161"/>
                <a:gd name="T36" fmla="*/ 42 w 155"/>
                <a:gd name="T37" fmla="*/ 6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61">
                  <a:moveTo>
                    <a:pt x="42" y="67"/>
                  </a:moveTo>
                  <a:cubicBezTo>
                    <a:pt x="35" y="57"/>
                    <a:pt x="28" y="46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45"/>
                    <a:pt x="20" y="57"/>
                    <a:pt x="20" y="71"/>
                  </a:cubicBezTo>
                  <a:cubicBezTo>
                    <a:pt x="20" y="161"/>
                    <a:pt x="20" y="161"/>
                    <a:pt x="2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5" y="161"/>
                    <a:pt x="155" y="161"/>
                    <a:pt x="155" y="161"/>
                  </a:cubicBezTo>
                  <a:cubicBezTo>
                    <a:pt x="134" y="161"/>
                    <a:pt x="134" y="161"/>
                    <a:pt x="134" y="161"/>
                  </a:cubicBezTo>
                  <a:cubicBezTo>
                    <a:pt x="134" y="71"/>
                    <a:pt x="134" y="71"/>
                    <a:pt x="134" y="71"/>
                  </a:cubicBezTo>
                  <a:cubicBezTo>
                    <a:pt x="134" y="57"/>
                    <a:pt x="134" y="45"/>
                    <a:pt x="134" y="36"/>
                  </a:cubicBezTo>
                  <a:cubicBezTo>
                    <a:pt x="134" y="35"/>
                    <a:pt x="134" y="35"/>
                    <a:pt x="134" y="35"/>
                  </a:cubicBezTo>
                  <a:cubicBezTo>
                    <a:pt x="127" y="46"/>
                    <a:pt x="120" y="57"/>
                    <a:pt x="112" y="67"/>
                  </a:cubicBezTo>
                  <a:cubicBezTo>
                    <a:pt x="77" y="117"/>
                    <a:pt x="77" y="117"/>
                    <a:pt x="77" y="117"/>
                  </a:cubicBezTo>
                  <a:lnTo>
                    <a:pt x="42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" name="Freeform 20">
              <a:extLst>
                <a:ext uri="{FF2B5EF4-FFF2-40B4-BE49-F238E27FC236}">
                  <a16:creationId xmlns:a16="http://schemas.microsoft.com/office/drawing/2014/main" id="{C9F21C67-1735-49F4-985E-E331E05332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9018" y="6115872"/>
              <a:ext cx="510226" cy="421453"/>
            </a:xfrm>
            <a:custGeom>
              <a:avLst/>
              <a:gdLst>
                <a:gd name="T0" fmla="*/ 318 w 1730"/>
                <a:gd name="T1" fmla="*/ 1429 h 1429"/>
                <a:gd name="T2" fmla="*/ 0 w 1730"/>
                <a:gd name="T3" fmla="*/ 1429 h 1429"/>
                <a:gd name="T4" fmla="*/ 721 w 1730"/>
                <a:gd name="T5" fmla="*/ 0 h 1429"/>
                <a:gd name="T6" fmla="*/ 1008 w 1730"/>
                <a:gd name="T7" fmla="*/ 0 h 1429"/>
                <a:gd name="T8" fmla="*/ 1730 w 1730"/>
                <a:gd name="T9" fmla="*/ 1429 h 1429"/>
                <a:gd name="T10" fmla="*/ 1404 w 1730"/>
                <a:gd name="T11" fmla="*/ 1429 h 1429"/>
                <a:gd name="T12" fmla="*/ 861 w 1730"/>
                <a:gd name="T13" fmla="*/ 376 h 1429"/>
                <a:gd name="T14" fmla="*/ 318 w 1730"/>
                <a:gd name="T15" fmla="*/ 1429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0" h="1429">
                  <a:moveTo>
                    <a:pt x="318" y="1429"/>
                  </a:moveTo>
                  <a:lnTo>
                    <a:pt x="0" y="1429"/>
                  </a:lnTo>
                  <a:lnTo>
                    <a:pt x="721" y="0"/>
                  </a:lnTo>
                  <a:lnTo>
                    <a:pt x="1008" y="0"/>
                  </a:lnTo>
                  <a:lnTo>
                    <a:pt x="1730" y="1429"/>
                  </a:lnTo>
                  <a:lnTo>
                    <a:pt x="1404" y="1429"/>
                  </a:lnTo>
                  <a:lnTo>
                    <a:pt x="861" y="376"/>
                  </a:lnTo>
                  <a:lnTo>
                    <a:pt x="318" y="14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" name="Freeform 21">
              <a:extLst>
                <a:ext uri="{FF2B5EF4-FFF2-40B4-BE49-F238E27FC236}">
                  <a16:creationId xmlns:a16="http://schemas.microsoft.com/office/drawing/2014/main" id="{36D05745-9F6D-49B0-9678-5E6B0855142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82949" y="6118821"/>
              <a:ext cx="353914" cy="418504"/>
            </a:xfrm>
            <a:custGeom>
              <a:avLst/>
              <a:gdLst>
                <a:gd name="T0" fmla="*/ 0 w 506"/>
                <a:gd name="T1" fmla="*/ 596 h 596"/>
                <a:gd name="T2" fmla="*/ 74 w 506"/>
                <a:gd name="T3" fmla="*/ 596 h 596"/>
                <a:gd name="T4" fmla="*/ 127 w 506"/>
                <a:gd name="T5" fmla="*/ 596 h 596"/>
                <a:gd name="T6" fmla="*/ 283 w 506"/>
                <a:gd name="T7" fmla="*/ 596 h 596"/>
                <a:gd name="T8" fmla="*/ 506 w 506"/>
                <a:gd name="T9" fmla="*/ 433 h 596"/>
                <a:gd name="T10" fmla="*/ 395 w 506"/>
                <a:gd name="T11" fmla="*/ 285 h 596"/>
                <a:gd name="T12" fmla="*/ 473 w 506"/>
                <a:gd name="T13" fmla="*/ 156 h 596"/>
                <a:gd name="T14" fmla="*/ 432 w 506"/>
                <a:gd name="T15" fmla="*/ 53 h 596"/>
                <a:gd name="T16" fmla="*/ 276 w 506"/>
                <a:gd name="T17" fmla="*/ 0 h 596"/>
                <a:gd name="T18" fmla="*/ 0 w 506"/>
                <a:gd name="T19" fmla="*/ 0 h 596"/>
                <a:gd name="T20" fmla="*/ 0 w 506"/>
                <a:gd name="T21" fmla="*/ 115 h 596"/>
                <a:gd name="T22" fmla="*/ 257 w 506"/>
                <a:gd name="T23" fmla="*/ 115 h 596"/>
                <a:gd name="T24" fmla="*/ 343 w 506"/>
                <a:gd name="T25" fmla="*/ 177 h 596"/>
                <a:gd name="T26" fmla="*/ 248 w 506"/>
                <a:gd name="T27" fmla="*/ 241 h 596"/>
                <a:gd name="T28" fmla="*/ 0 w 506"/>
                <a:gd name="T29" fmla="*/ 241 h 596"/>
                <a:gd name="T30" fmla="*/ 0 w 506"/>
                <a:gd name="T31" fmla="*/ 596 h 596"/>
                <a:gd name="T32" fmla="*/ 283 w 506"/>
                <a:gd name="T33" fmla="*/ 481 h 596"/>
                <a:gd name="T34" fmla="*/ 127 w 506"/>
                <a:gd name="T35" fmla="*/ 481 h 596"/>
                <a:gd name="T36" fmla="*/ 127 w 506"/>
                <a:gd name="T37" fmla="*/ 350 h 596"/>
                <a:gd name="T38" fmla="*/ 279 w 506"/>
                <a:gd name="T39" fmla="*/ 350 h 596"/>
                <a:gd name="T40" fmla="*/ 376 w 506"/>
                <a:gd name="T41" fmla="*/ 415 h 596"/>
                <a:gd name="T42" fmla="*/ 283 w 506"/>
                <a:gd name="T43" fmla="*/ 481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06" h="596">
                  <a:moveTo>
                    <a:pt x="0" y="596"/>
                  </a:moveTo>
                  <a:cubicBezTo>
                    <a:pt x="74" y="596"/>
                    <a:pt x="74" y="596"/>
                    <a:pt x="74" y="596"/>
                  </a:cubicBezTo>
                  <a:cubicBezTo>
                    <a:pt x="127" y="596"/>
                    <a:pt x="127" y="596"/>
                    <a:pt x="127" y="596"/>
                  </a:cubicBezTo>
                  <a:cubicBezTo>
                    <a:pt x="283" y="596"/>
                    <a:pt x="283" y="596"/>
                    <a:pt x="283" y="596"/>
                  </a:cubicBezTo>
                  <a:cubicBezTo>
                    <a:pt x="418" y="596"/>
                    <a:pt x="506" y="542"/>
                    <a:pt x="506" y="433"/>
                  </a:cubicBezTo>
                  <a:cubicBezTo>
                    <a:pt x="506" y="351"/>
                    <a:pt x="464" y="311"/>
                    <a:pt x="395" y="285"/>
                  </a:cubicBezTo>
                  <a:cubicBezTo>
                    <a:pt x="437" y="261"/>
                    <a:pt x="473" y="223"/>
                    <a:pt x="473" y="156"/>
                  </a:cubicBezTo>
                  <a:cubicBezTo>
                    <a:pt x="473" y="114"/>
                    <a:pt x="459" y="80"/>
                    <a:pt x="432" y="53"/>
                  </a:cubicBezTo>
                  <a:cubicBezTo>
                    <a:pt x="398" y="19"/>
                    <a:pt x="344" y="0"/>
                    <a:pt x="27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257" y="115"/>
                    <a:pt x="257" y="115"/>
                    <a:pt x="257" y="115"/>
                  </a:cubicBezTo>
                  <a:cubicBezTo>
                    <a:pt x="312" y="115"/>
                    <a:pt x="343" y="137"/>
                    <a:pt x="343" y="177"/>
                  </a:cubicBezTo>
                  <a:cubicBezTo>
                    <a:pt x="343" y="222"/>
                    <a:pt x="306" y="241"/>
                    <a:pt x="248" y="241"/>
                  </a:cubicBezTo>
                  <a:cubicBezTo>
                    <a:pt x="0" y="241"/>
                    <a:pt x="0" y="241"/>
                    <a:pt x="0" y="241"/>
                  </a:cubicBezTo>
                  <a:lnTo>
                    <a:pt x="0" y="596"/>
                  </a:lnTo>
                  <a:close/>
                  <a:moveTo>
                    <a:pt x="283" y="481"/>
                  </a:moveTo>
                  <a:cubicBezTo>
                    <a:pt x="127" y="481"/>
                    <a:pt x="127" y="481"/>
                    <a:pt x="127" y="481"/>
                  </a:cubicBezTo>
                  <a:cubicBezTo>
                    <a:pt x="127" y="350"/>
                    <a:pt x="127" y="350"/>
                    <a:pt x="127" y="350"/>
                  </a:cubicBezTo>
                  <a:cubicBezTo>
                    <a:pt x="279" y="350"/>
                    <a:pt x="279" y="350"/>
                    <a:pt x="279" y="350"/>
                  </a:cubicBezTo>
                  <a:cubicBezTo>
                    <a:pt x="346" y="350"/>
                    <a:pt x="376" y="375"/>
                    <a:pt x="376" y="415"/>
                  </a:cubicBezTo>
                  <a:cubicBezTo>
                    <a:pt x="376" y="461"/>
                    <a:pt x="341" y="481"/>
                    <a:pt x="283" y="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4" name="object 3">
            <a:extLst>
              <a:ext uri="{FF2B5EF4-FFF2-40B4-BE49-F238E27FC236}">
                <a16:creationId xmlns:a16="http://schemas.microsoft.com/office/drawing/2014/main" id="{C8A8F324-BF72-42C2-A868-5F1BD7061EBF}"/>
              </a:ext>
            </a:extLst>
          </p:cNvPr>
          <p:cNvSpPr/>
          <p:nvPr userDrawn="1"/>
        </p:nvSpPr>
        <p:spPr>
          <a:xfrm>
            <a:off x="9204" y="4559"/>
            <a:ext cx="655813" cy="840582"/>
          </a:xfrm>
          <a:custGeom>
            <a:avLst/>
            <a:gdLst/>
            <a:ahLst/>
            <a:cxnLst/>
            <a:rect l="l" t="t" r="r" b="b"/>
            <a:pathLst>
              <a:path w="1005205" h="1288415">
                <a:moveTo>
                  <a:pt x="0" y="0"/>
                </a:moveTo>
                <a:lnTo>
                  <a:pt x="0" y="335068"/>
                </a:lnTo>
                <a:lnTo>
                  <a:pt x="609552" y="640462"/>
                </a:lnTo>
                <a:lnTo>
                  <a:pt x="0" y="952850"/>
                </a:lnTo>
                <a:lnTo>
                  <a:pt x="0" y="1287918"/>
                </a:lnTo>
                <a:lnTo>
                  <a:pt x="1005204" y="793253"/>
                </a:lnTo>
                <a:lnTo>
                  <a:pt x="1005204" y="49601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 anchor="ctr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2648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63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Säule +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0EC113F-F3DE-4EF1-AA24-564936C5ED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0713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0EC113F-F3DE-4EF1-AA24-564936C5ED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D0B7F44-1A9D-43CE-8B94-70E892BCC6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0F0CD56-CDEF-4F99-82E9-F8344BA7D8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F17232-4933-4B44-AB0A-14F7352465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4A8CE99-0AD9-4D9C-9C09-47545620E9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226" y="1052513"/>
            <a:ext cx="8630940" cy="604800"/>
          </a:xfrm>
        </p:spPr>
        <p:txBody>
          <a:bodyPr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8CF1398-AEAE-44BE-B05F-E03B17EB921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260" y="1726825"/>
            <a:ext cx="8631749" cy="40342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3484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447EEA-1220-4C20-9FCD-A6118EB87D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dirty="0"/>
              <a:t>Mastertitelformat bearbeiten</a:t>
            </a:r>
            <a:endParaRPr lang="de-AT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B7333B3-3853-494F-BCA8-54ED93D9AE0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AT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834C4C7-AFB9-4F55-B44E-7DC051266F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6472C0-F064-4B31-AB9C-F57B8DD9FA38}" type="datetimeFigureOut">
              <a:rPr lang="de-AT" smtClean="0"/>
              <a:t>04.03.2024</a:t>
            </a:fld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34C4BEE-734A-4B52-8498-C190A18FE2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6FF0E66-BAF1-4638-B240-416E8B1E5B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F1305-4D94-456E-A20F-DF00F26FFA5B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5170819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002" b="1" i="0">
                <a:solidFill>
                  <a:schemeClr val="bg1"/>
                </a:solidFill>
                <a:latin typeface="Corbel"/>
                <a:cs typeface="Corbe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4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9327285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A Titelse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7332E98-2E79-4AB8-834A-078413608C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07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7332E98-2E79-4AB8-834A-078413608C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2">
            <a:extLst>
              <a:ext uri="{FF2B5EF4-FFF2-40B4-BE49-F238E27FC236}">
                <a16:creationId xmlns:a16="http://schemas.microsoft.com/office/drawing/2014/main" id="{3CA01687-6449-4359-B6A7-6B0C6F8EE156}"/>
              </a:ext>
            </a:extLst>
          </p:cNvPr>
          <p:cNvSpPr/>
          <p:nvPr/>
        </p:nvSpPr>
        <p:spPr>
          <a:xfrm>
            <a:off x="0" y="1067635"/>
            <a:ext cx="12192000" cy="5790366"/>
          </a:xfrm>
          <a:custGeom>
            <a:avLst/>
            <a:gdLst/>
            <a:ahLst/>
            <a:cxnLst/>
            <a:rect l="l" t="t" r="r" b="b"/>
            <a:pathLst>
              <a:path w="20104100" h="9486900">
                <a:moveTo>
                  <a:pt x="20104099" y="0"/>
                </a:moveTo>
                <a:lnTo>
                  <a:pt x="0" y="0"/>
                </a:lnTo>
                <a:lnTo>
                  <a:pt x="0" y="9486622"/>
                </a:lnTo>
                <a:lnTo>
                  <a:pt x="20104099" y="9486622"/>
                </a:lnTo>
                <a:lnTo>
                  <a:pt x="20104099" y="0"/>
                </a:lnTo>
                <a:close/>
              </a:path>
            </a:pathLst>
          </a:custGeom>
          <a:solidFill>
            <a:srgbClr val="E6320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42">
            <a:extLst>
              <a:ext uri="{FF2B5EF4-FFF2-40B4-BE49-F238E27FC236}">
                <a16:creationId xmlns:a16="http://schemas.microsoft.com/office/drawing/2014/main" id="{FBC595D4-4F23-48D5-879E-BC30C15170B3}"/>
              </a:ext>
            </a:extLst>
          </p:cNvPr>
          <p:cNvSpPr/>
          <p:nvPr/>
        </p:nvSpPr>
        <p:spPr>
          <a:xfrm>
            <a:off x="2839937" y="4454862"/>
            <a:ext cx="3010261" cy="2402972"/>
          </a:xfrm>
          <a:custGeom>
            <a:avLst/>
            <a:gdLst/>
            <a:ahLst/>
            <a:cxnLst/>
            <a:rect l="l" t="t" r="r" b="b"/>
            <a:pathLst>
              <a:path w="4963795" h="3962400">
                <a:moveTo>
                  <a:pt x="2893252" y="0"/>
                </a:moveTo>
                <a:lnTo>
                  <a:pt x="2069936" y="0"/>
                </a:lnTo>
                <a:lnTo>
                  <a:pt x="0" y="3962392"/>
                </a:lnTo>
                <a:lnTo>
                  <a:pt x="910307" y="3962392"/>
                </a:lnTo>
                <a:lnTo>
                  <a:pt x="2470019" y="1039737"/>
                </a:lnTo>
                <a:lnTo>
                  <a:pt x="4029699" y="3962392"/>
                </a:lnTo>
                <a:lnTo>
                  <a:pt x="4963199" y="3962392"/>
                </a:lnTo>
                <a:lnTo>
                  <a:pt x="2893252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89862" y="1315327"/>
            <a:ext cx="5452601" cy="1099925"/>
          </a:xfrm>
          <a:prstGeom prst="rect">
            <a:avLst/>
          </a:prstGeom>
          <a:noFill/>
        </p:spPr>
        <p:txBody>
          <a:bodyPr vert="horz" anchor="b">
            <a:no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89862" y="2565345"/>
            <a:ext cx="5452601" cy="872257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929DC8-987C-4BF4-9A49-8F549F1F3D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90154" y="3587745"/>
            <a:ext cx="5453026" cy="619426"/>
          </a:xfrm>
        </p:spPr>
        <p:txBody>
          <a:bodyPr anchor="b"/>
          <a:lstStyle>
            <a:lvl1pPr>
              <a:spcBef>
                <a:spcPts val="600"/>
              </a:spcBef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15A6ABB2-F500-47E2-9DC7-0BB640B9A493}"/>
              </a:ext>
            </a:extLst>
          </p:cNvPr>
          <p:cNvGrpSpPr/>
          <p:nvPr userDrawn="1"/>
        </p:nvGrpSpPr>
        <p:grpSpPr>
          <a:xfrm>
            <a:off x="278910" y="159754"/>
            <a:ext cx="2178646" cy="747961"/>
            <a:chOff x="3138488" y="168275"/>
            <a:chExt cx="3074988" cy="1055688"/>
          </a:xfrm>
        </p:grpSpPr>
        <p:sp>
          <p:nvSpPr>
            <p:cNvPr id="59" name="AutoShape 3">
              <a:extLst>
                <a:ext uri="{FF2B5EF4-FFF2-40B4-BE49-F238E27FC236}">
                  <a16:creationId xmlns:a16="http://schemas.microsoft.com/office/drawing/2014/main" id="{4F5F4692-9A00-49E4-9621-A5FDE29EDBE7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3138488" y="168275"/>
              <a:ext cx="3073400" cy="10556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5">
              <a:extLst>
                <a:ext uri="{FF2B5EF4-FFF2-40B4-BE49-F238E27FC236}">
                  <a16:creationId xmlns:a16="http://schemas.microsoft.com/office/drawing/2014/main" id="{AFC503C3-7BE6-4000-89FC-259AD3DEEB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94226" y="171450"/>
              <a:ext cx="774700" cy="639763"/>
            </a:xfrm>
            <a:custGeom>
              <a:avLst/>
              <a:gdLst>
                <a:gd name="T0" fmla="*/ 90 w 488"/>
                <a:gd name="T1" fmla="*/ 403 h 403"/>
                <a:gd name="T2" fmla="*/ 0 w 488"/>
                <a:gd name="T3" fmla="*/ 403 h 403"/>
                <a:gd name="T4" fmla="*/ 203 w 488"/>
                <a:gd name="T5" fmla="*/ 0 h 403"/>
                <a:gd name="T6" fmla="*/ 285 w 488"/>
                <a:gd name="T7" fmla="*/ 0 h 403"/>
                <a:gd name="T8" fmla="*/ 488 w 488"/>
                <a:gd name="T9" fmla="*/ 403 h 403"/>
                <a:gd name="T10" fmla="*/ 396 w 488"/>
                <a:gd name="T11" fmla="*/ 403 h 403"/>
                <a:gd name="T12" fmla="*/ 243 w 488"/>
                <a:gd name="T13" fmla="*/ 106 h 403"/>
                <a:gd name="T14" fmla="*/ 90 w 488"/>
                <a:gd name="T15" fmla="*/ 403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8" h="403">
                  <a:moveTo>
                    <a:pt x="90" y="403"/>
                  </a:moveTo>
                  <a:lnTo>
                    <a:pt x="0" y="403"/>
                  </a:lnTo>
                  <a:lnTo>
                    <a:pt x="203" y="0"/>
                  </a:lnTo>
                  <a:lnTo>
                    <a:pt x="285" y="0"/>
                  </a:lnTo>
                  <a:lnTo>
                    <a:pt x="488" y="403"/>
                  </a:lnTo>
                  <a:lnTo>
                    <a:pt x="396" y="403"/>
                  </a:lnTo>
                  <a:lnTo>
                    <a:pt x="243" y="106"/>
                  </a:lnTo>
                  <a:lnTo>
                    <a:pt x="90" y="403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Rectangle 6">
              <a:extLst>
                <a:ext uri="{FF2B5EF4-FFF2-40B4-BE49-F238E27FC236}">
                  <a16:creationId xmlns:a16="http://schemas.microsoft.com/office/drawing/2014/main" id="{21250879-5A2A-447C-B8B9-BF80DCC0A3B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64163" y="171450"/>
              <a:ext cx="22225" cy="171450"/>
            </a:xfrm>
            <a:prstGeom prst="rect">
              <a:avLst/>
            </a:pr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Freeform 7">
              <a:extLst>
                <a:ext uri="{FF2B5EF4-FFF2-40B4-BE49-F238E27FC236}">
                  <a16:creationId xmlns:a16="http://schemas.microsoft.com/office/drawing/2014/main" id="{285860EA-F0E2-4152-87BE-730AD1E9C8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37188" y="171450"/>
              <a:ext cx="144463" cy="171450"/>
            </a:xfrm>
            <a:custGeom>
              <a:avLst/>
              <a:gdLst>
                <a:gd name="T0" fmla="*/ 0 w 135"/>
                <a:gd name="T1" fmla="*/ 161 h 161"/>
                <a:gd name="T2" fmla="*/ 0 w 135"/>
                <a:gd name="T3" fmla="*/ 0 h 161"/>
                <a:gd name="T4" fmla="*/ 20 w 135"/>
                <a:gd name="T5" fmla="*/ 0 h 161"/>
                <a:gd name="T6" fmla="*/ 87 w 135"/>
                <a:gd name="T7" fmla="*/ 90 h 161"/>
                <a:gd name="T8" fmla="*/ 115 w 135"/>
                <a:gd name="T9" fmla="*/ 127 h 161"/>
                <a:gd name="T10" fmla="*/ 115 w 135"/>
                <a:gd name="T11" fmla="*/ 127 h 161"/>
                <a:gd name="T12" fmla="*/ 115 w 135"/>
                <a:gd name="T13" fmla="*/ 81 h 161"/>
                <a:gd name="T14" fmla="*/ 115 w 135"/>
                <a:gd name="T15" fmla="*/ 0 h 161"/>
                <a:gd name="T16" fmla="*/ 135 w 135"/>
                <a:gd name="T17" fmla="*/ 0 h 161"/>
                <a:gd name="T18" fmla="*/ 135 w 135"/>
                <a:gd name="T19" fmla="*/ 161 h 161"/>
                <a:gd name="T20" fmla="*/ 115 w 135"/>
                <a:gd name="T21" fmla="*/ 161 h 161"/>
                <a:gd name="T22" fmla="*/ 48 w 135"/>
                <a:gd name="T23" fmla="*/ 72 h 161"/>
                <a:gd name="T24" fmla="*/ 20 w 135"/>
                <a:gd name="T25" fmla="*/ 34 h 161"/>
                <a:gd name="T26" fmla="*/ 20 w 135"/>
                <a:gd name="T27" fmla="*/ 35 h 161"/>
                <a:gd name="T28" fmla="*/ 20 w 135"/>
                <a:gd name="T29" fmla="*/ 80 h 161"/>
                <a:gd name="T30" fmla="*/ 20 w 135"/>
                <a:gd name="T31" fmla="*/ 161 h 161"/>
                <a:gd name="T32" fmla="*/ 0 w 135"/>
                <a:gd name="T33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61">
                  <a:moveTo>
                    <a:pt x="0" y="16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87" y="90"/>
                    <a:pt x="87" y="90"/>
                    <a:pt x="87" y="90"/>
                  </a:cubicBezTo>
                  <a:cubicBezTo>
                    <a:pt x="96" y="102"/>
                    <a:pt x="106" y="115"/>
                    <a:pt x="115" y="127"/>
                  </a:cubicBezTo>
                  <a:cubicBezTo>
                    <a:pt x="115" y="127"/>
                    <a:pt x="115" y="127"/>
                    <a:pt x="115" y="127"/>
                  </a:cubicBezTo>
                  <a:cubicBezTo>
                    <a:pt x="115" y="113"/>
                    <a:pt x="115" y="97"/>
                    <a:pt x="115" y="81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35" y="161"/>
                    <a:pt x="135" y="161"/>
                    <a:pt x="135" y="161"/>
                  </a:cubicBezTo>
                  <a:cubicBezTo>
                    <a:pt x="115" y="161"/>
                    <a:pt x="115" y="161"/>
                    <a:pt x="115" y="161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38" y="60"/>
                    <a:pt x="29" y="47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49"/>
                    <a:pt x="20" y="65"/>
                    <a:pt x="20" y="80"/>
                  </a:cubicBezTo>
                  <a:cubicBezTo>
                    <a:pt x="20" y="161"/>
                    <a:pt x="20" y="161"/>
                    <a:pt x="20" y="161"/>
                  </a:cubicBezTo>
                  <a:lnTo>
                    <a:pt x="0" y="161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8">
              <a:extLst>
                <a:ext uri="{FF2B5EF4-FFF2-40B4-BE49-F238E27FC236}">
                  <a16:creationId xmlns:a16="http://schemas.microsoft.com/office/drawing/2014/main" id="{CE531ECA-3D51-47B9-B622-71D7745209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13401" y="171450"/>
              <a:ext cx="155575" cy="171450"/>
            </a:xfrm>
            <a:custGeom>
              <a:avLst/>
              <a:gdLst>
                <a:gd name="T0" fmla="*/ 0 w 146"/>
                <a:gd name="T1" fmla="*/ 0 h 161"/>
                <a:gd name="T2" fmla="*/ 23 w 146"/>
                <a:gd name="T3" fmla="*/ 0 h 161"/>
                <a:gd name="T4" fmla="*/ 57 w 146"/>
                <a:gd name="T5" fmla="*/ 91 h 161"/>
                <a:gd name="T6" fmla="*/ 73 w 146"/>
                <a:gd name="T7" fmla="*/ 133 h 161"/>
                <a:gd name="T8" fmla="*/ 73 w 146"/>
                <a:gd name="T9" fmla="*/ 133 h 161"/>
                <a:gd name="T10" fmla="*/ 90 w 146"/>
                <a:gd name="T11" fmla="*/ 90 h 161"/>
                <a:gd name="T12" fmla="*/ 124 w 146"/>
                <a:gd name="T13" fmla="*/ 0 h 161"/>
                <a:gd name="T14" fmla="*/ 146 w 146"/>
                <a:gd name="T15" fmla="*/ 0 h 161"/>
                <a:gd name="T16" fmla="*/ 84 w 146"/>
                <a:gd name="T17" fmla="*/ 161 h 161"/>
                <a:gd name="T18" fmla="*/ 62 w 146"/>
                <a:gd name="T19" fmla="*/ 161 h 161"/>
                <a:gd name="T20" fmla="*/ 0 w 146"/>
                <a:gd name="T21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6" h="161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62" y="105"/>
                    <a:pt x="68" y="118"/>
                    <a:pt x="73" y="133"/>
                  </a:cubicBezTo>
                  <a:cubicBezTo>
                    <a:pt x="73" y="133"/>
                    <a:pt x="73" y="133"/>
                    <a:pt x="73" y="133"/>
                  </a:cubicBezTo>
                  <a:cubicBezTo>
                    <a:pt x="79" y="119"/>
                    <a:pt x="84" y="104"/>
                    <a:pt x="90" y="9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84" y="161"/>
                    <a:pt x="84" y="161"/>
                    <a:pt x="84" y="161"/>
                  </a:cubicBezTo>
                  <a:cubicBezTo>
                    <a:pt x="62" y="161"/>
                    <a:pt x="62" y="161"/>
                    <a:pt x="62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9">
              <a:extLst>
                <a:ext uri="{FF2B5EF4-FFF2-40B4-BE49-F238E27FC236}">
                  <a16:creationId xmlns:a16="http://schemas.microsoft.com/office/drawing/2014/main" id="{FBF65AFC-FBDA-47C5-B439-478D7B2EE3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00726" y="171450"/>
              <a:ext cx="100013" cy="171450"/>
            </a:xfrm>
            <a:custGeom>
              <a:avLst/>
              <a:gdLst>
                <a:gd name="T0" fmla="*/ 0 w 63"/>
                <a:gd name="T1" fmla="*/ 0 h 108"/>
                <a:gd name="T2" fmla="*/ 62 w 63"/>
                <a:gd name="T3" fmla="*/ 0 h 108"/>
                <a:gd name="T4" fmla="*/ 62 w 63"/>
                <a:gd name="T5" fmla="*/ 13 h 108"/>
                <a:gd name="T6" fmla="*/ 14 w 63"/>
                <a:gd name="T7" fmla="*/ 13 h 108"/>
                <a:gd name="T8" fmla="*/ 14 w 63"/>
                <a:gd name="T9" fmla="*/ 46 h 108"/>
                <a:gd name="T10" fmla="*/ 56 w 63"/>
                <a:gd name="T11" fmla="*/ 46 h 108"/>
                <a:gd name="T12" fmla="*/ 56 w 63"/>
                <a:gd name="T13" fmla="*/ 58 h 108"/>
                <a:gd name="T14" fmla="*/ 14 w 63"/>
                <a:gd name="T15" fmla="*/ 58 h 108"/>
                <a:gd name="T16" fmla="*/ 14 w 63"/>
                <a:gd name="T17" fmla="*/ 95 h 108"/>
                <a:gd name="T18" fmla="*/ 63 w 63"/>
                <a:gd name="T19" fmla="*/ 95 h 108"/>
                <a:gd name="T20" fmla="*/ 63 w 63"/>
                <a:gd name="T21" fmla="*/ 108 h 108"/>
                <a:gd name="T22" fmla="*/ 0 w 63"/>
                <a:gd name="T23" fmla="*/ 108 h 108"/>
                <a:gd name="T24" fmla="*/ 0 w 63"/>
                <a:gd name="T25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108">
                  <a:moveTo>
                    <a:pt x="0" y="0"/>
                  </a:moveTo>
                  <a:lnTo>
                    <a:pt x="62" y="0"/>
                  </a:lnTo>
                  <a:lnTo>
                    <a:pt x="62" y="13"/>
                  </a:lnTo>
                  <a:lnTo>
                    <a:pt x="14" y="13"/>
                  </a:lnTo>
                  <a:lnTo>
                    <a:pt x="14" y="46"/>
                  </a:lnTo>
                  <a:lnTo>
                    <a:pt x="56" y="46"/>
                  </a:lnTo>
                  <a:lnTo>
                    <a:pt x="56" y="58"/>
                  </a:lnTo>
                  <a:lnTo>
                    <a:pt x="14" y="58"/>
                  </a:lnTo>
                  <a:lnTo>
                    <a:pt x="14" y="95"/>
                  </a:lnTo>
                  <a:lnTo>
                    <a:pt x="63" y="95"/>
                  </a:lnTo>
                  <a:lnTo>
                    <a:pt x="63" y="108"/>
                  </a:lnTo>
                  <a:lnTo>
                    <a:pt x="0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10">
              <a:extLst>
                <a:ext uri="{FF2B5EF4-FFF2-40B4-BE49-F238E27FC236}">
                  <a16:creationId xmlns:a16="http://schemas.microsoft.com/office/drawing/2014/main" id="{A46F922E-3CD2-4375-8049-8F19383CC6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37251" y="169863"/>
              <a:ext cx="112713" cy="176213"/>
            </a:xfrm>
            <a:custGeom>
              <a:avLst/>
              <a:gdLst>
                <a:gd name="T0" fmla="*/ 4 w 106"/>
                <a:gd name="T1" fmla="*/ 130 h 166"/>
                <a:gd name="T2" fmla="*/ 52 w 106"/>
                <a:gd name="T3" fmla="*/ 146 h 166"/>
                <a:gd name="T4" fmla="*/ 85 w 106"/>
                <a:gd name="T5" fmla="*/ 120 h 166"/>
                <a:gd name="T6" fmla="*/ 45 w 106"/>
                <a:gd name="T7" fmla="*/ 90 h 166"/>
                <a:gd name="T8" fmla="*/ 0 w 106"/>
                <a:gd name="T9" fmla="*/ 45 h 166"/>
                <a:gd name="T10" fmla="*/ 52 w 106"/>
                <a:gd name="T11" fmla="*/ 0 h 166"/>
                <a:gd name="T12" fmla="*/ 99 w 106"/>
                <a:gd name="T13" fmla="*/ 12 h 166"/>
                <a:gd name="T14" fmla="*/ 99 w 106"/>
                <a:gd name="T15" fmla="*/ 34 h 166"/>
                <a:gd name="T16" fmla="*/ 52 w 106"/>
                <a:gd name="T17" fmla="*/ 19 h 166"/>
                <a:gd name="T18" fmla="*/ 21 w 106"/>
                <a:gd name="T19" fmla="*/ 43 h 166"/>
                <a:gd name="T20" fmla="*/ 60 w 106"/>
                <a:gd name="T21" fmla="*/ 72 h 166"/>
                <a:gd name="T22" fmla="*/ 106 w 106"/>
                <a:gd name="T23" fmla="*/ 119 h 166"/>
                <a:gd name="T24" fmla="*/ 52 w 106"/>
                <a:gd name="T25" fmla="*/ 166 h 166"/>
                <a:gd name="T26" fmla="*/ 4 w 106"/>
                <a:gd name="T27" fmla="*/ 153 h 166"/>
                <a:gd name="T28" fmla="*/ 4 w 106"/>
                <a:gd name="T29" fmla="*/ 13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6" h="166">
                  <a:moveTo>
                    <a:pt x="4" y="130"/>
                  </a:moveTo>
                  <a:cubicBezTo>
                    <a:pt x="19" y="141"/>
                    <a:pt x="38" y="146"/>
                    <a:pt x="52" y="146"/>
                  </a:cubicBezTo>
                  <a:cubicBezTo>
                    <a:pt x="72" y="146"/>
                    <a:pt x="85" y="138"/>
                    <a:pt x="85" y="120"/>
                  </a:cubicBezTo>
                  <a:cubicBezTo>
                    <a:pt x="85" y="99"/>
                    <a:pt x="66" y="96"/>
                    <a:pt x="45" y="90"/>
                  </a:cubicBezTo>
                  <a:cubicBezTo>
                    <a:pt x="22" y="83"/>
                    <a:pt x="0" y="74"/>
                    <a:pt x="0" y="45"/>
                  </a:cubicBezTo>
                  <a:cubicBezTo>
                    <a:pt x="0" y="16"/>
                    <a:pt x="21" y="0"/>
                    <a:pt x="52" y="0"/>
                  </a:cubicBezTo>
                  <a:cubicBezTo>
                    <a:pt x="68" y="0"/>
                    <a:pt x="86" y="4"/>
                    <a:pt x="99" y="12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84" y="24"/>
                    <a:pt x="66" y="19"/>
                    <a:pt x="52" y="19"/>
                  </a:cubicBezTo>
                  <a:cubicBezTo>
                    <a:pt x="34" y="19"/>
                    <a:pt x="21" y="27"/>
                    <a:pt x="21" y="43"/>
                  </a:cubicBezTo>
                  <a:cubicBezTo>
                    <a:pt x="21" y="63"/>
                    <a:pt x="40" y="67"/>
                    <a:pt x="60" y="72"/>
                  </a:cubicBezTo>
                  <a:cubicBezTo>
                    <a:pt x="83" y="79"/>
                    <a:pt x="106" y="88"/>
                    <a:pt x="106" y="119"/>
                  </a:cubicBezTo>
                  <a:cubicBezTo>
                    <a:pt x="106" y="148"/>
                    <a:pt x="84" y="166"/>
                    <a:pt x="52" y="166"/>
                  </a:cubicBezTo>
                  <a:cubicBezTo>
                    <a:pt x="37" y="166"/>
                    <a:pt x="18" y="161"/>
                    <a:pt x="4" y="153"/>
                  </a:cubicBezTo>
                  <a:lnTo>
                    <a:pt x="4" y="13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11">
              <a:extLst>
                <a:ext uri="{FF2B5EF4-FFF2-40B4-BE49-F238E27FC236}">
                  <a16:creationId xmlns:a16="http://schemas.microsoft.com/office/drawing/2014/main" id="{DE3CC004-BDC4-4520-AA41-7BB0AF7F18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7426" y="171450"/>
              <a:ext cx="136525" cy="171450"/>
            </a:xfrm>
            <a:custGeom>
              <a:avLst/>
              <a:gdLst>
                <a:gd name="T0" fmla="*/ 36 w 86"/>
                <a:gd name="T1" fmla="*/ 13 h 108"/>
                <a:gd name="T2" fmla="*/ 0 w 86"/>
                <a:gd name="T3" fmla="*/ 13 h 108"/>
                <a:gd name="T4" fmla="*/ 0 w 86"/>
                <a:gd name="T5" fmla="*/ 0 h 108"/>
                <a:gd name="T6" fmla="*/ 86 w 86"/>
                <a:gd name="T7" fmla="*/ 0 h 108"/>
                <a:gd name="T8" fmla="*/ 86 w 86"/>
                <a:gd name="T9" fmla="*/ 13 h 108"/>
                <a:gd name="T10" fmla="*/ 51 w 86"/>
                <a:gd name="T11" fmla="*/ 13 h 108"/>
                <a:gd name="T12" fmla="*/ 51 w 86"/>
                <a:gd name="T13" fmla="*/ 108 h 108"/>
                <a:gd name="T14" fmla="*/ 36 w 86"/>
                <a:gd name="T15" fmla="*/ 108 h 108"/>
                <a:gd name="T16" fmla="*/ 36 w 86"/>
                <a:gd name="T17" fmla="*/ 1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108">
                  <a:moveTo>
                    <a:pt x="36" y="13"/>
                  </a:moveTo>
                  <a:lnTo>
                    <a:pt x="0" y="13"/>
                  </a:lnTo>
                  <a:lnTo>
                    <a:pt x="0" y="0"/>
                  </a:lnTo>
                  <a:lnTo>
                    <a:pt x="86" y="0"/>
                  </a:lnTo>
                  <a:lnTo>
                    <a:pt x="86" y="13"/>
                  </a:lnTo>
                  <a:lnTo>
                    <a:pt x="51" y="13"/>
                  </a:lnTo>
                  <a:lnTo>
                    <a:pt x="51" y="108"/>
                  </a:lnTo>
                  <a:lnTo>
                    <a:pt x="36" y="108"/>
                  </a:lnTo>
                  <a:lnTo>
                    <a:pt x="36" y="13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12">
              <a:extLst>
                <a:ext uri="{FF2B5EF4-FFF2-40B4-BE49-F238E27FC236}">
                  <a16:creationId xmlns:a16="http://schemas.microsoft.com/office/drawing/2014/main" id="{D76FF390-B281-4D23-925D-CD83DFD21B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41951" y="406400"/>
              <a:ext cx="233363" cy="171450"/>
            </a:xfrm>
            <a:custGeom>
              <a:avLst/>
              <a:gdLst>
                <a:gd name="T0" fmla="*/ 0 w 220"/>
                <a:gd name="T1" fmla="*/ 0 h 161"/>
                <a:gd name="T2" fmla="*/ 22 w 220"/>
                <a:gd name="T3" fmla="*/ 0 h 161"/>
                <a:gd name="T4" fmla="*/ 49 w 220"/>
                <a:gd name="T5" fmla="*/ 87 h 161"/>
                <a:gd name="T6" fmla="*/ 62 w 220"/>
                <a:gd name="T7" fmla="*/ 129 h 161"/>
                <a:gd name="T8" fmla="*/ 62 w 220"/>
                <a:gd name="T9" fmla="*/ 129 h 161"/>
                <a:gd name="T10" fmla="*/ 75 w 220"/>
                <a:gd name="T11" fmla="*/ 87 h 161"/>
                <a:gd name="T12" fmla="*/ 103 w 220"/>
                <a:gd name="T13" fmla="*/ 0 h 161"/>
                <a:gd name="T14" fmla="*/ 118 w 220"/>
                <a:gd name="T15" fmla="*/ 0 h 161"/>
                <a:gd name="T16" fmla="*/ 146 w 220"/>
                <a:gd name="T17" fmla="*/ 87 h 161"/>
                <a:gd name="T18" fmla="*/ 158 w 220"/>
                <a:gd name="T19" fmla="*/ 129 h 161"/>
                <a:gd name="T20" fmla="*/ 159 w 220"/>
                <a:gd name="T21" fmla="*/ 129 h 161"/>
                <a:gd name="T22" fmla="*/ 172 w 220"/>
                <a:gd name="T23" fmla="*/ 87 h 161"/>
                <a:gd name="T24" fmla="*/ 198 w 220"/>
                <a:gd name="T25" fmla="*/ 0 h 161"/>
                <a:gd name="T26" fmla="*/ 220 w 220"/>
                <a:gd name="T27" fmla="*/ 0 h 161"/>
                <a:gd name="T28" fmla="*/ 170 w 220"/>
                <a:gd name="T29" fmla="*/ 161 h 161"/>
                <a:gd name="T30" fmla="*/ 147 w 220"/>
                <a:gd name="T31" fmla="*/ 161 h 161"/>
                <a:gd name="T32" fmla="*/ 122 w 220"/>
                <a:gd name="T33" fmla="*/ 79 h 161"/>
                <a:gd name="T34" fmla="*/ 110 w 220"/>
                <a:gd name="T35" fmla="*/ 42 h 161"/>
                <a:gd name="T36" fmla="*/ 110 w 220"/>
                <a:gd name="T37" fmla="*/ 42 h 161"/>
                <a:gd name="T38" fmla="*/ 98 w 220"/>
                <a:gd name="T39" fmla="*/ 79 h 161"/>
                <a:gd name="T40" fmla="*/ 73 w 220"/>
                <a:gd name="T41" fmla="*/ 161 h 161"/>
                <a:gd name="T42" fmla="*/ 50 w 220"/>
                <a:gd name="T43" fmla="*/ 161 h 161"/>
                <a:gd name="T44" fmla="*/ 0 w 220"/>
                <a:gd name="T45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0" h="161">
                  <a:moveTo>
                    <a:pt x="0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54" y="101"/>
                    <a:pt x="58" y="115"/>
                    <a:pt x="62" y="129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66" y="115"/>
                    <a:pt x="71" y="101"/>
                    <a:pt x="75" y="87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46" y="87"/>
                    <a:pt x="146" y="87"/>
                    <a:pt x="146" y="87"/>
                  </a:cubicBezTo>
                  <a:cubicBezTo>
                    <a:pt x="150" y="101"/>
                    <a:pt x="154" y="115"/>
                    <a:pt x="158" y="129"/>
                  </a:cubicBezTo>
                  <a:cubicBezTo>
                    <a:pt x="159" y="129"/>
                    <a:pt x="159" y="129"/>
                    <a:pt x="159" y="129"/>
                  </a:cubicBezTo>
                  <a:cubicBezTo>
                    <a:pt x="163" y="115"/>
                    <a:pt x="167" y="101"/>
                    <a:pt x="172" y="87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170" y="161"/>
                    <a:pt x="170" y="161"/>
                    <a:pt x="170" y="161"/>
                  </a:cubicBezTo>
                  <a:cubicBezTo>
                    <a:pt x="147" y="161"/>
                    <a:pt x="147" y="161"/>
                    <a:pt x="147" y="161"/>
                  </a:cubicBezTo>
                  <a:cubicBezTo>
                    <a:pt x="122" y="79"/>
                    <a:pt x="122" y="79"/>
                    <a:pt x="122" y="79"/>
                  </a:cubicBezTo>
                  <a:cubicBezTo>
                    <a:pt x="118" y="67"/>
                    <a:pt x="114" y="54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06" y="54"/>
                    <a:pt x="102" y="67"/>
                    <a:pt x="98" y="79"/>
                  </a:cubicBezTo>
                  <a:cubicBezTo>
                    <a:pt x="73" y="161"/>
                    <a:pt x="73" y="161"/>
                    <a:pt x="73" y="161"/>
                  </a:cubicBezTo>
                  <a:cubicBezTo>
                    <a:pt x="50" y="161"/>
                    <a:pt x="50" y="161"/>
                    <a:pt x="50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13">
              <a:extLst>
                <a:ext uri="{FF2B5EF4-FFF2-40B4-BE49-F238E27FC236}">
                  <a16:creationId xmlns:a16="http://schemas.microsoft.com/office/drawing/2014/main" id="{EDE494AB-0DB2-4EB8-80EB-ACEFAC6668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694363" y="403225"/>
              <a:ext cx="174625" cy="176213"/>
            </a:xfrm>
            <a:custGeom>
              <a:avLst/>
              <a:gdLst>
                <a:gd name="T0" fmla="*/ 81 w 163"/>
                <a:gd name="T1" fmla="*/ 0 h 165"/>
                <a:gd name="T2" fmla="*/ 163 w 163"/>
                <a:gd name="T3" fmla="*/ 83 h 165"/>
                <a:gd name="T4" fmla="*/ 81 w 163"/>
                <a:gd name="T5" fmla="*/ 165 h 165"/>
                <a:gd name="T6" fmla="*/ 0 w 163"/>
                <a:gd name="T7" fmla="*/ 83 h 165"/>
                <a:gd name="T8" fmla="*/ 81 w 163"/>
                <a:gd name="T9" fmla="*/ 0 h 165"/>
                <a:gd name="T10" fmla="*/ 81 w 163"/>
                <a:gd name="T11" fmla="*/ 146 h 165"/>
                <a:gd name="T12" fmla="*/ 142 w 163"/>
                <a:gd name="T13" fmla="*/ 83 h 165"/>
                <a:gd name="T14" fmla="*/ 81 w 163"/>
                <a:gd name="T15" fmla="*/ 19 h 165"/>
                <a:gd name="T16" fmla="*/ 21 w 163"/>
                <a:gd name="T17" fmla="*/ 83 h 165"/>
                <a:gd name="T18" fmla="*/ 81 w 163"/>
                <a:gd name="T19" fmla="*/ 146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3" h="165">
                  <a:moveTo>
                    <a:pt x="81" y="0"/>
                  </a:moveTo>
                  <a:cubicBezTo>
                    <a:pt x="128" y="0"/>
                    <a:pt x="163" y="36"/>
                    <a:pt x="163" y="83"/>
                  </a:cubicBezTo>
                  <a:cubicBezTo>
                    <a:pt x="163" y="129"/>
                    <a:pt x="128" y="165"/>
                    <a:pt x="81" y="165"/>
                  </a:cubicBezTo>
                  <a:cubicBezTo>
                    <a:pt x="35" y="165"/>
                    <a:pt x="0" y="129"/>
                    <a:pt x="0" y="83"/>
                  </a:cubicBezTo>
                  <a:cubicBezTo>
                    <a:pt x="0" y="36"/>
                    <a:pt x="35" y="0"/>
                    <a:pt x="81" y="0"/>
                  </a:cubicBezTo>
                  <a:close/>
                  <a:moveTo>
                    <a:pt x="81" y="146"/>
                  </a:moveTo>
                  <a:cubicBezTo>
                    <a:pt x="116" y="146"/>
                    <a:pt x="142" y="118"/>
                    <a:pt x="142" y="83"/>
                  </a:cubicBezTo>
                  <a:cubicBezTo>
                    <a:pt x="142" y="47"/>
                    <a:pt x="116" y="19"/>
                    <a:pt x="81" y="19"/>
                  </a:cubicBezTo>
                  <a:cubicBezTo>
                    <a:pt x="46" y="19"/>
                    <a:pt x="21" y="47"/>
                    <a:pt x="21" y="83"/>
                  </a:cubicBezTo>
                  <a:cubicBezTo>
                    <a:pt x="21" y="118"/>
                    <a:pt x="46" y="146"/>
                    <a:pt x="81" y="146"/>
                  </a:cubicBez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id="{C79D77CB-0202-4218-8FB6-8607652D35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08676" y="406400"/>
              <a:ext cx="130175" cy="171450"/>
            </a:xfrm>
            <a:custGeom>
              <a:avLst/>
              <a:gdLst>
                <a:gd name="T0" fmla="*/ 0 w 123"/>
                <a:gd name="T1" fmla="*/ 0 h 161"/>
                <a:gd name="T2" fmla="*/ 44 w 123"/>
                <a:gd name="T3" fmla="*/ 0 h 161"/>
                <a:gd name="T4" fmla="*/ 88 w 123"/>
                <a:gd name="T5" fmla="*/ 8 h 161"/>
                <a:gd name="T6" fmla="*/ 111 w 123"/>
                <a:gd name="T7" fmla="*/ 46 h 161"/>
                <a:gd name="T8" fmla="*/ 90 w 123"/>
                <a:gd name="T9" fmla="*/ 83 h 161"/>
                <a:gd name="T10" fmla="*/ 72 w 123"/>
                <a:gd name="T11" fmla="*/ 90 h 161"/>
                <a:gd name="T12" fmla="*/ 123 w 123"/>
                <a:gd name="T13" fmla="*/ 161 h 161"/>
                <a:gd name="T14" fmla="*/ 98 w 123"/>
                <a:gd name="T15" fmla="*/ 161 h 161"/>
                <a:gd name="T16" fmla="*/ 48 w 123"/>
                <a:gd name="T17" fmla="*/ 92 h 161"/>
                <a:gd name="T18" fmla="*/ 21 w 123"/>
                <a:gd name="T19" fmla="*/ 92 h 161"/>
                <a:gd name="T20" fmla="*/ 21 w 123"/>
                <a:gd name="T21" fmla="*/ 161 h 161"/>
                <a:gd name="T22" fmla="*/ 0 w 123"/>
                <a:gd name="T23" fmla="*/ 161 h 161"/>
                <a:gd name="T24" fmla="*/ 0 w 123"/>
                <a:gd name="T25" fmla="*/ 0 h 161"/>
                <a:gd name="T26" fmla="*/ 48 w 123"/>
                <a:gd name="T27" fmla="*/ 75 h 161"/>
                <a:gd name="T28" fmla="*/ 80 w 123"/>
                <a:gd name="T29" fmla="*/ 67 h 161"/>
                <a:gd name="T30" fmla="*/ 90 w 123"/>
                <a:gd name="T31" fmla="*/ 47 h 161"/>
                <a:gd name="T32" fmla="*/ 76 w 123"/>
                <a:gd name="T33" fmla="*/ 25 h 161"/>
                <a:gd name="T34" fmla="*/ 42 w 123"/>
                <a:gd name="T35" fmla="*/ 19 h 161"/>
                <a:gd name="T36" fmla="*/ 21 w 123"/>
                <a:gd name="T37" fmla="*/ 19 h 161"/>
                <a:gd name="T38" fmla="*/ 21 w 123"/>
                <a:gd name="T39" fmla="*/ 75 h 161"/>
                <a:gd name="T40" fmla="*/ 48 w 123"/>
                <a:gd name="T41" fmla="*/ 75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3" h="161">
                  <a:moveTo>
                    <a:pt x="0" y="0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60" y="0"/>
                    <a:pt x="75" y="1"/>
                    <a:pt x="88" y="8"/>
                  </a:cubicBezTo>
                  <a:cubicBezTo>
                    <a:pt x="102" y="15"/>
                    <a:pt x="111" y="28"/>
                    <a:pt x="111" y="46"/>
                  </a:cubicBezTo>
                  <a:cubicBezTo>
                    <a:pt x="111" y="63"/>
                    <a:pt x="102" y="76"/>
                    <a:pt x="90" y="83"/>
                  </a:cubicBezTo>
                  <a:cubicBezTo>
                    <a:pt x="84" y="87"/>
                    <a:pt x="78" y="89"/>
                    <a:pt x="72" y="90"/>
                  </a:cubicBezTo>
                  <a:cubicBezTo>
                    <a:pt x="123" y="161"/>
                    <a:pt x="123" y="161"/>
                    <a:pt x="123" y="161"/>
                  </a:cubicBezTo>
                  <a:cubicBezTo>
                    <a:pt x="98" y="161"/>
                    <a:pt x="98" y="161"/>
                    <a:pt x="98" y="161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0" y="161"/>
                    <a:pt x="0" y="161"/>
                    <a:pt x="0" y="161"/>
                  </a:cubicBezTo>
                  <a:lnTo>
                    <a:pt x="0" y="0"/>
                  </a:lnTo>
                  <a:close/>
                  <a:moveTo>
                    <a:pt x="48" y="75"/>
                  </a:moveTo>
                  <a:cubicBezTo>
                    <a:pt x="63" y="75"/>
                    <a:pt x="73" y="73"/>
                    <a:pt x="80" y="67"/>
                  </a:cubicBezTo>
                  <a:cubicBezTo>
                    <a:pt x="86" y="63"/>
                    <a:pt x="90" y="56"/>
                    <a:pt x="90" y="47"/>
                  </a:cubicBezTo>
                  <a:cubicBezTo>
                    <a:pt x="90" y="37"/>
                    <a:pt x="85" y="29"/>
                    <a:pt x="76" y="25"/>
                  </a:cubicBezTo>
                  <a:cubicBezTo>
                    <a:pt x="68" y="20"/>
                    <a:pt x="58" y="19"/>
                    <a:pt x="42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75"/>
                    <a:pt x="21" y="75"/>
                    <a:pt x="21" y="75"/>
                  </a:cubicBezTo>
                  <a:lnTo>
                    <a:pt x="48" y="75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id="{D707E65B-9C32-441A-8682-09F35150E2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81713" y="406400"/>
              <a:ext cx="131763" cy="171450"/>
            </a:xfrm>
            <a:custGeom>
              <a:avLst/>
              <a:gdLst>
                <a:gd name="T0" fmla="*/ 0 w 83"/>
                <a:gd name="T1" fmla="*/ 0 h 108"/>
                <a:gd name="T2" fmla="*/ 14 w 83"/>
                <a:gd name="T3" fmla="*/ 0 h 108"/>
                <a:gd name="T4" fmla="*/ 14 w 83"/>
                <a:gd name="T5" fmla="*/ 49 h 108"/>
                <a:gd name="T6" fmla="*/ 14 w 83"/>
                <a:gd name="T7" fmla="*/ 49 h 108"/>
                <a:gd name="T8" fmla="*/ 61 w 83"/>
                <a:gd name="T9" fmla="*/ 0 h 108"/>
                <a:gd name="T10" fmla="*/ 79 w 83"/>
                <a:gd name="T11" fmla="*/ 0 h 108"/>
                <a:gd name="T12" fmla="*/ 30 w 83"/>
                <a:gd name="T13" fmla="*/ 50 h 108"/>
                <a:gd name="T14" fmla="*/ 83 w 83"/>
                <a:gd name="T15" fmla="*/ 108 h 108"/>
                <a:gd name="T16" fmla="*/ 64 w 83"/>
                <a:gd name="T17" fmla="*/ 108 h 108"/>
                <a:gd name="T18" fmla="*/ 14 w 83"/>
                <a:gd name="T19" fmla="*/ 52 h 108"/>
                <a:gd name="T20" fmla="*/ 14 w 83"/>
                <a:gd name="T21" fmla="*/ 52 h 108"/>
                <a:gd name="T22" fmla="*/ 14 w 83"/>
                <a:gd name="T23" fmla="*/ 108 h 108"/>
                <a:gd name="T24" fmla="*/ 0 w 83"/>
                <a:gd name="T25" fmla="*/ 108 h 108"/>
                <a:gd name="T26" fmla="*/ 0 w 83"/>
                <a:gd name="T27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3" h="108">
                  <a:moveTo>
                    <a:pt x="0" y="0"/>
                  </a:moveTo>
                  <a:lnTo>
                    <a:pt x="14" y="0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61" y="0"/>
                  </a:lnTo>
                  <a:lnTo>
                    <a:pt x="79" y="0"/>
                  </a:lnTo>
                  <a:lnTo>
                    <a:pt x="30" y="50"/>
                  </a:lnTo>
                  <a:lnTo>
                    <a:pt x="83" y="108"/>
                  </a:lnTo>
                  <a:lnTo>
                    <a:pt x="64" y="108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108"/>
                  </a:lnTo>
                  <a:lnTo>
                    <a:pt x="0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id="{B61E5A0B-666F-4EFF-9BB0-94AAAF440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9438" y="639763"/>
              <a:ext cx="100013" cy="171450"/>
            </a:xfrm>
            <a:custGeom>
              <a:avLst/>
              <a:gdLst>
                <a:gd name="T0" fmla="*/ 0 w 63"/>
                <a:gd name="T1" fmla="*/ 0 h 108"/>
                <a:gd name="T2" fmla="*/ 63 w 63"/>
                <a:gd name="T3" fmla="*/ 0 h 108"/>
                <a:gd name="T4" fmla="*/ 63 w 63"/>
                <a:gd name="T5" fmla="*/ 13 h 108"/>
                <a:gd name="T6" fmla="*/ 14 w 63"/>
                <a:gd name="T7" fmla="*/ 13 h 108"/>
                <a:gd name="T8" fmla="*/ 14 w 63"/>
                <a:gd name="T9" fmla="*/ 48 h 108"/>
                <a:gd name="T10" fmla="*/ 58 w 63"/>
                <a:gd name="T11" fmla="*/ 48 h 108"/>
                <a:gd name="T12" fmla="*/ 58 w 63"/>
                <a:gd name="T13" fmla="*/ 60 h 108"/>
                <a:gd name="T14" fmla="*/ 14 w 63"/>
                <a:gd name="T15" fmla="*/ 60 h 108"/>
                <a:gd name="T16" fmla="*/ 14 w 63"/>
                <a:gd name="T17" fmla="*/ 108 h 108"/>
                <a:gd name="T18" fmla="*/ 0 w 63"/>
                <a:gd name="T19" fmla="*/ 108 h 108"/>
                <a:gd name="T20" fmla="*/ 0 w 63"/>
                <a:gd name="T21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3" h="108">
                  <a:moveTo>
                    <a:pt x="0" y="0"/>
                  </a:moveTo>
                  <a:lnTo>
                    <a:pt x="63" y="0"/>
                  </a:lnTo>
                  <a:lnTo>
                    <a:pt x="63" y="13"/>
                  </a:lnTo>
                  <a:lnTo>
                    <a:pt x="14" y="13"/>
                  </a:lnTo>
                  <a:lnTo>
                    <a:pt x="14" y="48"/>
                  </a:lnTo>
                  <a:lnTo>
                    <a:pt x="58" y="48"/>
                  </a:lnTo>
                  <a:lnTo>
                    <a:pt x="58" y="60"/>
                  </a:lnTo>
                  <a:lnTo>
                    <a:pt x="14" y="60"/>
                  </a:lnTo>
                  <a:lnTo>
                    <a:pt x="14" y="108"/>
                  </a:lnTo>
                  <a:lnTo>
                    <a:pt x="0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Rectangle 17">
              <a:extLst>
                <a:ext uri="{FF2B5EF4-FFF2-40B4-BE49-F238E27FC236}">
                  <a16:creationId xmlns:a16="http://schemas.microsoft.com/office/drawing/2014/main" id="{22AFE816-98DC-4E43-9B3B-F3C53F86B29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807076" y="639763"/>
              <a:ext cx="22225" cy="171450"/>
            </a:xfrm>
            <a:prstGeom prst="rect">
              <a:avLst/>
            </a:pr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id="{85C855E3-4ECC-4A29-832A-0295B7E77A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84863" y="639763"/>
              <a:ext cx="103188" cy="171450"/>
            </a:xfrm>
            <a:custGeom>
              <a:avLst/>
              <a:gdLst>
                <a:gd name="T0" fmla="*/ 0 w 65"/>
                <a:gd name="T1" fmla="*/ 0 h 108"/>
                <a:gd name="T2" fmla="*/ 14 w 65"/>
                <a:gd name="T3" fmla="*/ 0 h 108"/>
                <a:gd name="T4" fmla="*/ 14 w 65"/>
                <a:gd name="T5" fmla="*/ 95 h 108"/>
                <a:gd name="T6" fmla="*/ 65 w 65"/>
                <a:gd name="T7" fmla="*/ 95 h 108"/>
                <a:gd name="T8" fmla="*/ 65 w 65"/>
                <a:gd name="T9" fmla="*/ 108 h 108"/>
                <a:gd name="T10" fmla="*/ 0 w 65"/>
                <a:gd name="T11" fmla="*/ 108 h 108"/>
                <a:gd name="T12" fmla="*/ 0 w 65"/>
                <a:gd name="T1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108">
                  <a:moveTo>
                    <a:pt x="0" y="0"/>
                  </a:moveTo>
                  <a:lnTo>
                    <a:pt x="14" y="0"/>
                  </a:lnTo>
                  <a:lnTo>
                    <a:pt x="14" y="95"/>
                  </a:lnTo>
                  <a:lnTo>
                    <a:pt x="65" y="95"/>
                  </a:lnTo>
                  <a:lnTo>
                    <a:pt x="65" y="108"/>
                  </a:lnTo>
                  <a:lnTo>
                    <a:pt x="0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id="{3463165B-F8AA-4158-BA7B-7334A89A89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26151" y="639763"/>
              <a:ext cx="165100" cy="171450"/>
            </a:xfrm>
            <a:custGeom>
              <a:avLst/>
              <a:gdLst>
                <a:gd name="T0" fmla="*/ 42 w 155"/>
                <a:gd name="T1" fmla="*/ 67 h 161"/>
                <a:gd name="T2" fmla="*/ 21 w 155"/>
                <a:gd name="T3" fmla="*/ 36 h 161"/>
                <a:gd name="T4" fmla="*/ 20 w 155"/>
                <a:gd name="T5" fmla="*/ 36 h 161"/>
                <a:gd name="T6" fmla="*/ 21 w 155"/>
                <a:gd name="T7" fmla="*/ 71 h 161"/>
                <a:gd name="T8" fmla="*/ 21 w 155"/>
                <a:gd name="T9" fmla="*/ 161 h 161"/>
                <a:gd name="T10" fmla="*/ 0 w 155"/>
                <a:gd name="T11" fmla="*/ 161 h 161"/>
                <a:gd name="T12" fmla="*/ 0 w 155"/>
                <a:gd name="T13" fmla="*/ 0 h 161"/>
                <a:gd name="T14" fmla="*/ 21 w 155"/>
                <a:gd name="T15" fmla="*/ 0 h 161"/>
                <a:gd name="T16" fmla="*/ 78 w 155"/>
                <a:gd name="T17" fmla="*/ 82 h 161"/>
                <a:gd name="T18" fmla="*/ 135 w 155"/>
                <a:gd name="T19" fmla="*/ 0 h 161"/>
                <a:gd name="T20" fmla="*/ 155 w 155"/>
                <a:gd name="T21" fmla="*/ 0 h 161"/>
                <a:gd name="T22" fmla="*/ 155 w 155"/>
                <a:gd name="T23" fmla="*/ 161 h 161"/>
                <a:gd name="T24" fmla="*/ 134 w 155"/>
                <a:gd name="T25" fmla="*/ 161 h 161"/>
                <a:gd name="T26" fmla="*/ 134 w 155"/>
                <a:gd name="T27" fmla="*/ 71 h 161"/>
                <a:gd name="T28" fmla="*/ 134 w 155"/>
                <a:gd name="T29" fmla="*/ 36 h 161"/>
                <a:gd name="T30" fmla="*/ 134 w 155"/>
                <a:gd name="T31" fmla="*/ 36 h 161"/>
                <a:gd name="T32" fmla="*/ 112 w 155"/>
                <a:gd name="T33" fmla="*/ 67 h 161"/>
                <a:gd name="T34" fmla="*/ 77 w 155"/>
                <a:gd name="T35" fmla="*/ 117 h 161"/>
                <a:gd name="T36" fmla="*/ 42 w 155"/>
                <a:gd name="T37" fmla="*/ 6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61">
                  <a:moveTo>
                    <a:pt x="42" y="67"/>
                  </a:moveTo>
                  <a:cubicBezTo>
                    <a:pt x="35" y="57"/>
                    <a:pt x="28" y="46"/>
                    <a:pt x="21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45"/>
                    <a:pt x="21" y="58"/>
                    <a:pt x="21" y="71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5" y="161"/>
                    <a:pt x="155" y="161"/>
                    <a:pt x="155" y="161"/>
                  </a:cubicBezTo>
                  <a:cubicBezTo>
                    <a:pt x="134" y="161"/>
                    <a:pt x="134" y="161"/>
                    <a:pt x="134" y="161"/>
                  </a:cubicBezTo>
                  <a:cubicBezTo>
                    <a:pt x="134" y="71"/>
                    <a:pt x="134" y="71"/>
                    <a:pt x="134" y="71"/>
                  </a:cubicBezTo>
                  <a:cubicBezTo>
                    <a:pt x="134" y="58"/>
                    <a:pt x="134" y="45"/>
                    <a:pt x="134" y="36"/>
                  </a:cubicBezTo>
                  <a:cubicBezTo>
                    <a:pt x="134" y="36"/>
                    <a:pt x="134" y="36"/>
                    <a:pt x="134" y="36"/>
                  </a:cubicBezTo>
                  <a:cubicBezTo>
                    <a:pt x="127" y="46"/>
                    <a:pt x="120" y="57"/>
                    <a:pt x="112" y="67"/>
                  </a:cubicBezTo>
                  <a:cubicBezTo>
                    <a:pt x="77" y="117"/>
                    <a:pt x="77" y="117"/>
                    <a:pt x="77" y="117"/>
                  </a:cubicBezTo>
                  <a:lnTo>
                    <a:pt x="42" y="67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20">
              <a:extLst>
                <a:ext uri="{FF2B5EF4-FFF2-40B4-BE49-F238E27FC236}">
                  <a16:creationId xmlns:a16="http://schemas.microsoft.com/office/drawing/2014/main" id="{C4215318-4CE4-4477-B635-1FA44F1FF6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38488" y="171450"/>
              <a:ext cx="776288" cy="639763"/>
            </a:xfrm>
            <a:custGeom>
              <a:avLst/>
              <a:gdLst>
                <a:gd name="T0" fmla="*/ 90 w 489"/>
                <a:gd name="T1" fmla="*/ 403 h 403"/>
                <a:gd name="T2" fmla="*/ 0 w 489"/>
                <a:gd name="T3" fmla="*/ 403 h 403"/>
                <a:gd name="T4" fmla="*/ 204 w 489"/>
                <a:gd name="T5" fmla="*/ 0 h 403"/>
                <a:gd name="T6" fmla="*/ 285 w 489"/>
                <a:gd name="T7" fmla="*/ 0 h 403"/>
                <a:gd name="T8" fmla="*/ 489 w 489"/>
                <a:gd name="T9" fmla="*/ 403 h 403"/>
                <a:gd name="T10" fmla="*/ 397 w 489"/>
                <a:gd name="T11" fmla="*/ 403 h 403"/>
                <a:gd name="T12" fmla="*/ 243 w 489"/>
                <a:gd name="T13" fmla="*/ 106 h 403"/>
                <a:gd name="T14" fmla="*/ 90 w 489"/>
                <a:gd name="T15" fmla="*/ 403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9" h="403">
                  <a:moveTo>
                    <a:pt x="90" y="403"/>
                  </a:moveTo>
                  <a:lnTo>
                    <a:pt x="0" y="403"/>
                  </a:lnTo>
                  <a:lnTo>
                    <a:pt x="204" y="0"/>
                  </a:lnTo>
                  <a:lnTo>
                    <a:pt x="285" y="0"/>
                  </a:lnTo>
                  <a:lnTo>
                    <a:pt x="489" y="403"/>
                  </a:lnTo>
                  <a:lnTo>
                    <a:pt x="397" y="403"/>
                  </a:lnTo>
                  <a:lnTo>
                    <a:pt x="243" y="106"/>
                  </a:lnTo>
                  <a:lnTo>
                    <a:pt x="90" y="403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21">
              <a:extLst>
                <a:ext uri="{FF2B5EF4-FFF2-40B4-BE49-F238E27FC236}">
                  <a16:creationId xmlns:a16="http://schemas.microsoft.com/office/drawing/2014/main" id="{FDFB0C5F-94BB-4D8D-A686-B6B93542A7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11613" y="176213"/>
              <a:ext cx="538163" cy="635000"/>
            </a:xfrm>
            <a:custGeom>
              <a:avLst/>
              <a:gdLst>
                <a:gd name="T0" fmla="*/ 0 w 506"/>
                <a:gd name="T1" fmla="*/ 596 h 596"/>
                <a:gd name="T2" fmla="*/ 75 w 506"/>
                <a:gd name="T3" fmla="*/ 596 h 596"/>
                <a:gd name="T4" fmla="*/ 127 w 506"/>
                <a:gd name="T5" fmla="*/ 596 h 596"/>
                <a:gd name="T6" fmla="*/ 283 w 506"/>
                <a:gd name="T7" fmla="*/ 596 h 596"/>
                <a:gd name="T8" fmla="*/ 506 w 506"/>
                <a:gd name="T9" fmla="*/ 433 h 596"/>
                <a:gd name="T10" fmla="*/ 395 w 506"/>
                <a:gd name="T11" fmla="*/ 285 h 596"/>
                <a:gd name="T12" fmla="*/ 473 w 506"/>
                <a:gd name="T13" fmla="*/ 156 h 596"/>
                <a:gd name="T14" fmla="*/ 432 w 506"/>
                <a:gd name="T15" fmla="*/ 53 h 596"/>
                <a:gd name="T16" fmla="*/ 276 w 506"/>
                <a:gd name="T17" fmla="*/ 0 h 596"/>
                <a:gd name="T18" fmla="*/ 0 w 506"/>
                <a:gd name="T19" fmla="*/ 0 h 596"/>
                <a:gd name="T20" fmla="*/ 0 w 506"/>
                <a:gd name="T21" fmla="*/ 115 h 596"/>
                <a:gd name="T22" fmla="*/ 257 w 506"/>
                <a:gd name="T23" fmla="*/ 115 h 596"/>
                <a:gd name="T24" fmla="*/ 343 w 506"/>
                <a:gd name="T25" fmla="*/ 177 h 596"/>
                <a:gd name="T26" fmla="*/ 248 w 506"/>
                <a:gd name="T27" fmla="*/ 241 h 596"/>
                <a:gd name="T28" fmla="*/ 0 w 506"/>
                <a:gd name="T29" fmla="*/ 241 h 596"/>
                <a:gd name="T30" fmla="*/ 0 w 506"/>
                <a:gd name="T31" fmla="*/ 596 h 596"/>
                <a:gd name="T32" fmla="*/ 283 w 506"/>
                <a:gd name="T33" fmla="*/ 481 h 596"/>
                <a:gd name="T34" fmla="*/ 127 w 506"/>
                <a:gd name="T35" fmla="*/ 481 h 596"/>
                <a:gd name="T36" fmla="*/ 127 w 506"/>
                <a:gd name="T37" fmla="*/ 350 h 596"/>
                <a:gd name="T38" fmla="*/ 279 w 506"/>
                <a:gd name="T39" fmla="*/ 350 h 596"/>
                <a:gd name="T40" fmla="*/ 376 w 506"/>
                <a:gd name="T41" fmla="*/ 415 h 596"/>
                <a:gd name="T42" fmla="*/ 283 w 506"/>
                <a:gd name="T43" fmla="*/ 481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06" h="596">
                  <a:moveTo>
                    <a:pt x="0" y="596"/>
                  </a:moveTo>
                  <a:cubicBezTo>
                    <a:pt x="75" y="596"/>
                    <a:pt x="75" y="596"/>
                    <a:pt x="75" y="596"/>
                  </a:cubicBezTo>
                  <a:cubicBezTo>
                    <a:pt x="127" y="596"/>
                    <a:pt x="127" y="596"/>
                    <a:pt x="127" y="596"/>
                  </a:cubicBezTo>
                  <a:cubicBezTo>
                    <a:pt x="283" y="596"/>
                    <a:pt x="283" y="596"/>
                    <a:pt x="283" y="596"/>
                  </a:cubicBezTo>
                  <a:cubicBezTo>
                    <a:pt x="418" y="596"/>
                    <a:pt x="506" y="542"/>
                    <a:pt x="506" y="433"/>
                  </a:cubicBezTo>
                  <a:cubicBezTo>
                    <a:pt x="506" y="351"/>
                    <a:pt x="464" y="311"/>
                    <a:pt x="395" y="285"/>
                  </a:cubicBezTo>
                  <a:cubicBezTo>
                    <a:pt x="437" y="261"/>
                    <a:pt x="473" y="223"/>
                    <a:pt x="473" y="156"/>
                  </a:cubicBezTo>
                  <a:cubicBezTo>
                    <a:pt x="473" y="114"/>
                    <a:pt x="459" y="80"/>
                    <a:pt x="432" y="53"/>
                  </a:cubicBezTo>
                  <a:cubicBezTo>
                    <a:pt x="398" y="19"/>
                    <a:pt x="345" y="0"/>
                    <a:pt x="27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257" y="115"/>
                    <a:pt x="257" y="115"/>
                    <a:pt x="257" y="115"/>
                  </a:cubicBezTo>
                  <a:cubicBezTo>
                    <a:pt x="312" y="115"/>
                    <a:pt x="343" y="137"/>
                    <a:pt x="343" y="177"/>
                  </a:cubicBezTo>
                  <a:cubicBezTo>
                    <a:pt x="343" y="223"/>
                    <a:pt x="306" y="241"/>
                    <a:pt x="248" y="241"/>
                  </a:cubicBezTo>
                  <a:cubicBezTo>
                    <a:pt x="0" y="241"/>
                    <a:pt x="0" y="241"/>
                    <a:pt x="0" y="241"/>
                  </a:cubicBezTo>
                  <a:lnTo>
                    <a:pt x="0" y="596"/>
                  </a:lnTo>
                  <a:close/>
                  <a:moveTo>
                    <a:pt x="283" y="481"/>
                  </a:moveTo>
                  <a:cubicBezTo>
                    <a:pt x="127" y="481"/>
                    <a:pt x="127" y="481"/>
                    <a:pt x="127" y="481"/>
                  </a:cubicBezTo>
                  <a:cubicBezTo>
                    <a:pt x="127" y="350"/>
                    <a:pt x="127" y="350"/>
                    <a:pt x="127" y="350"/>
                  </a:cubicBezTo>
                  <a:cubicBezTo>
                    <a:pt x="279" y="350"/>
                    <a:pt x="279" y="350"/>
                    <a:pt x="279" y="350"/>
                  </a:cubicBezTo>
                  <a:cubicBezTo>
                    <a:pt x="346" y="350"/>
                    <a:pt x="376" y="375"/>
                    <a:pt x="376" y="415"/>
                  </a:cubicBezTo>
                  <a:cubicBezTo>
                    <a:pt x="376" y="461"/>
                    <a:pt x="341" y="481"/>
                    <a:pt x="283" y="481"/>
                  </a:cubicBez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22">
              <a:extLst>
                <a:ext uri="{FF2B5EF4-FFF2-40B4-BE49-F238E27FC236}">
                  <a16:creationId xmlns:a16="http://schemas.microsoft.com/office/drawing/2014/main" id="{37B80D1E-1378-453F-8D10-6ADB679471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41663" y="1006475"/>
              <a:ext cx="138113" cy="160338"/>
            </a:xfrm>
            <a:custGeom>
              <a:avLst/>
              <a:gdLst>
                <a:gd name="T0" fmla="*/ 52 w 87"/>
                <a:gd name="T1" fmla="*/ 101 h 101"/>
                <a:gd name="T2" fmla="*/ 34 w 87"/>
                <a:gd name="T3" fmla="*/ 101 h 101"/>
                <a:gd name="T4" fmla="*/ 34 w 87"/>
                <a:gd name="T5" fmla="*/ 62 h 101"/>
                <a:gd name="T6" fmla="*/ 0 w 87"/>
                <a:gd name="T7" fmla="*/ 0 h 101"/>
                <a:gd name="T8" fmla="*/ 19 w 87"/>
                <a:gd name="T9" fmla="*/ 0 h 101"/>
                <a:gd name="T10" fmla="*/ 44 w 87"/>
                <a:gd name="T11" fmla="*/ 45 h 101"/>
                <a:gd name="T12" fmla="*/ 68 w 87"/>
                <a:gd name="T13" fmla="*/ 0 h 101"/>
                <a:gd name="T14" fmla="*/ 87 w 87"/>
                <a:gd name="T15" fmla="*/ 0 h 101"/>
                <a:gd name="T16" fmla="*/ 52 w 87"/>
                <a:gd name="T17" fmla="*/ 62 h 101"/>
                <a:gd name="T18" fmla="*/ 52 w 87"/>
                <a:gd name="T1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101">
                  <a:moveTo>
                    <a:pt x="52" y="101"/>
                  </a:moveTo>
                  <a:lnTo>
                    <a:pt x="34" y="101"/>
                  </a:lnTo>
                  <a:lnTo>
                    <a:pt x="34" y="62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4" y="45"/>
                  </a:lnTo>
                  <a:lnTo>
                    <a:pt x="68" y="0"/>
                  </a:lnTo>
                  <a:lnTo>
                    <a:pt x="87" y="0"/>
                  </a:lnTo>
                  <a:lnTo>
                    <a:pt x="52" y="62"/>
                  </a:lnTo>
                  <a:lnTo>
                    <a:pt x="52" y="101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23">
              <a:extLst>
                <a:ext uri="{FF2B5EF4-FFF2-40B4-BE49-F238E27FC236}">
                  <a16:creationId xmlns:a16="http://schemas.microsoft.com/office/drawing/2014/main" id="{0EA9BDD0-666E-46A9-A329-58C04B8509D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67076" y="1055688"/>
              <a:ext cx="115888" cy="114300"/>
            </a:xfrm>
            <a:custGeom>
              <a:avLst/>
              <a:gdLst>
                <a:gd name="T0" fmla="*/ 76 w 109"/>
                <a:gd name="T1" fmla="*/ 4 h 108"/>
                <a:gd name="T2" fmla="*/ 93 w 109"/>
                <a:gd name="T3" fmla="*/ 16 h 108"/>
                <a:gd name="T4" fmla="*/ 105 w 109"/>
                <a:gd name="T5" fmla="*/ 33 h 108"/>
                <a:gd name="T6" fmla="*/ 109 w 109"/>
                <a:gd name="T7" fmla="*/ 54 h 108"/>
                <a:gd name="T8" fmla="*/ 105 w 109"/>
                <a:gd name="T9" fmla="*/ 75 h 108"/>
                <a:gd name="T10" fmla="*/ 93 w 109"/>
                <a:gd name="T11" fmla="*/ 92 h 108"/>
                <a:gd name="T12" fmla="*/ 76 w 109"/>
                <a:gd name="T13" fmla="*/ 104 h 108"/>
                <a:gd name="T14" fmla="*/ 54 w 109"/>
                <a:gd name="T15" fmla="*/ 108 h 108"/>
                <a:gd name="T16" fmla="*/ 33 w 109"/>
                <a:gd name="T17" fmla="*/ 104 h 108"/>
                <a:gd name="T18" fmla="*/ 15 w 109"/>
                <a:gd name="T19" fmla="*/ 92 h 108"/>
                <a:gd name="T20" fmla="*/ 4 w 109"/>
                <a:gd name="T21" fmla="*/ 75 h 108"/>
                <a:gd name="T22" fmla="*/ 0 w 109"/>
                <a:gd name="T23" fmla="*/ 54 h 108"/>
                <a:gd name="T24" fmla="*/ 4 w 109"/>
                <a:gd name="T25" fmla="*/ 33 h 108"/>
                <a:gd name="T26" fmla="*/ 15 w 109"/>
                <a:gd name="T27" fmla="*/ 16 h 108"/>
                <a:gd name="T28" fmla="*/ 33 w 109"/>
                <a:gd name="T29" fmla="*/ 4 h 108"/>
                <a:gd name="T30" fmla="*/ 54 w 109"/>
                <a:gd name="T31" fmla="*/ 0 h 108"/>
                <a:gd name="T32" fmla="*/ 76 w 109"/>
                <a:gd name="T33" fmla="*/ 4 h 108"/>
                <a:gd name="T34" fmla="*/ 66 w 109"/>
                <a:gd name="T35" fmla="*/ 81 h 108"/>
                <a:gd name="T36" fmla="*/ 75 w 109"/>
                <a:gd name="T37" fmla="*/ 75 h 108"/>
                <a:gd name="T38" fmla="*/ 81 w 109"/>
                <a:gd name="T39" fmla="*/ 65 h 108"/>
                <a:gd name="T40" fmla="*/ 83 w 109"/>
                <a:gd name="T41" fmla="*/ 54 h 108"/>
                <a:gd name="T42" fmla="*/ 81 w 109"/>
                <a:gd name="T43" fmla="*/ 42 h 108"/>
                <a:gd name="T44" fmla="*/ 75 w 109"/>
                <a:gd name="T45" fmla="*/ 33 h 108"/>
                <a:gd name="T46" fmla="*/ 66 w 109"/>
                <a:gd name="T47" fmla="*/ 27 h 108"/>
                <a:gd name="T48" fmla="*/ 54 w 109"/>
                <a:gd name="T49" fmla="*/ 24 h 108"/>
                <a:gd name="T50" fmla="*/ 43 w 109"/>
                <a:gd name="T51" fmla="*/ 27 h 108"/>
                <a:gd name="T52" fmla="*/ 34 w 109"/>
                <a:gd name="T53" fmla="*/ 33 h 108"/>
                <a:gd name="T54" fmla="*/ 28 w 109"/>
                <a:gd name="T55" fmla="*/ 42 h 108"/>
                <a:gd name="T56" fmla="*/ 26 w 109"/>
                <a:gd name="T57" fmla="*/ 54 h 108"/>
                <a:gd name="T58" fmla="*/ 28 w 109"/>
                <a:gd name="T59" fmla="*/ 65 h 108"/>
                <a:gd name="T60" fmla="*/ 34 w 109"/>
                <a:gd name="T61" fmla="*/ 75 h 108"/>
                <a:gd name="T62" fmla="*/ 43 w 109"/>
                <a:gd name="T63" fmla="*/ 81 h 108"/>
                <a:gd name="T64" fmla="*/ 54 w 109"/>
                <a:gd name="T65" fmla="*/ 84 h 108"/>
                <a:gd name="T66" fmla="*/ 66 w 109"/>
                <a:gd name="T67" fmla="*/ 8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" h="108">
                  <a:moveTo>
                    <a:pt x="76" y="4"/>
                  </a:moveTo>
                  <a:cubicBezTo>
                    <a:pt x="82" y="7"/>
                    <a:pt x="88" y="11"/>
                    <a:pt x="93" y="16"/>
                  </a:cubicBezTo>
                  <a:cubicBezTo>
                    <a:pt x="98" y="21"/>
                    <a:pt x="102" y="26"/>
                    <a:pt x="105" y="33"/>
                  </a:cubicBezTo>
                  <a:cubicBezTo>
                    <a:pt x="108" y="39"/>
                    <a:pt x="109" y="46"/>
                    <a:pt x="109" y="54"/>
                  </a:cubicBezTo>
                  <a:cubicBezTo>
                    <a:pt x="109" y="61"/>
                    <a:pt x="108" y="69"/>
                    <a:pt x="105" y="75"/>
                  </a:cubicBezTo>
                  <a:cubicBezTo>
                    <a:pt x="102" y="82"/>
                    <a:pt x="98" y="87"/>
                    <a:pt x="93" y="92"/>
                  </a:cubicBezTo>
                  <a:cubicBezTo>
                    <a:pt x="88" y="97"/>
                    <a:pt x="82" y="101"/>
                    <a:pt x="76" y="104"/>
                  </a:cubicBezTo>
                  <a:cubicBezTo>
                    <a:pt x="69" y="106"/>
                    <a:pt x="62" y="108"/>
                    <a:pt x="54" y="108"/>
                  </a:cubicBezTo>
                  <a:cubicBezTo>
                    <a:pt x="47" y="108"/>
                    <a:pt x="40" y="106"/>
                    <a:pt x="33" y="104"/>
                  </a:cubicBezTo>
                  <a:cubicBezTo>
                    <a:pt x="26" y="101"/>
                    <a:pt x="20" y="97"/>
                    <a:pt x="15" y="92"/>
                  </a:cubicBezTo>
                  <a:cubicBezTo>
                    <a:pt x="11" y="87"/>
                    <a:pt x="7" y="82"/>
                    <a:pt x="4" y="75"/>
                  </a:cubicBezTo>
                  <a:cubicBezTo>
                    <a:pt x="1" y="69"/>
                    <a:pt x="0" y="61"/>
                    <a:pt x="0" y="54"/>
                  </a:cubicBezTo>
                  <a:cubicBezTo>
                    <a:pt x="0" y="46"/>
                    <a:pt x="1" y="39"/>
                    <a:pt x="4" y="33"/>
                  </a:cubicBezTo>
                  <a:cubicBezTo>
                    <a:pt x="7" y="26"/>
                    <a:pt x="11" y="21"/>
                    <a:pt x="15" y="16"/>
                  </a:cubicBezTo>
                  <a:cubicBezTo>
                    <a:pt x="20" y="11"/>
                    <a:pt x="26" y="7"/>
                    <a:pt x="33" y="4"/>
                  </a:cubicBezTo>
                  <a:cubicBezTo>
                    <a:pt x="40" y="1"/>
                    <a:pt x="47" y="0"/>
                    <a:pt x="54" y="0"/>
                  </a:cubicBezTo>
                  <a:cubicBezTo>
                    <a:pt x="62" y="0"/>
                    <a:pt x="69" y="1"/>
                    <a:pt x="76" y="4"/>
                  </a:cubicBezTo>
                  <a:close/>
                  <a:moveTo>
                    <a:pt x="66" y="81"/>
                  </a:moveTo>
                  <a:cubicBezTo>
                    <a:pt x="70" y="80"/>
                    <a:pt x="73" y="77"/>
                    <a:pt x="75" y="75"/>
                  </a:cubicBezTo>
                  <a:cubicBezTo>
                    <a:pt x="78" y="72"/>
                    <a:pt x="79" y="69"/>
                    <a:pt x="81" y="65"/>
                  </a:cubicBezTo>
                  <a:cubicBezTo>
                    <a:pt x="82" y="62"/>
                    <a:pt x="83" y="58"/>
                    <a:pt x="83" y="54"/>
                  </a:cubicBezTo>
                  <a:cubicBezTo>
                    <a:pt x="83" y="50"/>
                    <a:pt x="82" y="46"/>
                    <a:pt x="81" y="42"/>
                  </a:cubicBezTo>
                  <a:cubicBezTo>
                    <a:pt x="79" y="39"/>
                    <a:pt x="78" y="36"/>
                    <a:pt x="75" y="33"/>
                  </a:cubicBezTo>
                  <a:cubicBezTo>
                    <a:pt x="73" y="30"/>
                    <a:pt x="70" y="28"/>
                    <a:pt x="66" y="27"/>
                  </a:cubicBezTo>
                  <a:cubicBezTo>
                    <a:pt x="63" y="25"/>
                    <a:pt x="59" y="24"/>
                    <a:pt x="54" y="24"/>
                  </a:cubicBezTo>
                  <a:cubicBezTo>
                    <a:pt x="50" y="24"/>
                    <a:pt x="46" y="25"/>
                    <a:pt x="43" y="27"/>
                  </a:cubicBezTo>
                  <a:cubicBezTo>
                    <a:pt x="39" y="28"/>
                    <a:pt x="36" y="30"/>
                    <a:pt x="34" y="33"/>
                  </a:cubicBezTo>
                  <a:cubicBezTo>
                    <a:pt x="31" y="36"/>
                    <a:pt x="29" y="39"/>
                    <a:pt x="28" y="42"/>
                  </a:cubicBezTo>
                  <a:cubicBezTo>
                    <a:pt x="27" y="46"/>
                    <a:pt x="26" y="50"/>
                    <a:pt x="26" y="54"/>
                  </a:cubicBezTo>
                  <a:cubicBezTo>
                    <a:pt x="26" y="58"/>
                    <a:pt x="27" y="62"/>
                    <a:pt x="28" y="65"/>
                  </a:cubicBezTo>
                  <a:cubicBezTo>
                    <a:pt x="29" y="69"/>
                    <a:pt x="31" y="72"/>
                    <a:pt x="34" y="75"/>
                  </a:cubicBezTo>
                  <a:cubicBezTo>
                    <a:pt x="36" y="77"/>
                    <a:pt x="39" y="80"/>
                    <a:pt x="43" y="81"/>
                  </a:cubicBezTo>
                  <a:cubicBezTo>
                    <a:pt x="46" y="83"/>
                    <a:pt x="50" y="84"/>
                    <a:pt x="54" y="84"/>
                  </a:cubicBezTo>
                  <a:cubicBezTo>
                    <a:pt x="59" y="84"/>
                    <a:pt x="63" y="83"/>
                    <a:pt x="66" y="81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Freeform 24">
              <a:extLst>
                <a:ext uri="{FF2B5EF4-FFF2-40B4-BE49-F238E27FC236}">
                  <a16:creationId xmlns:a16="http://schemas.microsoft.com/office/drawing/2014/main" id="{B27EF9B8-CE88-4E8B-9FC6-9C68A802F8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4713" y="1058863"/>
              <a:ext cx="98425" cy="111125"/>
            </a:xfrm>
            <a:custGeom>
              <a:avLst/>
              <a:gdLst>
                <a:gd name="T0" fmla="*/ 24 w 93"/>
                <a:gd name="T1" fmla="*/ 102 h 105"/>
                <a:gd name="T2" fmla="*/ 12 w 93"/>
                <a:gd name="T3" fmla="*/ 95 h 105"/>
                <a:gd name="T4" fmla="*/ 3 w 93"/>
                <a:gd name="T5" fmla="*/ 83 h 105"/>
                <a:gd name="T6" fmla="*/ 0 w 93"/>
                <a:gd name="T7" fmla="*/ 66 h 105"/>
                <a:gd name="T8" fmla="*/ 0 w 93"/>
                <a:gd name="T9" fmla="*/ 0 h 105"/>
                <a:gd name="T10" fmla="*/ 26 w 93"/>
                <a:gd name="T11" fmla="*/ 0 h 105"/>
                <a:gd name="T12" fmla="*/ 26 w 93"/>
                <a:gd name="T13" fmla="*/ 59 h 105"/>
                <a:gd name="T14" fmla="*/ 31 w 93"/>
                <a:gd name="T15" fmla="*/ 76 h 105"/>
                <a:gd name="T16" fmla="*/ 47 w 93"/>
                <a:gd name="T17" fmla="*/ 81 h 105"/>
                <a:gd name="T18" fmla="*/ 55 w 93"/>
                <a:gd name="T19" fmla="*/ 79 h 105"/>
                <a:gd name="T20" fmla="*/ 62 w 93"/>
                <a:gd name="T21" fmla="*/ 74 h 105"/>
                <a:gd name="T22" fmla="*/ 67 w 93"/>
                <a:gd name="T23" fmla="*/ 68 h 105"/>
                <a:gd name="T24" fmla="*/ 67 w 93"/>
                <a:gd name="T25" fmla="*/ 0 h 105"/>
                <a:gd name="T26" fmla="*/ 93 w 93"/>
                <a:gd name="T27" fmla="*/ 0 h 105"/>
                <a:gd name="T28" fmla="*/ 93 w 93"/>
                <a:gd name="T29" fmla="*/ 102 h 105"/>
                <a:gd name="T30" fmla="*/ 69 w 93"/>
                <a:gd name="T31" fmla="*/ 102 h 105"/>
                <a:gd name="T32" fmla="*/ 69 w 93"/>
                <a:gd name="T33" fmla="*/ 87 h 105"/>
                <a:gd name="T34" fmla="*/ 61 w 93"/>
                <a:gd name="T35" fmla="*/ 96 h 105"/>
                <a:gd name="T36" fmla="*/ 52 w 93"/>
                <a:gd name="T37" fmla="*/ 102 h 105"/>
                <a:gd name="T38" fmla="*/ 38 w 93"/>
                <a:gd name="T39" fmla="*/ 105 h 105"/>
                <a:gd name="T40" fmla="*/ 24 w 93"/>
                <a:gd name="T41" fmla="*/ 102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" h="105">
                  <a:moveTo>
                    <a:pt x="24" y="102"/>
                  </a:moveTo>
                  <a:cubicBezTo>
                    <a:pt x="19" y="101"/>
                    <a:pt x="15" y="98"/>
                    <a:pt x="12" y="95"/>
                  </a:cubicBezTo>
                  <a:cubicBezTo>
                    <a:pt x="8" y="91"/>
                    <a:pt x="5" y="87"/>
                    <a:pt x="3" y="83"/>
                  </a:cubicBezTo>
                  <a:cubicBezTo>
                    <a:pt x="1" y="78"/>
                    <a:pt x="0" y="72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7"/>
                    <a:pt x="28" y="72"/>
                    <a:pt x="31" y="76"/>
                  </a:cubicBezTo>
                  <a:cubicBezTo>
                    <a:pt x="35" y="79"/>
                    <a:pt x="40" y="81"/>
                    <a:pt x="47" y="81"/>
                  </a:cubicBezTo>
                  <a:cubicBezTo>
                    <a:pt x="50" y="81"/>
                    <a:pt x="53" y="80"/>
                    <a:pt x="55" y="79"/>
                  </a:cubicBezTo>
                  <a:cubicBezTo>
                    <a:pt x="58" y="77"/>
                    <a:pt x="60" y="76"/>
                    <a:pt x="62" y="74"/>
                  </a:cubicBezTo>
                  <a:cubicBezTo>
                    <a:pt x="64" y="72"/>
                    <a:pt x="65" y="70"/>
                    <a:pt x="67" y="68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69" y="102"/>
                    <a:pt x="69" y="102"/>
                    <a:pt x="69" y="102"/>
                  </a:cubicBezTo>
                  <a:cubicBezTo>
                    <a:pt x="69" y="87"/>
                    <a:pt x="69" y="87"/>
                    <a:pt x="69" y="87"/>
                  </a:cubicBezTo>
                  <a:cubicBezTo>
                    <a:pt x="67" y="91"/>
                    <a:pt x="64" y="94"/>
                    <a:pt x="61" y="96"/>
                  </a:cubicBezTo>
                  <a:cubicBezTo>
                    <a:pt x="59" y="98"/>
                    <a:pt x="55" y="100"/>
                    <a:pt x="52" y="102"/>
                  </a:cubicBezTo>
                  <a:cubicBezTo>
                    <a:pt x="48" y="104"/>
                    <a:pt x="43" y="105"/>
                    <a:pt x="38" y="105"/>
                  </a:cubicBezTo>
                  <a:cubicBezTo>
                    <a:pt x="33" y="105"/>
                    <a:pt x="28" y="104"/>
                    <a:pt x="24" y="102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25">
              <a:extLst>
                <a:ext uri="{FF2B5EF4-FFF2-40B4-BE49-F238E27FC236}">
                  <a16:creationId xmlns:a16="http://schemas.microsoft.com/office/drawing/2014/main" id="{BB44DDD1-3950-4C71-A6FC-647B4122E0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2826" y="1055688"/>
              <a:ext cx="74613" cy="111125"/>
            </a:xfrm>
            <a:custGeom>
              <a:avLst/>
              <a:gdLst>
                <a:gd name="T0" fmla="*/ 59 w 70"/>
                <a:gd name="T1" fmla="*/ 1 h 105"/>
                <a:gd name="T2" fmla="*/ 65 w 70"/>
                <a:gd name="T3" fmla="*/ 2 h 105"/>
                <a:gd name="T4" fmla="*/ 70 w 70"/>
                <a:gd name="T5" fmla="*/ 3 h 105"/>
                <a:gd name="T6" fmla="*/ 61 w 70"/>
                <a:gd name="T7" fmla="*/ 27 h 105"/>
                <a:gd name="T8" fmla="*/ 58 w 70"/>
                <a:gd name="T9" fmla="*/ 25 h 105"/>
                <a:gd name="T10" fmla="*/ 54 w 70"/>
                <a:gd name="T11" fmla="*/ 25 h 105"/>
                <a:gd name="T12" fmla="*/ 49 w 70"/>
                <a:gd name="T13" fmla="*/ 24 h 105"/>
                <a:gd name="T14" fmla="*/ 39 w 70"/>
                <a:gd name="T15" fmla="*/ 26 h 105"/>
                <a:gd name="T16" fmla="*/ 32 w 70"/>
                <a:gd name="T17" fmla="*/ 31 h 105"/>
                <a:gd name="T18" fmla="*/ 26 w 70"/>
                <a:gd name="T19" fmla="*/ 38 h 105"/>
                <a:gd name="T20" fmla="*/ 26 w 70"/>
                <a:gd name="T21" fmla="*/ 105 h 105"/>
                <a:gd name="T22" fmla="*/ 0 w 70"/>
                <a:gd name="T23" fmla="*/ 105 h 105"/>
                <a:gd name="T24" fmla="*/ 0 w 70"/>
                <a:gd name="T25" fmla="*/ 3 h 105"/>
                <a:gd name="T26" fmla="*/ 25 w 70"/>
                <a:gd name="T27" fmla="*/ 3 h 105"/>
                <a:gd name="T28" fmla="*/ 25 w 70"/>
                <a:gd name="T29" fmla="*/ 18 h 105"/>
                <a:gd name="T30" fmla="*/ 32 w 70"/>
                <a:gd name="T31" fmla="*/ 9 h 105"/>
                <a:gd name="T32" fmla="*/ 40 w 70"/>
                <a:gd name="T33" fmla="*/ 3 h 105"/>
                <a:gd name="T34" fmla="*/ 53 w 70"/>
                <a:gd name="T35" fmla="*/ 0 h 105"/>
                <a:gd name="T36" fmla="*/ 59 w 70"/>
                <a:gd name="T37" fmla="*/ 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0" h="105">
                  <a:moveTo>
                    <a:pt x="59" y="1"/>
                  </a:moveTo>
                  <a:cubicBezTo>
                    <a:pt x="62" y="1"/>
                    <a:pt x="63" y="1"/>
                    <a:pt x="65" y="2"/>
                  </a:cubicBezTo>
                  <a:cubicBezTo>
                    <a:pt x="67" y="2"/>
                    <a:pt x="69" y="3"/>
                    <a:pt x="70" y="3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0" y="26"/>
                    <a:pt x="59" y="26"/>
                    <a:pt x="58" y="25"/>
                  </a:cubicBezTo>
                  <a:cubicBezTo>
                    <a:pt x="57" y="25"/>
                    <a:pt x="56" y="25"/>
                    <a:pt x="54" y="25"/>
                  </a:cubicBezTo>
                  <a:cubicBezTo>
                    <a:pt x="53" y="24"/>
                    <a:pt x="51" y="24"/>
                    <a:pt x="49" y="24"/>
                  </a:cubicBezTo>
                  <a:cubicBezTo>
                    <a:pt x="45" y="24"/>
                    <a:pt x="42" y="25"/>
                    <a:pt x="39" y="26"/>
                  </a:cubicBezTo>
                  <a:cubicBezTo>
                    <a:pt x="36" y="28"/>
                    <a:pt x="33" y="29"/>
                    <a:pt x="32" y="31"/>
                  </a:cubicBezTo>
                  <a:cubicBezTo>
                    <a:pt x="29" y="33"/>
                    <a:pt x="27" y="36"/>
                    <a:pt x="26" y="38"/>
                  </a:cubicBezTo>
                  <a:cubicBezTo>
                    <a:pt x="26" y="105"/>
                    <a:pt x="26" y="105"/>
                    <a:pt x="26" y="105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7" y="14"/>
                    <a:pt x="29" y="11"/>
                    <a:pt x="32" y="9"/>
                  </a:cubicBezTo>
                  <a:cubicBezTo>
                    <a:pt x="34" y="7"/>
                    <a:pt x="37" y="5"/>
                    <a:pt x="40" y="3"/>
                  </a:cubicBezTo>
                  <a:cubicBezTo>
                    <a:pt x="44" y="1"/>
                    <a:pt x="48" y="0"/>
                    <a:pt x="53" y="0"/>
                  </a:cubicBezTo>
                  <a:cubicBezTo>
                    <a:pt x="55" y="0"/>
                    <a:pt x="57" y="0"/>
                    <a:pt x="59" y="1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26">
              <a:extLst>
                <a:ext uri="{FF2B5EF4-FFF2-40B4-BE49-F238E27FC236}">
                  <a16:creationId xmlns:a16="http://schemas.microsoft.com/office/drawing/2014/main" id="{B2C90030-8520-4F4B-AFF3-BE6420760C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94113" y="1055688"/>
              <a:ext cx="111125" cy="114300"/>
            </a:xfrm>
            <a:custGeom>
              <a:avLst/>
              <a:gdLst>
                <a:gd name="T0" fmla="*/ 72 w 104"/>
                <a:gd name="T1" fmla="*/ 4 h 108"/>
                <a:gd name="T2" fmla="*/ 88 w 104"/>
                <a:gd name="T3" fmla="*/ 15 h 108"/>
                <a:gd name="T4" fmla="*/ 99 w 104"/>
                <a:gd name="T5" fmla="*/ 32 h 108"/>
                <a:gd name="T6" fmla="*/ 104 w 104"/>
                <a:gd name="T7" fmla="*/ 54 h 108"/>
                <a:gd name="T8" fmla="*/ 104 w 104"/>
                <a:gd name="T9" fmla="*/ 58 h 108"/>
                <a:gd name="T10" fmla="*/ 103 w 104"/>
                <a:gd name="T11" fmla="*/ 63 h 108"/>
                <a:gd name="T12" fmla="*/ 27 w 104"/>
                <a:gd name="T13" fmla="*/ 63 h 108"/>
                <a:gd name="T14" fmla="*/ 30 w 104"/>
                <a:gd name="T15" fmla="*/ 70 h 108"/>
                <a:gd name="T16" fmla="*/ 36 w 104"/>
                <a:gd name="T17" fmla="*/ 77 h 108"/>
                <a:gd name="T18" fmla="*/ 44 w 104"/>
                <a:gd name="T19" fmla="*/ 82 h 108"/>
                <a:gd name="T20" fmla="*/ 55 w 104"/>
                <a:gd name="T21" fmla="*/ 84 h 108"/>
                <a:gd name="T22" fmla="*/ 67 w 104"/>
                <a:gd name="T23" fmla="*/ 82 h 108"/>
                <a:gd name="T24" fmla="*/ 76 w 104"/>
                <a:gd name="T25" fmla="*/ 79 h 108"/>
                <a:gd name="T26" fmla="*/ 84 w 104"/>
                <a:gd name="T27" fmla="*/ 74 h 108"/>
                <a:gd name="T28" fmla="*/ 97 w 104"/>
                <a:gd name="T29" fmla="*/ 93 h 108"/>
                <a:gd name="T30" fmla="*/ 85 w 104"/>
                <a:gd name="T31" fmla="*/ 101 h 108"/>
                <a:gd name="T32" fmla="*/ 72 w 104"/>
                <a:gd name="T33" fmla="*/ 106 h 108"/>
                <a:gd name="T34" fmla="*/ 55 w 104"/>
                <a:gd name="T35" fmla="*/ 108 h 108"/>
                <a:gd name="T36" fmla="*/ 34 w 104"/>
                <a:gd name="T37" fmla="*/ 104 h 108"/>
                <a:gd name="T38" fmla="*/ 16 w 104"/>
                <a:gd name="T39" fmla="*/ 92 h 108"/>
                <a:gd name="T40" fmla="*/ 4 w 104"/>
                <a:gd name="T41" fmla="*/ 75 h 108"/>
                <a:gd name="T42" fmla="*/ 0 w 104"/>
                <a:gd name="T43" fmla="*/ 54 h 108"/>
                <a:gd name="T44" fmla="*/ 4 w 104"/>
                <a:gd name="T45" fmla="*/ 33 h 108"/>
                <a:gd name="T46" fmla="*/ 15 w 104"/>
                <a:gd name="T47" fmla="*/ 16 h 108"/>
                <a:gd name="T48" fmla="*/ 31 w 104"/>
                <a:gd name="T49" fmla="*/ 4 h 108"/>
                <a:gd name="T50" fmla="*/ 52 w 104"/>
                <a:gd name="T51" fmla="*/ 0 h 108"/>
                <a:gd name="T52" fmla="*/ 72 w 104"/>
                <a:gd name="T53" fmla="*/ 4 h 108"/>
                <a:gd name="T54" fmla="*/ 78 w 104"/>
                <a:gd name="T55" fmla="*/ 44 h 108"/>
                <a:gd name="T56" fmla="*/ 76 w 104"/>
                <a:gd name="T57" fmla="*/ 38 h 108"/>
                <a:gd name="T58" fmla="*/ 71 w 104"/>
                <a:gd name="T59" fmla="*/ 31 h 108"/>
                <a:gd name="T60" fmla="*/ 63 w 104"/>
                <a:gd name="T61" fmla="*/ 26 h 108"/>
                <a:gd name="T62" fmla="*/ 52 w 104"/>
                <a:gd name="T63" fmla="*/ 24 h 108"/>
                <a:gd name="T64" fmla="*/ 41 w 104"/>
                <a:gd name="T65" fmla="*/ 26 h 108"/>
                <a:gd name="T66" fmla="*/ 33 w 104"/>
                <a:gd name="T67" fmla="*/ 31 h 108"/>
                <a:gd name="T68" fmla="*/ 29 w 104"/>
                <a:gd name="T69" fmla="*/ 37 h 108"/>
                <a:gd name="T70" fmla="*/ 27 w 104"/>
                <a:gd name="T71" fmla="*/ 44 h 108"/>
                <a:gd name="T72" fmla="*/ 78 w 104"/>
                <a:gd name="T73" fmla="*/ 4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4" h="108">
                  <a:moveTo>
                    <a:pt x="72" y="4"/>
                  </a:moveTo>
                  <a:cubicBezTo>
                    <a:pt x="78" y="7"/>
                    <a:pt x="84" y="10"/>
                    <a:pt x="88" y="15"/>
                  </a:cubicBezTo>
                  <a:cubicBezTo>
                    <a:pt x="93" y="20"/>
                    <a:pt x="97" y="25"/>
                    <a:pt x="99" y="32"/>
                  </a:cubicBezTo>
                  <a:cubicBezTo>
                    <a:pt x="102" y="38"/>
                    <a:pt x="104" y="46"/>
                    <a:pt x="104" y="54"/>
                  </a:cubicBezTo>
                  <a:cubicBezTo>
                    <a:pt x="104" y="55"/>
                    <a:pt x="104" y="56"/>
                    <a:pt x="104" y="58"/>
                  </a:cubicBezTo>
                  <a:cubicBezTo>
                    <a:pt x="104" y="59"/>
                    <a:pt x="103" y="61"/>
                    <a:pt x="103" y="63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7" y="66"/>
                    <a:pt x="28" y="68"/>
                    <a:pt x="30" y="70"/>
                  </a:cubicBezTo>
                  <a:cubicBezTo>
                    <a:pt x="31" y="73"/>
                    <a:pt x="33" y="75"/>
                    <a:pt x="36" y="77"/>
                  </a:cubicBezTo>
                  <a:cubicBezTo>
                    <a:pt x="38" y="79"/>
                    <a:pt x="41" y="81"/>
                    <a:pt x="44" y="82"/>
                  </a:cubicBezTo>
                  <a:cubicBezTo>
                    <a:pt x="48" y="83"/>
                    <a:pt x="51" y="84"/>
                    <a:pt x="55" y="84"/>
                  </a:cubicBezTo>
                  <a:cubicBezTo>
                    <a:pt x="60" y="84"/>
                    <a:pt x="64" y="84"/>
                    <a:pt x="67" y="82"/>
                  </a:cubicBezTo>
                  <a:cubicBezTo>
                    <a:pt x="71" y="81"/>
                    <a:pt x="74" y="80"/>
                    <a:pt x="76" y="79"/>
                  </a:cubicBezTo>
                  <a:cubicBezTo>
                    <a:pt x="79" y="77"/>
                    <a:pt x="82" y="76"/>
                    <a:pt x="84" y="74"/>
                  </a:cubicBezTo>
                  <a:cubicBezTo>
                    <a:pt x="97" y="93"/>
                    <a:pt x="97" y="93"/>
                    <a:pt x="97" y="93"/>
                  </a:cubicBezTo>
                  <a:cubicBezTo>
                    <a:pt x="93" y="96"/>
                    <a:pt x="90" y="98"/>
                    <a:pt x="85" y="101"/>
                  </a:cubicBezTo>
                  <a:cubicBezTo>
                    <a:pt x="82" y="102"/>
                    <a:pt x="77" y="104"/>
                    <a:pt x="72" y="106"/>
                  </a:cubicBezTo>
                  <a:cubicBezTo>
                    <a:pt x="67" y="107"/>
                    <a:pt x="62" y="108"/>
                    <a:pt x="55" y="108"/>
                  </a:cubicBezTo>
                  <a:cubicBezTo>
                    <a:pt x="48" y="108"/>
                    <a:pt x="40" y="106"/>
                    <a:pt x="34" y="104"/>
                  </a:cubicBezTo>
                  <a:cubicBezTo>
                    <a:pt x="27" y="101"/>
                    <a:pt x="21" y="97"/>
                    <a:pt x="16" y="92"/>
                  </a:cubicBezTo>
                  <a:cubicBezTo>
                    <a:pt x="11" y="87"/>
                    <a:pt x="7" y="82"/>
                    <a:pt x="4" y="75"/>
                  </a:cubicBezTo>
                  <a:cubicBezTo>
                    <a:pt x="2" y="69"/>
                    <a:pt x="0" y="61"/>
                    <a:pt x="0" y="54"/>
                  </a:cubicBezTo>
                  <a:cubicBezTo>
                    <a:pt x="0" y="46"/>
                    <a:pt x="2" y="39"/>
                    <a:pt x="4" y="33"/>
                  </a:cubicBezTo>
                  <a:cubicBezTo>
                    <a:pt x="7" y="26"/>
                    <a:pt x="10" y="21"/>
                    <a:pt x="15" y="16"/>
                  </a:cubicBezTo>
                  <a:cubicBezTo>
                    <a:pt x="19" y="11"/>
                    <a:pt x="25" y="7"/>
                    <a:pt x="31" y="4"/>
                  </a:cubicBezTo>
                  <a:cubicBezTo>
                    <a:pt x="38" y="1"/>
                    <a:pt x="44" y="0"/>
                    <a:pt x="52" y="0"/>
                  </a:cubicBezTo>
                  <a:cubicBezTo>
                    <a:pt x="59" y="0"/>
                    <a:pt x="66" y="1"/>
                    <a:pt x="72" y="4"/>
                  </a:cubicBezTo>
                  <a:close/>
                  <a:moveTo>
                    <a:pt x="78" y="44"/>
                  </a:moveTo>
                  <a:cubicBezTo>
                    <a:pt x="77" y="42"/>
                    <a:pt x="77" y="40"/>
                    <a:pt x="76" y="38"/>
                  </a:cubicBezTo>
                  <a:cubicBezTo>
                    <a:pt x="75" y="35"/>
                    <a:pt x="73" y="33"/>
                    <a:pt x="71" y="31"/>
                  </a:cubicBezTo>
                  <a:cubicBezTo>
                    <a:pt x="69" y="29"/>
                    <a:pt x="66" y="27"/>
                    <a:pt x="63" y="26"/>
                  </a:cubicBezTo>
                  <a:cubicBezTo>
                    <a:pt x="60" y="24"/>
                    <a:pt x="56" y="24"/>
                    <a:pt x="52" y="24"/>
                  </a:cubicBezTo>
                  <a:cubicBezTo>
                    <a:pt x="48" y="24"/>
                    <a:pt x="44" y="24"/>
                    <a:pt x="41" y="26"/>
                  </a:cubicBezTo>
                  <a:cubicBezTo>
                    <a:pt x="38" y="27"/>
                    <a:pt x="35" y="29"/>
                    <a:pt x="33" y="31"/>
                  </a:cubicBezTo>
                  <a:cubicBezTo>
                    <a:pt x="31" y="33"/>
                    <a:pt x="30" y="35"/>
                    <a:pt x="29" y="37"/>
                  </a:cubicBezTo>
                  <a:cubicBezTo>
                    <a:pt x="28" y="40"/>
                    <a:pt x="27" y="42"/>
                    <a:pt x="27" y="44"/>
                  </a:cubicBezTo>
                  <a:lnTo>
                    <a:pt x="78" y="44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27">
              <a:extLst>
                <a:ext uri="{FF2B5EF4-FFF2-40B4-BE49-F238E27FC236}">
                  <a16:creationId xmlns:a16="http://schemas.microsoft.com/office/drawing/2014/main" id="{50988FCC-C277-48E2-B04E-7FB14BDD10B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30638" y="1055688"/>
              <a:ext cx="100013" cy="114300"/>
            </a:xfrm>
            <a:custGeom>
              <a:avLst/>
              <a:gdLst>
                <a:gd name="T0" fmla="*/ 83 w 95"/>
                <a:gd name="T1" fmla="*/ 10 h 108"/>
                <a:gd name="T2" fmla="*/ 95 w 95"/>
                <a:gd name="T3" fmla="*/ 38 h 108"/>
                <a:gd name="T4" fmla="*/ 95 w 95"/>
                <a:gd name="T5" fmla="*/ 105 h 108"/>
                <a:gd name="T6" fmla="*/ 71 w 95"/>
                <a:gd name="T7" fmla="*/ 105 h 108"/>
                <a:gd name="T8" fmla="*/ 71 w 95"/>
                <a:gd name="T9" fmla="*/ 92 h 108"/>
                <a:gd name="T10" fmla="*/ 63 w 95"/>
                <a:gd name="T11" fmla="*/ 100 h 108"/>
                <a:gd name="T12" fmla="*/ 52 w 95"/>
                <a:gd name="T13" fmla="*/ 106 h 108"/>
                <a:gd name="T14" fmla="*/ 37 w 95"/>
                <a:gd name="T15" fmla="*/ 108 h 108"/>
                <a:gd name="T16" fmla="*/ 23 w 95"/>
                <a:gd name="T17" fmla="*/ 106 h 108"/>
                <a:gd name="T18" fmla="*/ 11 w 95"/>
                <a:gd name="T19" fmla="*/ 99 h 108"/>
                <a:gd name="T20" fmla="*/ 3 w 95"/>
                <a:gd name="T21" fmla="*/ 88 h 108"/>
                <a:gd name="T22" fmla="*/ 0 w 95"/>
                <a:gd name="T23" fmla="*/ 73 h 108"/>
                <a:gd name="T24" fmla="*/ 3 w 95"/>
                <a:gd name="T25" fmla="*/ 60 h 108"/>
                <a:gd name="T26" fmla="*/ 12 w 95"/>
                <a:gd name="T27" fmla="*/ 49 h 108"/>
                <a:gd name="T28" fmla="*/ 25 w 95"/>
                <a:gd name="T29" fmla="*/ 42 h 108"/>
                <a:gd name="T30" fmla="*/ 40 w 95"/>
                <a:gd name="T31" fmla="*/ 39 h 108"/>
                <a:gd name="T32" fmla="*/ 53 w 95"/>
                <a:gd name="T33" fmla="*/ 41 h 108"/>
                <a:gd name="T34" fmla="*/ 62 w 95"/>
                <a:gd name="T35" fmla="*/ 43 h 108"/>
                <a:gd name="T36" fmla="*/ 69 w 95"/>
                <a:gd name="T37" fmla="*/ 47 h 108"/>
                <a:gd name="T38" fmla="*/ 69 w 95"/>
                <a:gd name="T39" fmla="*/ 41 h 108"/>
                <a:gd name="T40" fmla="*/ 67 w 95"/>
                <a:gd name="T41" fmla="*/ 33 h 108"/>
                <a:gd name="T42" fmla="*/ 61 w 95"/>
                <a:gd name="T43" fmla="*/ 27 h 108"/>
                <a:gd name="T44" fmla="*/ 54 w 95"/>
                <a:gd name="T45" fmla="*/ 24 h 108"/>
                <a:gd name="T46" fmla="*/ 47 w 95"/>
                <a:gd name="T47" fmla="*/ 23 h 108"/>
                <a:gd name="T48" fmla="*/ 36 w 95"/>
                <a:gd name="T49" fmla="*/ 24 h 108"/>
                <a:gd name="T50" fmla="*/ 26 w 95"/>
                <a:gd name="T51" fmla="*/ 27 h 108"/>
                <a:gd name="T52" fmla="*/ 16 w 95"/>
                <a:gd name="T53" fmla="*/ 31 h 108"/>
                <a:gd name="T54" fmla="*/ 8 w 95"/>
                <a:gd name="T55" fmla="*/ 9 h 108"/>
                <a:gd name="T56" fmla="*/ 20 w 95"/>
                <a:gd name="T57" fmla="*/ 5 h 108"/>
                <a:gd name="T58" fmla="*/ 33 w 95"/>
                <a:gd name="T59" fmla="*/ 1 h 108"/>
                <a:gd name="T60" fmla="*/ 48 w 95"/>
                <a:gd name="T61" fmla="*/ 0 h 108"/>
                <a:gd name="T62" fmla="*/ 83 w 95"/>
                <a:gd name="T63" fmla="*/ 10 h 108"/>
                <a:gd name="T64" fmla="*/ 55 w 95"/>
                <a:gd name="T65" fmla="*/ 84 h 108"/>
                <a:gd name="T66" fmla="*/ 63 w 95"/>
                <a:gd name="T67" fmla="*/ 80 h 108"/>
                <a:gd name="T68" fmla="*/ 69 w 95"/>
                <a:gd name="T69" fmla="*/ 74 h 108"/>
                <a:gd name="T70" fmla="*/ 69 w 95"/>
                <a:gd name="T71" fmla="*/ 64 h 108"/>
                <a:gd name="T72" fmla="*/ 62 w 95"/>
                <a:gd name="T73" fmla="*/ 61 h 108"/>
                <a:gd name="T74" fmla="*/ 55 w 95"/>
                <a:gd name="T75" fmla="*/ 59 h 108"/>
                <a:gd name="T76" fmla="*/ 45 w 95"/>
                <a:gd name="T77" fmla="*/ 59 h 108"/>
                <a:gd name="T78" fmla="*/ 39 w 95"/>
                <a:gd name="T79" fmla="*/ 59 h 108"/>
                <a:gd name="T80" fmla="*/ 33 w 95"/>
                <a:gd name="T81" fmla="*/ 62 h 108"/>
                <a:gd name="T82" fmla="*/ 28 w 95"/>
                <a:gd name="T83" fmla="*/ 66 h 108"/>
                <a:gd name="T84" fmla="*/ 26 w 95"/>
                <a:gd name="T85" fmla="*/ 73 h 108"/>
                <a:gd name="T86" fmla="*/ 28 w 95"/>
                <a:gd name="T87" fmla="*/ 80 h 108"/>
                <a:gd name="T88" fmla="*/ 33 w 95"/>
                <a:gd name="T89" fmla="*/ 84 h 108"/>
                <a:gd name="T90" fmla="*/ 39 w 95"/>
                <a:gd name="T91" fmla="*/ 86 h 108"/>
                <a:gd name="T92" fmla="*/ 45 w 95"/>
                <a:gd name="T93" fmla="*/ 86 h 108"/>
                <a:gd name="T94" fmla="*/ 55 w 95"/>
                <a:gd name="T95" fmla="*/ 8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5" h="108">
                  <a:moveTo>
                    <a:pt x="83" y="10"/>
                  </a:moveTo>
                  <a:cubicBezTo>
                    <a:pt x="91" y="17"/>
                    <a:pt x="95" y="27"/>
                    <a:pt x="95" y="38"/>
                  </a:cubicBezTo>
                  <a:cubicBezTo>
                    <a:pt x="95" y="105"/>
                    <a:pt x="95" y="105"/>
                    <a:pt x="95" y="105"/>
                  </a:cubicBezTo>
                  <a:cubicBezTo>
                    <a:pt x="71" y="105"/>
                    <a:pt x="71" y="105"/>
                    <a:pt x="71" y="105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9" y="95"/>
                    <a:pt x="66" y="98"/>
                    <a:pt x="63" y="100"/>
                  </a:cubicBezTo>
                  <a:cubicBezTo>
                    <a:pt x="60" y="102"/>
                    <a:pt x="56" y="104"/>
                    <a:pt x="52" y="106"/>
                  </a:cubicBezTo>
                  <a:cubicBezTo>
                    <a:pt x="48" y="107"/>
                    <a:pt x="43" y="108"/>
                    <a:pt x="37" y="108"/>
                  </a:cubicBezTo>
                  <a:cubicBezTo>
                    <a:pt x="32" y="108"/>
                    <a:pt x="28" y="107"/>
                    <a:pt x="23" y="106"/>
                  </a:cubicBezTo>
                  <a:cubicBezTo>
                    <a:pt x="19" y="104"/>
                    <a:pt x="15" y="102"/>
                    <a:pt x="11" y="99"/>
                  </a:cubicBezTo>
                  <a:cubicBezTo>
                    <a:pt x="8" y="96"/>
                    <a:pt x="5" y="92"/>
                    <a:pt x="3" y="88"/>
                  </a:cubicBezTo>
                  <a:cubicBezTo>
                    <a:pt x="1" y="84"/>
                    <a:pt x="0" y="79"/>
                    <a:pt x="0" y="73"/>
                  </a:cubicBezTo>
                  <a:cubicBezTo>
                    <a:pt x="0" y="69"/>
                    <a:pt x="1" y="64"/>
                    <a:pt x="3" y="60"/>
                  </a:cubicBezTo>
                  <a:cubicBezTo>
                    <a:pt x="5" y="56"/>
                    <a:pt x="8" y="52"/>
                    <a:pt x="12" y="49"/>
                  </a:cubicBezTo>
                  <a:cubicBezTo>
                    <a:pt x="15" y="46"/>
                    <a:pt x="20" y="44"/>
                    <a:pt x="25" y="42"/>
                  </a:cubicBezTo>
                  <a:cubicBezTo>
                    <a:pt x="29" y="40"/>
                    <a:pt x="35" y="39"/>
                    <a:pt x="40" y="39"/>
                  </a:cubicBezTo>
                  <a:cubicBezTo>
                    <a:pt x="45" y="39"/>
                    <a:pt x="49" y="40"/>
                    <a:pt x="53" y="41"/>
                  </a:cubicBezTo>
                  <a:cubicBezTo>
                    <a:pt x="56" y="41"/>
                    <a:pt x="59" y="42"/>
                    <a:pt x="62" y="43"/>
                  </a:cubicBezTo>
                  <a:cubicBezTo>
                    <a:pt x="64" y="44"/>
                    <a:pt x="67" y="45"/>
                    <a:pt x="69" y="47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38"/>
                    <a:pt x="68" y="35"/>
                    <a:pt x="67" y="33"/>
                  </a:cubicBezTo>
                  <a:cubicBezTo>
                    <a:pt x="65" y="30"/>
                    <a:pt x="63" y="28"/>
                    <a:pt x="61" y="27"/>
                  </a:cubicBezTo>
                  <a:cubicBezTo>
                    <a:pt x="59" y="26"/>
                    <a:pt x="57" y="25"/>
                    <a:pt x="54" y="24"/>
                  </a:cubicBezTo>
                  <a:cubicBezTo>
                    <a:pt x="52" y="23"/>
                    <a:pt x="49" y="23"/>
                    <a:pt x="47" y="23"/>
                  </a:cubicBezTo>
                  <a:cubicBezTo>
                    <a:pt x="43" y="23"/>
                    <a:pt x="39" y="24"/>
                    <a:pt x="36" y="24"/>
                  </a:cubicBezTo>
                  <a:cubicBezTo>
                    <a:pt x="32" y="25"/>
                    <a:pt x="29" y="26"/>
                    <a:pt x="26" y="27"/>
                  </a:cubicBezTo>
                  <a:cubicBezTo>
                    <a:pt x="22" y="28"/>
                    <a:pt x="19" y="29"/>
                    <a:pt x="16" y="31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1" y="8"/>
                    <a:pt x="15" y="6"/>
                    <a:pt x="20" y="5"/>
                  </a:cubicBezTo>
                  <a:cubicBezTo>
                    <a:pt x="23" y="3"/>
                    <a:pt x="28" y="2"/>
                    <a:pt x="33" y="1"/>
                  </a:cubicBezTo>
                  <a:cubicBezTo>
                    <a:pt x="38" y="1"/>
                    <a:pt x="43" y="0"/>
                    <a:pt x="48" y="0"/>
                  </a:cubicBezTo>
                  <a:cubicBezTo>
                    <a:pt x="63" y="0"/>
                    <a:pt x="74" y="3"/>
                    <a:pt x="83" y="10"/>
                  </a:cubicBezTo>
                  <a:close/>
                  <a:moveTo>
                    <a:pt x="55" y="84"/>
                  </a:moveTo>
                  <a:cubicBezTo>
                    <a:pt x="58" y="83"/>
                    <a:pt x="61" y="82"/>
                    <a:pt x="63" y="80"/>
                  </a:cubicBezTo>
                  <a:cubicBezTo>
                    <a:pt x="65" y="78"/>
                    <a:pt x="67" y="76"/>
                    <a:pt x="69" y="7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7" y="63"/>
                    <a:pt x="65" y="62"/>
                    <a:pt x="62" y="61"/>
                  </a:cubicBezTo>
                  <a:cubicBezTo>
                    <a:pt x="60" y="60"/>
                    <a:pt x="58" y="60"/>
                    <a:pt x="55" y="59"/>
                  </a:cubicBezTo>
                  <a:cubicBezTo>
                    <a:pt x="52" y="59"/>
                    <a:pt x="49" y="59"/>
                    <a:pt x="45" y="59"/>
                  </a:cubicBezTo>
                  <a:cubicBezTo>
                    <a:pt x="43" y="59"/>
                    <a:pt x="41" y="59"/>
                    <a:pt x="39" y="59"/>
                  </a:cubicBezTo>
                  <a:cubicBezTo>
                    <a:pt x="37" y="60"/>
                    <a:pt x="35" y="61"/>
                    <a:pt x="33" y="62"/>
                  </a:cubicBezTo>
                  <a:cubicBezTo>
                    <a:pt x="31" y="63"/>
                    <a:pt x="29" y="64"/>
                    <a:pt x="28" y="66"/>
                  </a:cubicBezTo>
                  <a:cubicBezTo>
                    <a:pt x="27" y="68"/>
                    <a:pt x="26" y="70"/>
                    <a:pt x="26" y="73"/>
                  </a:cubicBezTo>
                  <a:cubicBezTo>
                    <a:pt x="26" y="76"/>
                    <a:pt x="27" y="78"/>
                    <a:pt x="28" y="80"/>
                  </a:cubicBezTo>
                  <a:cubicBezTo>
                    <a:pt x="29" y="81"/>
                    <a:pt x="31" y="83"/>
                    <a:pt x="33" y="84"/>
                  </a:cubicBezTo>
                  <a:cubicBezTo>
                    <a:pt x="35" y="85"/>
                    <a:pt x="37" y="85"/>
                    <a:pt x="39" y="86"/>
                  </a:cubicBezTo>
                  <a:cubicBezTo>
                    <a:pt x="41" y="86"/>
                    <a:pt x="43" y="86"/>
                    <a:pt x="45" y="86"/>
                  </a:cubicBezTo>
                  <a:cubicBezTo>
                    <a:pt x="49" y="86"/>
                    <a:pt x="52" y="86"/>
                    <a:pt x="55" y="84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28">
              <a:extLst>
                <a:ext uri="{FF2B5EF4-FFF2-40B4-BE49-F238E27FC236}">
                  <a16:creationId xmlns:a16="http://schemas.microsoft.com/office/drawing/2014/main" id="{1D999085-7E95-4A15-82FA-6AD6D0AA56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60813" y="1055688"/>
              <a:ext cx="96838" cy="114300"/>
            </a:xfrm>
            <a:custGeom>
              <a:avLst/>
              <a:gdLst>
                <a:gd name="T0" fmla="*/ 15 w 91"/>
                <a:gd name="T1" fmla="*/ 70 h 108"/>
                <a:gd name="T2" fmla="*/ 24 w 91"/>
                <a:gd name="T3" fmla="*/ 78 h 108"/>
                <a:gd name="T4" fmla="*/ 33 w 91"/>
                <a:gd name="T5" fmla="*/ 83 h 108"/>
                <a:gd name="T6" fmla="*/ 46 w 91"/>
                <a:gd name="T7" fmla="*/ 85 h 108"/>
                <a:gd name="T8" fmla="*/ 59 w 91"/>
                <a:gd name="T9" fmla="*/ 83 h 108"/>
                <a:gd name="T10" fmla="*/ 65 w 91"/>
                <a:gd name="T11" fmla="*/ 76 h 108"/>
                <a:gd name="T12" fmla="*/ 61 w 91"/>
                <a:gd name="T13" fmla="*/ 69 h 108"/>
                <a:gd name="T14" fmla="*/ 45 w 91"/>
                <a:gd name="T15" fmla="*/ 65 h 108"/>
                <a:gd name="T16" fmla="*/ 30 w 91"/>
                <a:gd name="T17" fmla="*/ 60 h 108"/>
                <a:gd name="T18" fmla="*/ 18 w 91"/>
                <a:gd name="T19" fmla="*/ 54 h 108"/>
                <a:gd name="T20" fmla="*/ 10 w 91"/>
                <a:gd name="T21" fmla="*/ 45 h 108"/>
                <a:gd name="T22" fmla="*/ 7 w 91"/>
                <a:gd name="T23" fmla="*/ 32 h 108"/>
                <a:gd name="T24" fmla="*/ 9 w 91"/>
                <a:gd name="T25" fmla="*/ 20 h 108"/>
                <a:gd name="T26" fmla="*/ 18 w 91"/>
                <a:gd name="T27" fmla="*/ 10 h 108"/>
                <a:gd name="T28" fmla="*/ 32 w 91"/>
                <a:gd name="T29" fmla="*/ 3 h 108"/>
                <a:gd name="T30" fmla="*/ 51 w 91"/>
                <a:gd name="T31" fmla="*/ 0 h 108"/>
                <a:gd name="T32" fmla="*/ 67 w 91"/>
                <a:gd name="T33" fmla="*/ 2 h 108"/>
                <a:gd name="T34" fmla="*/ 79 w 91"/>
                <a:gd name="T35" fmla="*/ 6 h 108"/>
                <a:gd name="T36" fmla="*/ 89 w 91"/>
                <a:gd name="T37" fmla="*/ 13 h 108"/>
                <a:gd name="T38" fmla="*/ 76 w 91"/>
                <a:gd name="T39" fmla="*/ 32 h 108"/>
                <a:gd name="T40" fmla="*/ 69 w 91"/>
                <a:gd name="T41" fmla="*/ 27 h 108"/>
                <a:gd name="T42" fmla="*/ 61 w 91"/>
                <a:gd name="T43" fmla="*/ 24 h 108"/>
                <a:gd name="T44" fmla="*/ 51 w 91"/>
                <a:gd name="T45" fmla="*/ 23 h 108"/>
                <a:gd name="T46" fmla="*/ 38 w 91"/>
                <a:gd name="T47" fmla="*/ 25 h 108"/>
                <a:gd name="T48" fmla="*/ 32 w 91"/>
                <a:gd name="T49" fmla="*/ 33 h 108"/>
                <a:gd name="T50" fmla="*/ 38 w 91"/>
                <a:gd name="T51" fmla="*/ 39 h 108"/>
                <a:gd name="T52" fmla="*/ 56 w 91"/>
                <a:gd name="T53" fmla="*/ 44 h 108"/>
                <a:gd name="T54" fmla="*/ 70 w 91"/>
                <a:gd name="T55" fmla="*/ 48 h 108"/>
                <a:gd name="T56" fmla="*/ 81 w 91"/>
                <a:gd name="T57" fmla="*/ 54 h 108"/>
                <a:gd name="T58" fmla="*/ 89 w 91"/>
                <a:gd name="T59" fmla="*/ 63 h 108"/>
                <a:gd name="T60" fmla="*/ 91 w 91"/>
                <a:gd name="T61" fmla="*/ 76 h 108"/>
                <a:gd name="T62" fmla="*/ 88 w 91"/>
                <a:gd name="T63" fmla="*/ 89 h 108"/>
                <a:gd name="T64" fmla="*/ 79 w 91"/>
                <a:gd name="T65" fmla="*/ 99 h 108"/>
                <a:gd name="T66" fmla="*/ 64 w 91"/>
                <a:gd name="T67" fmla="*/ 105 h 108"/>
                <a:gd name="T68" fmla="*/ 46 w 91"/>
                <a:gd name="T69" fmla="*/ 108 h 108"/>
                <a:gd name="T70" fmla="*/ 26 w 91"/>
                <a:gd name="T71" fmla="*/ 105 h 108"/>
                <a:gd name="T72" fmla="*/ 12 w 91"/>
                <a:gd name="T73" fmla="*/ 99 h 108"/>
                <a:gd name="T74" fmla="*/ 0 w 91"/>
                <a:gd name="T75" fmla="*/ 89 h 108"/>
                <a:gd name="T76" fmla="*/ 15 w 91"/>
                <a:gd name="T77" fmla="*/ 7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1" h="108">
                  <a:moveTo>
                    <a:pt x="15" y="70"/>
                  </a:moveTo>
                  <a:cubicBezTo>
                    <a:pt x="17" y="73"/>
                    <a:pt x="20" y="76"/>
                    <a:pt x="24" y="78"/>
                  </a:cubicBezTo>
                  <a:cubicBezTo>
                    <a:pt x="26" y="80"/>
                    <a:pt x="30" y="81"/>
                    <a:pt x="33" y="83"/>
                  </a:cubicBezTo>
                  <a:cubicBezTo>
                    <a:pt x="37" y="84"/>
                    <a:pt x="41" y="85"/>
                    <a:pt x="46" y="85"/>
                  </a:cubicBezTo>
                  <a:cubicBezTo>
                    <a:pt x="51" y="85"/>
                    <a:pt x="55" y="84"/>
                    <a:pt x="59" y="83"/>
                  </a:cubicBezTo>
                  <a:cubicBezTo>
                    <a:pt x="63" y="81"/>
                    <a:pt x="65" y="79"/>
                    <a:pt x="65" y="76"/>
                  </a:cubicBezTo>
                  <a:cubicBezTo>
                    <a:pt x="65" y="73"/>
                    <a:pt x="64" y="70"/>
                    <a:pt x="61" y="69"/>
                  </a:cubicBezTo>
                  <a:cubicBezTo>
                    <a:pt x="58" y="68"/>
                    <a:pt x="52" y="66"/>
                    <a:pt x="45" y="65"/>
                  </a:cubicBezTo>
                  <a:cubicBezTo>
                    <a:pt x="40" y="63"/>
                    <a:pt x="35" y="62"/>
                    <a:pt x="30" y="60"/>
                  </a:cubicBezTo>
                  <a:cubicBezTo>
                    <a:pt x="26" y="59"/>
                    <a:pt x="21" y="57"/>
                    <a:pt x="18" y="54"/>
                  </a:cubicBezTo>
                  <a:cubicBezTo>
                    <a:pt x="15" y="51"/>
                    <a:pt x="12" y="48"/>
                    <a:pt x="10" y="45"/>
                  </a:cubicBezTo>
                  <a:cubicBezTo>
                    <a:pt x="8" y="41"/>
                    <a:pt x="7" y="37"/>
                    <a:pt x="7" y="32"/>
                  </a:cubicBezTo>
                  <a:cubicBezTo>
                    <a:pt x="7" y="28"/>
                    <a:pt x="8" y="24"/>
                    <a:pt x="9" y="20"/>
                  </a:cubicBezTo>
                  <a:cubicBezTo>
                    <a:pt x="11" y="16"/>
                    <a:pt x="14" y="13"/>
                    <a:pt x="18" y="10"/>
                  </a:cubicBezTo>
                  <a:cubicBezTo>
                    <a:pt x="22" y="7"/>
                    <a:pt x="26" y="5"/>
                    <a:pt x="32" y="3"/>
                  </a:cubicBezTo>
                  <a:cubicBezTo>
                    <a:pt x="37" y="1"/>
                    <a:pt x="44" y="0"/>
                    <a:pt x="51" y="0"/>
                  </a:cubicBezTo>
                  <a:cubicBezTo>
                    <a:pt x="57" y="0"/>
                    <a:pt x="62" y="1"/>
                    <a:pt x="67" y="2"/>
                  </a:cubicBezTo>
                  <a:cubicBezTo>
                    <a:pt x="71" y="3"/>
                    <a:pt x="75" y="5"/>
                    <a:pt x="79" y="6"/>
                  </a:cubicBezTo>
                  <a:cubicBezTo>
                    <a:pt x="83" y="8"/>
                    <a:pt x="86" y="10"/>
                    <a:pt x="89" y="13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74" y="30"/>
                    <a:pt x="71" y="29"/>
                    <a:pt x="69" y="27"/>
                  </a:cubicBezTo>
                  <a:cubicBezTo>
                    <a:pt x="66" y="26"/>
                    <a:pt x="64" y="25"/>
                    <a:pt x="61" y="24"/>
                  </a:cubicBezTo>
                  <a:cubicBezTo>
                    <a:pt x="57" y="23"/>
                    <a:pt x="54" y="23"/>
                    <a:pt x="51" y="23"/>
                  </a:cubicBezTo>
                  <a:cubicBezTo>
                    <a:pt x="46" y="23"/>
                    <a:pt x="41" y="24"/>
                    <a:pt x="38" y="25"/>
                  </a:cubicBezTo>
                  <a:cubicBezTo>
                    <a:pt x="34" y="27"/>
                    <a:pt x="32" y="29"/>
                    <a:pt x="32" y="33"/>
                  </a:cubicBezTo>
                  <a:cubicBezTo>
                    <a:pt x="32" y="36"/>
                    <a:pt x="34" y="38"/>
                    <a:pt x="38" y="39"/>
                  </a:cubicBezTo>
                  <a:cubicBezTo>
                    <a:pt x="41" y="41"/>
                    <a:pt x="48" y="42"/>
                    <a:pt x="56" y="44"/>
                  </a:cubicBezTo>
                  <a:cubicBezTo>
                    <a:pt x="61" y="45"/>
                    <a:pt x="66" y="46"/>
                    <a:pt x="70" y="48"/>
                  </a:cubicBezTo>
                  <a:cubicBezTo>
                    <a:pt x="75" y="49"/>
                    <a:pt x="78" y="51"/>
                    <a:pt x="81" y="54"/>
                  </a:cubicBezTo>
                  <a:cubicBezTo>
                    <a:pt x="84" y="56"/>
                    <a:pt x="87" y="59"/>
                    <a:pt x="89" y="63"/>
                  </a:cubicBezTo>
                  <a:cubicBezTo>
                    <a:pt x="90" y="66"/>
                    <a:pt x="91" y="71"/>
                    <a:pt x="91" y="76"/>
                  </a:cubicBezTo>
                  <a:cubicBezTo>
                    <a:pt x="91" y="81"/>
                    <a:pt x="90" y="85"/>
                    <a:pt x="88" y="89"/>
                  </a:cubicBezTo>
                  <a:cubicBezTo>
                    <a:pt x="86" y="93"/>
                    <a:pt x="83" y="96"/>
                    <a:pt x="79" y="99"/>
                  </a:cubicBezTo>
                  <a:cubicBezTo>
                    <a:pt x="75" y="101"/>
                    <a:pt x="70" y="104"/>
                    <a:pt x="64" y="105"/>
                  </a:cubicBezTo>
                  <a:cubicBezTo>
                    <a:pt x="59" y="107"/>
                    <a:pt x="53" y="108"/>
                    <a:pt x="46" y="108"/>
                  </a:cubicBezTo>
                  <a:cubicBezTo>
                    <a:pt x="39" y="108"/>
                    <a:pt x="32" y="107"/>
                    <a:pt x="26" y="105"/>
                  </a:cubicBezTo>
                  <a:cubicBezTo>
                    <a:pt x="21" y="103"/>
                    <a:pt x="16" y="101"/>
                    <a:pt x="12" y="99"/>
                  </a:cubicBezTo>
                  <a:cubicBezTo>
                    <a:pt x="7" y="96"/>
                    <a:pt x="3" y="93"/>
                    <a:pt x="0" y="89"/>
                  </a:cubicBezTo>
                  <a:lnTo>
                    <a:pt x="15" y="70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29">
              <a:extLst>
                <a:ext uri="{FF2B5EF4-FFF2-40B4-BE49-F238E27FC236}">
                  <a16:creationId xmlns:a16="http://schemas.microsoft.com/office/drawing/2014/main" id="{9372C604-68AB-4477-AE72-677FF516C6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8288" y="1058863"/>
              <a:ext cx="125413" cy="165100"/>
            </a:xfrm>
            <a:custGeom>
              <a:avLst/>
              <a:gdLst>
                <a:gd name="T0" fmla="*/ 15 w 118"/>
                <a:gd name="T1" fmla="*/ 124 h 155"/>
                <a:gd name="T2" fmla="*/ 19 w 118"/>
                <a:gd name="T3" fmla="*/ 127 h 155"/>
                <a:gd name="T4" fmla="*/ 23 w 118"/>
                <a:gd name="T5" fmla="*/ 129 h 155"/>
                <a:gd name="T6" fmla="*/ 28 w 118"/>
                <a:gd name="T7" fmla="*/ 130 h 155"/>
                <a:gd name="T8" fmla="*/ 34 w 118"/>
                <a:gd name="T9" fmla="*/ 130 h 155"/>
                <a:gd name="T10" fmla="*/ 38 w 118"/>
                <a:gd name="T11" fmla="*/ 128 h 155"/>
                <a:gd name="T12" fmla="*/ 42 w 118"/>
                <a:gd name="T13" fmla="*/ 123 h 155"/>
                <a:gd name="T14" fmla="*/ 46 w 118"/>
                <a:gd name="T15" fmla="*/ 115 h 155"/>
                <a:gd name="T16" fmla="*/ 50 w 118"/>
                <a:gd name="T17" fmla="*/ 105 h 155"/>
                <a:gd name="T18" fmla="*/ 0 w 118"/>
                <a:gd name="T19" fmla="*/ 0 h 155"/>
                <a:gd name="T20" fmla="*/ 29 w 118"/>
                <a:gd name="T21" fmla="*/ 0 h 155"/>
                <a:gd name="T22" fmla="*/ 63 w 118"/>
                <a:gd name="T23" fmla="*/ 75 h 155"/>
                <a:gd name="T24" fmla="*/ 90 w 118"/>
                <a:gd name="T25" fmla="*/ 0 h 155"/>
                <a:gd name="T26" fmla="*/ 118 w 118"/>
                <a:gd name="T27" fmla="*/ 0 h 155"/>
                <a:gd name="T28" fmla="*/ 69 w 118"/>
                <a:gd name="T29" fmla="*/ 125 h 155"/>
                <a:gd name="T30" fmla="*/ 52 w 118"/>
                <a:gd name="T31" fmla="*/ 148 h 155"/>
                <a:gd name="T32" fmla="*/ 30 w 118"/>
                <a:gd name="T33" fmla="*/ 155 h 155"/>
                <a:gd name="T34" fmla="*/ 19 w 118"/>
                <a:gd name="T35" fmla="*/ 153 h 155"/>
                <a:gd name="T36" fmla="*/ 11 w 118"/>
                <a:gd name="T37" fmla="*/ 149 h 155"/>
                <a:gd name="T38" fmla="*/ 2 w 118"/>
                <a:gd name="T39" fmla="*/ 144 h 155"/>
                <a:gd name="T40" fmla="*/ 15 w 118"/>
                <a:gd name="T41" fmla="*/ 124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8" h="155">
                  <a:moveTo>
                    <a:pt x="15" y="124"/>
                  </a:moveTo>
                  <a:cubicBezTo>
                    <a:pt x="16" y="125"/>
                    <a:pt x="17" y="126"/>
                    <a:pt x="19" y="127"/>
                  </a:cubicBezTo>
                  <a:cubicBezTo>
                    <a:pt x="20" y="128"/>
                    <a:pt x="22" y="129"/>
                    <a:pt x="23" y="129"/>
                  </a:cubicBezTo>
                  <a:cubicBezTo>
                    <a:pt x="25" y="130"/>
                    <a:pt x="27" y="130"/>
                    <a:pt x="28" y="130"/>
                  </a:cubicBezTo>
                  <a:cubicBezTo>
                    <a:pt x="30" y="130"/>
                    <a:pt x="32" y="130"/>
                    <a:pt x="34" y="130"/>
                  </a:cubicBezTo>
                  <a:cubicBezTo>
                    <a:pt x="36" y="129"/>
                    <a:pt x="37" y="129"/>
                    <a:pt x="38" y="128"/>
                  </a:cubicBezTo>
                  <a:cubicBezTo>
                    <a:pt x="40" y="126"/>
                    <a:pt x="41" y="125"/>
                    <a:pt x="42" y="123"/>
                  </a:cubicBezTo>
                  <a:cubicBezTo>
                    <a:pt x="43" y="121"/>
                    <a:pt x="45" y="118"/>
                    <a:pt x="46" y="11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4" y="137"/>
                    <a:pt x="58" y="144"/>
                    <a:pt x="52" y="148"/>
                  </a:cubicBezTo>
                  <a:cubicBezTo>
                    <a:pt x="45" y="153"/>
                    <a:pt x="38" y="155"/>
                    <a:pt x="30" y="155"/>
                  </a:cubicBezTo>
                  <a:cubicBezTo>
                    <a:pt x="26" y="155"/>
                    <a:pt x="22" y="154"/>
                    <a:pt x="19" y="153"/>
                  </a:cubicBezTo>
                  <a:cubicBezTo>
                    <a:pt x="16" y="152"/>
                    <a:pt x="13" y="151"/>
                    <a:pt x="11" y="149"/>
                  </a:cubicBezTo>
                  <a:cubicBezTo>
                    <a:pt x="7" y="148"/>
                    <a:pt x="5" y="146"/>
                    <a:pt x="2" y="144"/>
                  </a:cubicBezTo>
                  <a:lnTo>
                    <a:pt x="15" y="124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30">
              <a:extLst>
                <a:ext uri="{FF2B5EF4-FFF2-40B4-BE49-F238E27FC236}">
                  <a16:creationId xmlns:a16="http://schemas.microsoft.com/office/drawing/2014/main" id="{74D356EF-EA71-4FE4-B96B-27938F5F22F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78313" y="1055688"/>
              <a:ext cx="100013" cy="114300"/>
            </a:xfrm>
            <a:custGeom>
              <a:avLst/>
              <a:gdLst>
                <a:gd name="T0" fmla="*/ 83 w 95"/>
                <a:gd name="T1" fmla="*/ 10 h 108"/>
                <a:gd name="T2" fmla="*/ 95 w 95"/>
                <a:gd name="T3" fmla="*/ 38 h 108"/>
                <a:gd name="T4" fmla="*/ 95 w 95"/>
                <a:gd name="T5" fmla="*/ 105 h 108"/>
                <a:gd name="T6" fmla="*/ 71 w 95"/>
                <a:gd name="T7" fmla="*/ 105 h 108"/>
                <a:gd name="T8" fmla="*/ 71 w 95"/>
                <a:gd name="T9" fmla="*/ 92 h 108"/>
                <a:gd name="T10" fmla="*/ 63 w 95"/>
                <a:gd name="T11" fmla="*/ 100 h 108"/>
                <a:gd name="T12" fmla="*/ 53 w 95"/>
                <a:gd name="T13" fmla="*/ 106 h 108"/>
                <a:gd name="T14" fmla="*/ 37 w 95"/>
                <a:gd name="T15" fmla="*/ 108 h 108"/>
                <a:gd name="T16" fmla="*/ 24 w 95"/>
                <a:gd name="T17" fmla="*/ 106 h 108"/>
                <a:gd name="T18" fmla="*/ 12 w 95"/>
                <a:gd name="T19" fmla="*/ 99 h 108"/>
                <a:gd name="T20" fmla="*/ 3 w 95"/>
                <a:gd name="T21" fmla="*/ 88 h 108"/>
                <a:gd name="T22" fmla="*/ 0 w 95"/>
                <a:gd name="T23" fmla="*/ 73 h 108"/>
                <a:gd name="T24" fmla="*/ 4 w 95"/>
                <a:gd name="T25" fmla="*/ 60 h 108"/>
                <a:gd name="T26" fmla="*/ 12 w 95"/>
                <a:gd name="T27" fmla="*/ 49 h 108"/>
                <a:gd name="T28" fmla="*/ 25 w 95"/>
                <a:gd name="T29" fmla="*/ 42 h 108"/>
                <a:gd name="T30" fmla="*/ 41 w 95"/>
                <a:gd name="T31" fmla="*/ 39 h 108"/>
                <a:gd name="T32" fmla="*/ 53 w 95"/>
                <a:gd name="T33" fmla="*/ 41 h 108"/>
                <a:gd name="T34" fmla="*/ 62 w 95"/>
                <a:gd name="T35" fmla="*/ 43 h 108"/>
                <a:gd name="T36" fmla="*/ 69 w 95"/>
                <a:gd name="T37" fmla="*/ 47 h 108"/>
                <a:gd name="T38" fmla="*/ 69 w 95"/>
                <a:gd name="T39" fmla="*/ 41 h 108"/>
                <a:gd name="T40" fmla="*/ 67 w 95"/>
                <a:gd name="T41" fmla="*/ 33 h 108"/>
                <a:gd name="T42" fmla="*/ 62 w 95"/>
                <a:gd name="T43" fmla="*/ 27 h 108"/>
                <a:gd name="T44" fmla="*/ 55 w 95"/>
                <a:gd name="T45" fmla="*/ 24 h 108"/>
                <a:gd name="T46" fmla="*/ 47 w 95"/>
                <a:gd name="T47" fmla="*/ 23 h 108"/>
                <a:gd name="T48" fmla="*/ 36 w 95"/>
                <a:gd name="T49" fmla="*/ 24 h 108"/>
                <a:gd name="T50" fmla="*/ 26 w 95"/>
                <a:gd name="T51" fmla="*/ 27 h 108"/>
                <a:gd name="T52" fmla="*/ 16 w 95"/>
                <a:gd name="T53" fmla="*/ 31 h 108"/>
                <a:gd name="T54" fmla="*/ 8 w 95"/>
                <a:gd name="T55" fmla="*/ 9 h 108"/>
                <a:gd name="T56" fmla="*/ 20 w 95"/>
                <a:gd name="T57" fmla="*/ 5 h 108"/>
                <a:gd name="T58" fmla="*/ 33 w 95"/>
                <a:gd name="T59" fmla="*/ 1 h 108"/>
                <a:gd name="T60" fmla="*/ 48 w 95"/>
                <a:gd name="T61" fmla="*/ 0 h 108"/>
                <a:gd name="T62" fmla="*/ 83 w 95"/>
                <a:gd name="T63" fmla="*/ 10 h 108"/>
                <a:gd name="T64" fmla="*/ 56 w 95"/>
                <a:gd name="T65" fmla="*/ 84 h 108"/>
                <a:gd name="T66" fmla="*/ 63 w 95"/>
                <a:gd name="T67" fmla="*/ 80 h 108"/>
                <a:gd name="T68" fmla="*/ 69 w 95"/>
                <a:gd name="T69" fmla="*/ 74 h 108"/>
                <a:gd name="T70" fmla="*/ 69 w 95"/>
                <a:gd name="T71" fmla="*/ 64 h 108"/>
                <a:gd name="T72" fmla="*/ 63 w 95"/>
                <a:gd name="T73" fmla="*/ 61 h 108"/>
                <a:gd name="T74" fmla="*/ 55 w 95"/>
                <a:gd name="T75" fmla="*/ 59 h 108"/>
                <a:gd name="T76" fmla="*/ 46 w 95"/>
                <a:gd name="T77" fmla="*/ 59 h 108"/>
                <a:gd name="T78" fmla="*/ 39 w 95"/>
                <a:gd name="T79" fmla="*/ 59 h 108"/>
                <a:gd name="T80" fmla="*/ 33 w 95"/>
                <a:gd name="T81" fmla="*/ 62 h 108"/>
                <a:gd name="T82" fmla="*/ 29 w 95"/>
                <a:gd name="T83" fmla="*/ 66 h 108"/>
                <a:gd name="T84" fmla="*/ 27 w 95"/>
                <a:gd name="T85" fmla="*/ 73 h 108"/>
                <a:gd name="T86" fmla="*/ 29 w 95"/>
                <a:gd name="T87" fmla="*/ 80 h 108"/>
                <a:gd name="T88" fmla="*/ 33 w 95"/>
                <a:gd name="T89" fmla="*/ 84 h 108"/>
                <a:gd name="T90" fmla="*/ 39 w 95"/>
                <a:gd name="T91" fmla="*/ 86 h 108"/>
                <a:gd name="T92" fmla="*/ 45 w 95"/>
                <a:gd name="T93" fmla="*/ 86 h 108"/>
                <a:gd name="T94" fmla="*/ 56 w 95"/>
                <a:gd name="T95" fmla="*/ 8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5" h="108">
                  <a:moveTo>
                    <a:pt x="83" y="10"/>
                  </a:moveTo>
                  <a:cubicBezTo>
                    <a:pt x="91" y="17"/>
                    <a:pt x="95" y="27"/>
                    <a:pt x="95" y="38"/>
                  </a:cubicBezTo>
                  <a:cubicBezTo>
                    <a:pt x="95" y="105"/>
                    <a:pt x="95" y="105"/>
                    <a:pt x="95" y="105"/>
                  </a:cubicBezTo>
                  <a:cubicBezTo>
                    <a:pt x="71" y="105"/>
                    <a:pt x="71" y="105"/>
                    <a:pt x="71" y="105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9" y="95"/>
                    <a:pt x="66" y="98"/>
                    <a:pt x="63" y="100"/>
                  </a:cubicBezTo>
                  <a:cubicBezTo>
                    <a:pt x="60" y="102"/>
                    <a:pt x="57" y="104"/>
                    <a:pt x="53" y="106"/>
                  </a:cubicBezTo>
                  <a:cubicBezTo>
                    <a:pt x="48" y="107"/>
                    <a:pt x="43" y="108"/>
                    <a:pt x="37" y="108"/>
                  </a:cubicBezTo>
                  <a:cubicBezTo>
                    <a:pt x="33" y="108"/>
                    <a:pt x="28" y="107"/>
                    <a:pt x="24" y="106"/>
                  </a:cubicBezTo>
                  <a:cubicBezTo>
                    <a:pt x="19" y="104"/>
                    <a:pt x="15" y="102"/>
                    <a:pt x="12" y="99"/>
                  </a:cubicBezTo>
                  <a:cubicBezTo>
                    <a:pt x="8" y="96"/>
                    <a:pt x="5" y="92"/>
                    <a:pt x="3" y="88"/>
                  </a:cubicBezTo>
                  <a:cubicBezTo>
                    <a:pt x="1" y="84"/>
                    <a:pt x="0" y="79"/>
                    <a:pt x="0" y="73"/>
                  </a:cubicBezTo>
                  <a:cubicBezTo>
                    <a:pt x="0" y="69"/>
                    <a:pt x="1" y="64"/>
                    <a:pt x="4" y="60"/>
                  </a:cubicBezTo>
                  <a:cubicBezTo>
                    <a:pt x="6" y="56"/>
                    <a:pt x="8" y="52"/>
                    <a:pt x="12" y="49"/>
                  </a:cubicBezTo>
                  <a:cubicBezTo>
                    <a:pt x="16" y="46"/>
                    <a:pt x="20" y="44"/>
                    <a:pt x="25" y="42"/>
                  </a:cubicBezTo>
                  <a:cubicBezTo>
                    <a:pt x="30" y="40"/>
                    <a:pt x="35" y="39"/>
                    <a:pt x="41" y="39"/>
                  </a:cubicBezTo>
                  <a:cubicBezTo>
                    <a:pt x="45" y="39"/>
                    <a:pt x="50" y="40"/>
                    <a:pt x="53" y="41"/>
                  </a:cubicBezTo>
                  <a:cubicBezTo>
                    <a:pt x="57" y="41"/>
                    <a:pt x="60" y="42"/>
                    <a:pt x="62" y="43"/>
                  </a:cubicBezTo>
                  <a:cubicBezTo>
                    <a:pt x="65" y="44"/>
                    <a:pt x="67" y="45"/>
                    <a:pt x="69" y="47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38"/>
                    <a:pt x="69" y="35"/>
                    <a:pt x="67" y="33"/>
                  </a:cubicBezTo>
                  <a:cubicBezTo>
                    <a:pt x="66" y="30"/>
                    <a:pt x="64" y="28"/>
                    <a:pt x="62" y="27"/>
                  </a:cubicBezTo>
                  <a:cubicBezTo>
                    <a:pt x="59" y="26"/>
                    <a:pt x="57" y="25"/>
                    <a:pt x="55" y="24"/>
                  </a:cubicBezTo>
                  <a:cubicBezTo>
                    <a:pt x="52" y="23"/>
                    <a:pt x="49" y="23"/>
                    <a:pt x="47" y="23"/>
                  </a:cubicBezTo>
                  <a:cubicBezTo>
                    <a:pt x="43" y="23"/>
                    <a:pt x="40" y="24"/>
                    <a:pt x="36" y="24"/>
                  </a:cubicBezTo>
                  <a:cubicBezTo>
                    <a:pt x="32" y="25"/>
                    <a:pt x="29" y="26"/>
                    <a:pt x="26" y="27"/>
                  </a:cubicBezTo>
                  <a:cubicBezTo>
                    <a:pt x="23" y="28"/>
                    <a:pt x="19" y="29"/>
                    <a:pt x="16" y="31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2" y="8"/>
                    <a:pt x="16" y="6"/>
                    <a:pt x="20" y="5"/>
                  </a:cubicBezTo>
                  <a:cubicBezTo>
                    <a:pt x="24" y="3"/>
                    <a:pt x="28" y="2"/>
                    <a:pt x="33" y="1"/>
                  </a:cubicBezTo>
                  <a:cubicBezTo>
                    <a:pt x="38" y="1"/>
                    <a:pt x="43" y="0"/>
                    <a:pt x="48" y="0"/>
                  </a:cubicBezTo>
                  <a:cubicBezTo>
                    <a:pt x="63" y="0"/>
                    <a:pt x="75" y="3"/>
                    <a:pt x="83" y="10"/>
                  </a:cubicBezTo>
                  <a:close/>
                  <a:moveTo>
                    <a:pt x="56" y="84"/>
                  </a:moveTo>
                  <a:cubicBezTo>
                    <a:pt x="59" y="83"/>
                    <a:pt x="61" y="82"/>
                    <a:pt x="63" y="80"/>
                  </a:cubicBezTo>
                  <a:cubicBezTo>
                    <a:pt x="65" y="78"/>
                    <a:pt x="68" y="76"/>
                    <a:pt x="69" y="7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7" y="63"/>
                    <a:pt x="65" y="62"/>
                    <a:pt x="63" y="61"/>
                  </a:cubicBezTo>
                  <a:cubicBezTo>
                    <a:pt x="61" y="60"/>
                    <a:pt x="58" y="60"/>
                    <a:pt x="55" y="59"/>
                  </a:cubicBezTo>
                  <a:cubicBezTo>
                    <a:pt x="53" y="59"/>
                    <a:pt x="49" y="59"/>
                    <a:pt x="46" y="59"/>
                  </a:cubicBezTo>
                  <a:cubicBezTo>
                    <a:pt x="44" y="59"/>
                    <a:pt x="42" y="59"/>
                    <a:pt x="39" y="59"/>
                  </a:cubicBezTo>
                  <a:cubicBezTo>
                    <a:pt x="37" y="60"/>
                    <a:pt x="35" y="61"/>
                    <a:pt x="33" y="62"/>
                  </a:cubicBezTo>
                  <a:cubicBezTo>
                    <a:pt x="31" y="63"/>
                    <a:pt x="30" y="64"/>
                    <a:pt x="29" y="66"/>
                  </a:cubicBezTo>
                  <a:cubicBezTo>
                    <a:pt x="27" y="68"/>
                    <a:pt x="27" y="70"/>
                    <a:pt x="27" y="73"/>
                  </a:cubicBezTo>
                  <a:cubicBezTo>
                    <a:pt x="27" y="76"/>
                    <a:pt x="27" y="78"/>
                    <a:pt x="29" y="80"/>
                  </a:cubicBezTo>
                  <a:cubicBezTo>
                    <a:pt x="30" y="81"/>
                    <a:pt x="31" y="83"/>
                    <a:pt x="33" y="84"/>
                  </a:cubicBezTo>
                  <a:cubicBezTo>
                    <a:pt x="35" y="85"/>
                    <a:pt x="37" y="85"/>
                    <a:pt x="39" y="86"/>
                  </a:cubicBezTo>
                  <a:cubicBezTo>
                    <a:pt x="41" y="86"/>
                    <a:pt x="43" y="86"/>
                    <a:pt x="45" y="86"/>
                  </a:cubicBezTo>
                  <a:cubicBezTo>
                    <a:pt x="49" y="86"/>
                    <a:pt x="53" y="86"/>
                    <a:pt x="56" y="84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26845878-6581-42E7-A4FB-876FC9F74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11663" y="1055688"/>
              <a:ext cx="103188" cy="114300"/>
            </a:xfrm>
            <a:custGeom>
              <a:avLst/>
              <a:gdLst>
                <a:gd name="T0" fmla="*/ 67 w 98"/>
                <a:gd name="T1" fmla="*/ 82 h 108"/>
                <a:gd name="T2" fmla="*/ 75 w 98"/>
                <a:gd name="T3" fmla="*/ 77 h 108"/>
                <a:gd name="T4" fmla="*/ 81 w 98"/>
                <a:gd name="T5" fmla="*/ 71 h 108"/>
                <a:gd name="T6" fmla="*/ 98 w 98"/>
                <a:gd name="T7" fmla="*/ 88 h 108"/>
                <a:gd name="T8" fmla="*/ 87 w 98"/>
                <a:gd name="T9" fmla="*/ 98 h 108"/>
                <a:gd name="T10" fmla="*/ 74 w 98"/>
                <a:gd name="T11" fmla="*/ 105 h 108"/>
                <a:gd name="T12" fmla="*/ 55 w 98"/>
                <a:gd name="T13" fmla="*/ 108 h 108"/>
                <a:gd name="T14" fmla="*/ 34 w 98"/>
                <a:gd name="T15" fmla="*/ 104 h 108"/>
                <a:gd name="T16" fmla="*/ 16 w 98"/>
                <a:gd name="T17" fmla="*/ 92 h 108"/>
                <a:gd name="T18" fmla="*/ 5 w 98"/>
                <a:gd name="T19" fmla="*/ 75 h 108"/>
                <a:gd name="T20" fmla="*/ 0 w 98"/>
                <a:gd name="T21" fmla="*/ 54 h 108"/>
                <a:gd name="T22" fmla="*/ 5 w 98"/>
                <a:gd name="T23" fmla="*/ 33 h 108"/>
                <a:gd name="T24" fmla="*/ 16 w 98"/>
                <a:gd name="T25" fmla="*/ 16 h 108"/>
                <a:gd name="T26" fmla="*/ 34 w 98"/>
                <a:gd name="T27" fmla="*/ 4 h 108"/>
                <a:gd name="T28" fmla="*/ 55 w 98"/>
                <a:gd name="T29" fmla="*/ 0 h 108"/>
                <a:gd name="T30" fmla="*/ 74 w 98"/>
                <a:gd name="T31" fmla="*/ 3 h 108"/>
                <a:gd name="T32" fmla="*/ 87 w 98"/>
                <a:gd name="T33" fmla="*/ 10 h 108"/>
                <a:gd name="T34" fmla="*/ 97 w 98"/>
                <a:gd name="T35" fmla="*/ 19 h 108"/>
                <a:gd name="T36" fmla="*/ 79 w 98"/>
                <a:gd name="T37" fmla="*/ 35 h 108"/>
                <a:gd name="T38" fmla="*/ 73 w 98"/>
                <a:gd name="T39" fmla="*/ 30 h 108"/>
                <a:gd name="T40" fmla="*/ 66 w 98"/>
                <a:gd name="T41" fmla="*/ 26 h 108"/>
                <a:gd name="T42" fmla="*/ 55 w 98"/>
                <a:gd name="T43" fmla="*/ 24 h 108"/>
                <a:gd name="T44" fmla="*/ 43 w 98"/>
                <a:gd name="T45" fmla="*/ 27 h 108"/>
                <a:gd name="T46" fmla="*/ 34 w 98"/>
                <a:gd name="T47" fmla="*/ 33 h 108"/>
                <a:gd name="T48" fmla="*/ 29 w 98"/>
                <a:gd name="T49" fmla="*/ 42 h 108"/>
                <a:gd name="T50" fmla="*/ 27 w 98"/>
                <a:gd name="T51" fmla="*/ 54 h 108"/>
                <a:gd name="T52" fmla="*/ 29 w 98"/>
                <a:gd name="T53" fmla="*/ 65 h 108"/>
                <a:gd name="T54" fmla="*/ 34 w 98"/>
                <a:gd name="T55" fmla="*/ 75 h 108"/>
                <a:gd name="T56" fmla="*/ 43 w 98"/>
                <a:gd name="T57" fmla="*/ 81 h 108"/>
                <a:gd name="T58" fmla="*/ 55 w 98"/>
                <a:gd name="T59" fmla="*/ 84 h 108"/>
                <a:gd name="T60" fmla="*/ 67 w 98"/>
                <a:gd name="T61" fmla="*/ 8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8" h="108">
                  <a:moveTo>
                    <a:pt x="67" y="82"/>
                  </a:moveTo>
                  <a:cubicBezTo>
                    <a:pt x="70" y="80"/>
                    <a:pt x="73" y="79"/>
                    <a:pt x="75" y="77"/>
                  </a:cubicBezTo>
                  <a:cubicBezTo>
                    <a:pt x="77" y="75"/>
                    <a:pt x="79" y="73"/>
                    <a:pt x="81" y="71"/>
                  </a:cubicBezTo>
                  <a:cubicBezTo>
                    <a:pt x="98" y="88"/>
                    <a:pt x="98" y="88"/>
                    <a:pt x="98" y="88"/>
                  </a:cubicBezTo>
                  <a:cubicBezTo>
                    <a:pt x="95" y="92"/>
                    <a:pt x="91" y="95"/>
                    <a:pt x="87" y="98"/>
                  </a:cubicBezTo>
                  <a:cubicBezTo>
                    <a:pt x="83" y="101"/>
                    <a:pt x="79" y="103"/>
                    <a:pt x="74" y="105"/>
                  </a:cubicBezTo>
                  <a:cubicBezTo>
                    <a:pt x="68" y="107"/>
                    <a:pt x="62" y="108"/>
                    <a:pt x="55" y="108"/>
                  </a:cubicBezTo>
                  <a:cubicBezTo>
                    <a:pt x="48" y="108"/>
                    <a:pt x="41" y="106"/>
                    <a:pt x="34" y="104"/>
                  </a:cubicBezTo>
                  <a:cubicBezTo>
                    <a:pt x="27" y="101"/>
                    <a:pt x="21" y="97"/>
                    <a:pt x="16" y="92"/>
                  </a:cubicBezTo>
                  <a:cubicBezTo>
                    <a:pt x="11" y="87"/>
                    <a:pt x="7" y="82"/>
                    <a:pt x="5" y="75"/>
                  </a:cubicBezTo>
                  <a:cubicBezTo>
                    <a:pt x="2" y="69"/>
                    <a:pt x="0" y="61"/>
                    <a:pt x="0" y="54"/>
                  </a:cubicBezTo>
                  <a:cubicBezTo>
                    <a:pt x="0" y="46"/>
                    <a:pt x="2" y="39"/>
                    <a:pt x="5" y="33"/>
                  </a:cubicBezTo>
                  <a:cubicBezTo>
                    <a:pt x="7" y="26"/>
                    <a:pt x="11" y="21"/>
                    <a:pt x="16" y="16"/>
                  </a:cubicBezTo>
                  <a:cubicBezTo>
                    <a:pt x="21" y="11"/>
                    <a:pt x="27" y="7"/>
                    <a:pt x="34" y="4"/>
                  </a:cubicBezTo>
                  <a:cubicBezTo>
                    <a:pt x="41" y="1"/>
                    <a:pt x="48" y="0"/>
                    <a:pt x="55" y="0"/>
                  </a:cubicBezTo>
                  <a:cubicBezTo>
                    <a:pt x="62" y="0"/>
                    <a:pt x="68" y="1"/>
                    <a:pt x="74" y="3"/>
                  </a:cubicBezTo>
                  <a:cubicBezTo>
                    <a:pt x="79" y="5"/>
                    <a:pt x="83" y="7"/>
                    <a:pt x="87" y="10"/>
                  </a:cubicBezTo>
                  <a:cubicBezTo>
                    <a:pt x="91" y="12"/>
                    <a:pt x="94" y="15"/>
                    <a:pt x="97" y="19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78" y="33"/>
                    <a:pt x="76" y="31"/>
                    <a:pt x="73" y="30"/>
                  </a:cubicBezTo>
                  <a:cubicBezTo>
                    <a:pt x="71" y="28"/>
                    <a:pt x="69" y="27"/>
                    <a:pt x="66" y="26"/>
                  </a:cubicBezTo>
                  <a:cubicBezTo>
                    <a:pt x="63" y="25"/>
                    <a:pt x="59" y="24"/>
                    <a:pt x="55" y="24"/>
                  </a:cubicBezTo>
                  <a:cubicBezTo>
                    <a:pt x="51" y="24"/>
                    <a:pt x="47" y="25"/>
                    <a:pt x="43" y="27"/>
                  </a:cubicBezTo>
                  <a:cubicBezTo>
                    <a:pt x="40" y="28"/>
                    <a:pt x="37" y="30"/>
                    <a:pt x="34" y="33"/>
                  </a:cubicBezTo>
                  <a:cubicBezTo>
                    <a:pt x="32" y="36"/>
                    <a:pt x="30" y="39"/>
                    <a:pt x="29" y="42"/>
                  </a:cubicBezTo>
                  <a:cubicBezTo>
                    <a:pt x="27" y="46"/>
                    <a:pt x="27" y="50"/>
                    <a:pt x="27" y="54"/>
                  </a:cubicBezTo>
                  <a:cubicBezTo>
                    <a:pt x="27" y="58"/>
                    <a:pt x="27" y="62"/>
                    <a:pt x="29" y="65"/>
                  </a:cubicBezTo>
                  <a:cubicBezTo>
                    <a:pt x="30" y="69"/>
                    <a:pt x="32" y="72"/>
                    <a:pt x="34" y="75"/>
                  </a:cubicBezTo>
                  <a:cubicBezTo>
                    <a:pt x="37" y="77"/>
                    <a:pt x="40" y="80"/>
                    <a:pt x="43" y="81"/>
                  </a:cubicBezTo>
                  <a:cubicBezTo>
                    <a:pt x="47" y="83"/>
                    <a:pt x="51" y="84"/>
                    <a:pt x="55" y="84"/>
                  </a:cubicBezTo>
                  <a:cubicBezTo>
                    <a:pt x="60" y="84"/>
                    <a:pt x="64" y="83"/>
                    <a:pt x="67" y="82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32">
              <a:extLst>
                <a:ext uri="{FF2B5EF4-FFF2-40B4-BE49-F238E27FC236}">
                  <a16:creationId xmlns:a16="http://schemas.microsoft.com/office/drawing/2014/main" id="{C7633EF0-FE39-4612-8A49-19236B552C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1" y="1055688"/>
              <a:ext cx="104775" cy="114300"/>
            </a:xfrm>
            <a:custGeom>
              <a:avLst/>
              <a:gdLst>
                <a:gd name="T0" fmla="*/ 67 w 98"/>
                <a:gd name="T1" fmla="*/ 82 h 108"/>
                <a:gd name="T2" fmla="*/ 75 w 98"/>
                <a:gd name="T3" fmla="*/ 77 h 108"/>
                <a:gd name="T4" fmla="*/ 81 w 98"/>
                <a:gd name="T5" fmla="*/ 71 h 108"/>
                <a:gd name="T6" fmla="*/ 98 w 98"/>
                <a:gd name="T7" fmla="*/ 88 h 108"/>
                <a:gd name="T8" fmla="*/ 87 w 98"/>
                <a:gd name="T9" fmla="*/ 98 h 108"/>
                <a:gd name="T10" fmla="*/ 74 w 98"/>
                <a:gd name="T11" fmla="*/ 105 h 108"/>
                <a:gd name="T12" fmla="*/ 55 w 98"/>
                <a:gd name="T13" fmla="*/ 108 h 108"/>
                <a:gd name="T14" fmla="*/ 34 w 98"/>
                <a:gd name="T15" fmla="*/ 104 h 108"/>
                <a:gd name="T16" fmla="*/ 16 w 98"/>
                <a:gd name="T17" fmla="*/ 92 h 108"/>
                <a:gd name="T18" fmla="*/ 5 w 98"/>
                <a:gd name="T19" fmla="*/ 75 h 108"/>
                <a:gd name="T20" fmla="*/ 0 w 98"/>
                <a:gd name="T21" fmla="*/ 54 h 108"/>
                <a:gd name="T22" fmla="*/ 5 w 98"/>
                <a:gd name="T23" fmla="*/ 33 h 108"/>
                <a:gd name="T24" fmla="*/ 16 w 98"/>
                <a:gd name="T25" fmla="*/ 16 h 108"/>
                <a:gd name="T26" fmla="*/ 34 w 98"/>
                <a:gd name="T27" fmla="*/ 4 h 108"/>
                <a:gd name="T28" fmla="*/ 55 w 98"/>
                <a:gd name="T29" fmla="*/ 0 h 108"/>
                <a:gd name="T30" fmla="*/ 74 w 98"/>
                <a:gd name="T31" fmla="*/ 3 h 108"/>
                <a:gd name="T32" fmla="*/ 87 w 98"/>
                <a:gd name="T33" fmla="*/ 10 h 108"/>
                <a:gd name="T34" fmla="*/ 97 w 98"/>
                <a:gd name="T35" fmla="*/ 19 h 108"/>
                <a:gd name="T36" fmla="*/ 79 w 98"/>
                <a:gd name="T37" fmla="*/ 35 h 108"/>
                <a:gd name="T38" fmla="*/ 73 w 98"/>
                <a:gd name="T39" fmla="*/ 30 h 108"/>
                <a:gd name="T40" fmla="*/ 66 w 98"/>
                <a:gd name="T41" fmla="*/ 26 h 108"/>
                <a:gd name="T42" fmla="*/ 55 w 98"/>
                <a:gd name="T43" fmla="*/ 24 h 108"/>
                <a:gd name="T44" fmla="*/ 44 w 98"/>
                <a:gd name="T45" fmla="*/ 27 h 108"/>
                <a:gd name="T46" fmla="*/ 34 w 98"/>
                <a:gd name="T47" fmla="*/ 33 h 108"/>
                <a:gd name="T48" fmla="*/ 29 w 98"/>
                <a:gd name="T49" fmla="*/ 42 h 108"/>
                <a:gd name="T50" fmla="*/ 27 w 98"/>
                <a:gd name="T51" fmla="*/ 54 h 108"/>
                <a:gd name="T52" fmla="*/ 29 w 98"/>
                <a:gd name="T53" fmla="*/ 65 h 108"/>
                <a:gd name="T54" fmla="*/ 34 w 98"/>
                <a:gd name="T55" fmla="*/ 75 h 108"/>
                <a:gd name="T56" fmla="*/ 44 w 98"/>
                <a:gd name="T57" fmla="*/ 81 h 108"/>
                <a:gd name="T58" fmla="*/ 55 w 98"/>
                <a:gd name="T59" fmla="*/ 84 h 108"/>
                <a:gd name="T60" fmla="*/ 67 w 98"/>
                <a:gd name="T61" fmla="*/ 8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8" h="108">
                  <a:moveTo>
                    <a:pt x="67" y="82"/>
                  </a:moveTo>
                  <a:cubicBezTo>
                    <a:pt x="70" y="80"/>
                    <a:pt x="73" y="79"/>
                    <a:pt x="75" y="77"/>
                  </a:cubicBezTo>
                  <a:cubicBezTo>
                    <a:pt x="77" y="75"/>
                    <a:pt x="79" y="73"/>
                    <a:pt x="81" y="71"/>
                  </a:cubicBezTo>
                  <a:cubicBezTo>
                    <a:pt x="98" y="88"/>
                    <a:pt x="98" y="88"/>
                    <a:pt x="98" y="88"/>
                  </a:cubicBezTo>
                  <a:cubicBezTo>
                    <a:pt x="95" y="92"/>
                    <a:pt x="91" y="95"/>
                    <a:pt x="87" y="98"/>
                  </a:cubicBezTo>
                  <a:cubicBezTo>
                    <a:pt x="83" y="101"/>
                    <a:pt x="79" y="103"/>
                    <a:pt x="74" y="105"/>
                  </a:cubicBezTo>
                  <a:cubicBezTo>
                    <a:pt x="68" y="107"/>
                    <a:pt x="62" y="108"/>
                    <a:pt x="55" y="108"/>
                  </a:cubicBezTo>
                  <a:cubicBezTo>
                    <a:pt x="48" y="108"/>
                    <a:pt x="41" y="106"/>
                    <a:pt x="34" y="104"/>
                  </a:cubicBezTo>
                  <a:cubicBezTo>
                    <a:pt x="27" y="101"/>
                    <a:pt x="21" y="97"/>
                    <a:pt x="16" y="92"/>
                  </a:cubicBezTo>
                  <a:cubicBezTo>
                    <a:pt x="11" y="87"/>
                    <a:pt x="7" y="82"/>
                    <a:pt x="5" y="75"/>
                  </a:cubicBezTo>
                  <a:cubicBezTo>
                    <a:pt x="2" y="69"/>
                    <a:pt x="0" y="61"/>
                    <a:pt x="0" y="54"/>
                  </a:cubicBezTo>
                  <a:cubicBezTo>
                    <a:pt x="0" y="46"/>
                    <a:pt x="2" y="39"/>
                    <a:pt x="5" y="33"/>
                  </a:cubicBezTo>
                  <a:cubicBezTo>
                    <a:pt x="7" y="26"/>
                    <a:pt x="11" y="21"/>
                    <a:pt x="16" y="16"/>
                  </a:cubicBezTo>
                  <a:cubicBezTo>
                    <a:pt x="21" y="11"/>
                    <a:pt x="27" y="7"/>
                    <a:pt x="34" y="4"/>
                  </a:cubicBezTo>
                  <a:cubicBezTo>
                    <a:pt x="41" y="1"/>
                    <a:pt x="48" y="0"/>
                    <a:pt x="55" y="0"/>
                  </a:cubicBezTo>
                  <a:cubicBezTo>
                    <a:pt x="62" y="0"/>
                    <a:pt x="68" y="1"/>
                    <a:pt x="74" y="3"/>
                  </a:cubicBezTo>
                  <a:cubicBezTo>
                    <a:pt x="79" y="5"/>
                    <a:pt x="83" y="7"/>
                    <a:pt x="87" y="10"/>
                  </a:cubicBezTo>
                  <a:cubicBezTo>
                    <a:pt x="91" y="12"/>
                    <a:pt x="94" y="15"/>
                    <a:pt x="97" y="19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78" y="33"/>
                    <a:pt x="76" y="31"/>
                    <a:pt x="73" y="30"/>
                  </a:cubicBezTo>
                  <a:cubicBezTo>
                    <a:pt x="71" y="28"/>
                    <a:pt x="69" y="27"/>
                    <a:pt x="66" y="26"/>
                  </a:cubicBezTo>
                  <a:cubicBezTo>
                    <a:pt x="63" y="25"/>
                    <a:pt x="59" y="24"/>
                    <a:pt x="55" y="24"/>
                  </a:cubicBezTo>
                  <a:cubicBezTo>
                    <a:pt x="51" y="24"/>
                    <a:pt x="47" y="25"/>
                    <a:pt x="44" y="27"/>
                  </a:cubicBezTo>
                  <a:cubicBezTo>
                    <a:pt x="40" y="28"/>
                    <a:pt x="37" y="30"/>
                    <a:pt x="34" y="33"/>
                  </a:cubicBezTo>
                  <a:cubicBezTo>
                    <a:pt x="32" y="36"/>
                    <a:pt x="30" y="39"/>
                    <a:pt x="29" y="42"/>
                  </a:cubicBezTo>
                  <a:cubicBezTo>
                    <a:pt x="27" y="46"/>
                    <a:pt x="27" y="50"/>
                    <a:pt x="27" y="54"/>
                  </a:cubicBezTo>
                  <a:cubicBezTo>
                    <a:pt x="27" y="58"/>
                    <a:pt x="27" y="62"/>
                    <a:pt x="29" y="65"/>
                  </a:cubicBezTo>
                  <a:cubicBezTo>
                    <a:pt x="30" y="69"/>
                    <a:pt x="32" y="72"/>
                    <a:pt x="34" y="75"/>
                  </a:cubicBezTo>
                  <a:cubicBezTo>
                    <a:pt x="37" y="77"/>
                    <a:pt x="40" y="80"/>
                    <a:pt x="44" y="81"/>
                  </a:cubicBezTo>
                  <a:cubicBezTo>
                    <a:pt x="47" y="83"/>
                    <a:pt x="51" y="84"/>
                    <a:pt x="55" y="84"/>
                  </a:cubicBezTo>
                  <a:cubicBezTo>
                    <a:pt x="60" y="84"/>
                    <a:pt x="64" y="83"/>
                    <a:pt x="67" y="82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33">
              <a:extLst>
                <a:ext uri="{FF2B5EF4-FFF2-40B4-BE49-F238E27FC236}">
                  <a16:creationId xmlns:a16="http://schemas.microsoft.com/office/drawing/2014/main" id="{56A23D21-952A-4A1A-A157-96525208000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657726" y="1055688"/>
              <a:ext cx="111125" cy="114300"/>
            </a:xfrm>
            <a:custGeom>
              <a:avLst/>
              <a:gdLst>
                <a:gd name="T0" fmla="*/ 72 w 104"/>
                <a:gd name="T1" fmla="*/ 4 h 108"/>
                <a:gd name="T2" fmla="*/ 88 w 104"/>
                <a:gd name="T3" fmla="*/ 15 h 108"/>
                <a:gd name="T4" fmla="*/ 99 w 104"/>
                <a:gd name="T5" fmla="*/ 32 h 108"/>
                <a:gd name="T6" fmla="*/ 104 w 104"/>
                <a:gd name="T7" fmla="*/ 54 h 108"/>
                <a:gd name="T8" fmla="*/ 104 w 104"/>
                <a:gd name="T9" fmla="*/ 58 h 108"/>
                <a:gd name="T10" fmla="*/ 103 w 104"/>
                <a:gd name="T11" fmla="*/ 63 h 108"/>
                <a:gd name="T12" fmla="*/ 27 w 104"/>
                <a:gd name="T13" fmla="*/ 63 h 108"/>
                <a:gd name="T14" fmla="*/ 30 w 104"/>
                <a:gd name="T15" fmla="*/ 70 h 108"/>
                <a:gd name="T16" fmla="*/ 36 w 104"/>
                <a:gd name="T17" fmla="*/ 77 h 108"/>
                <a:gd name="T18" fmla="*/ 44 w 104"/>
                <a:gd name="T19" fmla="*/ 82 h 108"/>
                <a:gd name="T20" fmla="*/ 56 w 104"/>
                <a:gd name="T21" fmla="*/ 84 h 108"/>
                <a:gd name="T22" fmla="*/ 68 w 104"/>
                <a:gd name="T23" fmla="*/ 82 h 108"/>
                <a:gd name="T24" fmla="*/ 76 w 104"/>
                <a:gd name="T25" fmla="*/ 79 h 108"/>
                <a:gd name="T26" fmla="*/ 84 w 104"/>
                <a:gd name="T27" fmla="*/ 74 h 108"/>
                <a:gd name="T28" fmla="*/ 97 w 104"/>
                <a:gd name="T29" fmla="*/ 93 h 108"/>
                <a:gd name="T30" fmla="*/ 85 w 104"/>
                <a:gd name="T31" fmla="*/ 101 h 108"/>
                <a:gd name="T32" fmla="*/ 73 w 104"/>
                <a:gd name="T33" fmla="*/ 106 h 108"/>
                <a:gd name="T34" fmla="*/ 56 w 104"/>
                <a:gd name="T35" fmla="*/ 108 h 108"/>
                <a:gd name="T36" fmla="*/ 34 w 104"/>
                <a:gd name="T37" fmla="*/ 104 h 108"/>
                <a:gd name="T38" fmla="*/ 16 w 104"/>
                <a:gd name="T39" fmla="*/ 92 h 108"/>
                <a:gd name="T40" fmla="*/ 5 w 104"/>
                <a:gd name="T41" fmla="*/ 75 h 108"/>
                <a:gd name="T42" fmla="*/ 0 w 104"/>
                <a:gd name="T43" fmla="*/ 54 h 108"/>
                <a:gd name="T44" fmla="*/ 4 w 104"/>
                <a:gd name="T45" fmla="*/ 33 h 108"/>
                <a:gd name="T46" fmla="*/ 15 w 104"/>
                <a:gd name="T47" fmla="*/ 16 h 108"/>
                <a:gd name="T48" fmla="*/ 31 w 104"/>
                <a:gd name="T49" fmla="*/ 4 h 108"/>
                <a:gd name="T50" fmla="*/ 52 w 104"/>
                <a:gd name="T51" fmla="*/ 0 h 108"/>
                <a:gd name="T52" fmla="*/ 72 w 104"/>
                <a:gd name="T53" fmla="*/ 4 h 108"/>
                <a:gd name="T54" fmla="*/ 78 w 104"/>
                <a:gd name="T55" fmla="*/ 44 h 108"/>
                <a:gd name="T56" fmla="*/ 76 w 104"/>
                <a:gd name="T57" fmla="*/ 38 h 108"/>
                <a:gd name="T58" fmla="*/ 71 w 104"/>
                <a:gd name="T59" fmla="*/ 31 h 108"/>
                <a:gd name="T60" fmla="*/ 63 w 104"/>
                <a:gd name="T61" fmla="*/ 26 h 108"/>
                <a:gd name="T62" fmla="*/ 52 w 104"/>
                <a:gd name="T63" fmla="*/ 24 h 108"/>
                <a:gd name="T64" fmla="*/ 41 w 104"/>
                <a:gd name="T65" fmla="*/ 26 h 108"/>
                <a:gd name="T66" fmla="*/ 33 w 104"/>
                <a:gd name="T67" fmla="*/ 31 h 108"/>
                <a:gd name="T68" fmla="*/ 29 w 104"/>
                <a:gd name="T69" fmla="*/ 37 h 108"/>
                <a:gd name="T70" fmla="*/ 27 w 104"/>
                <a:gd name="T71" fmla="*/ 44 h 108"/>
                <a:gd name="T72" fmla="*/ 78 w 104"/>
                <a:gd name="T73" fmla="*/ 4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4" h="108">
                  <a:moveTo>
                    <a:pt x="72" y="4"/>
                  </a:moveTo>
                  <a:cubicBezTo>
                    <a:pt x="78" y="7"/>
                    <a:pt x="84" y="10"/>
                    <a:pt x="88" y="15"/>
                  </a:cubicBezTo>
                  <a:cubicBezTo>
                    <a:pt x="93" y="20"/>
                    <a:pt x="97" y="25"/>
                    <a:pt x="99" y="32"/>
                  </a:cubicBezTo>
                  <a:cubicBezTo>
                    <a:pt x="102" y="38"/>
                    <a:pt x="104" y="46"/>
                    <a:pt x="104" y="54"/>
                  </a:cubicBezTo>
                  <a:cubicBezTo>
                    <a:pt x="104" y="55"/>
                    <a:pt x="104" y="56"/>
                    <a:pt x="104" y="58"/>
                  </a:cubicBezTo>
                  <a:cubicBezTo>
                    <a:pt x="104" y="59"/>
                    <a:pt x="104" y="61"/>
                    <a:pt x="103" y="63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7" y="66"/>
                    <a:pt x="28" y="68"/>
                    <a:pt x="30" y="70"/>
                  </a:cubicBezTo>
                  <a:cubicBezTo>
                    <a:pt x="31" y="73"/>
                    <a:pt x="33" y="75"/>
                    <a:pt x="36" y="77"/>
                  </a:cubicBezTo>
                  <a:cubicBezTo>
                    <a:pt x="38" y="79"/>
                    <a:pt x="41" y="81"/>
                    <a:pt x="44" y="82"/>
                  </a:cubicBezTo>
                  <a:cubicBezTo>
                    <a:pt x="48" y="83"/>
                    <a:pt x="51" y="84"/>
                    <a:pt x="56" y="84"/>
                  </a:cubicBezTo>
                  <a:cubicBezTo>
                    <a:pt x="60" y="84"/>
                    <a:pt x="64" y="84"/>
                    <a:pt x="68" y="82"/>
                  </a:cubicBezTo>
                  <a:cubicBezTo>
                    <a:pt x="71" y="81"/>
                    <a:pt x="74" y="80"/>
                    <a:pt x="76" y="79"/>
                  </a:cubicBezTo>
                  <a:cubicBezTo>
                    <a:pt x="79" y="77"/>
                    <a:pt x="82" y="76"/>
                    <a:pt x="84" y="74"/>
                  </a:cubicBezTo>
                  <a:cubicBezTo>
                    <a:pt x="97" y="93"/>
                    <a:pt x="97" y="93"/>
                    <a:pt x="97" y="93"/>
                  </a:cubicBezTo>
                  <a:cubicBezTo>
                    <a:pt x="93" y="96"/>
                    <a:pt x="90" y="98"/>
                    <a:pt x="85" y="101"/>
                  </a:cubicBezTo>
                  <a:cubicBezTo>
                    <a:pt x="82" y="102"/>
                    <a:pt x="77" y="104"/>
                    <a:pt x="73" y="106"/>
                  </a:cubicBezTo>
                  <a:cubicBezTo>
                    <a:pt x="68" y="107"/>
                    <a:pt x="62" y="108"/>
                    <a:pt x="56" y="108"/>
                  </a:cubicBezTo>
                  <a:cubicBezTo>
                    <a:pt x="48" y="108"/>
                    <a:pt x="40" y="106"/>
                    <a:pt x="34" y="104"/>
                  </a:cubicBezTo>
                  <a:cubicBezTo>
                    <a:pt x="27" y="101"/>
                    <a:pt x="21" y="97"/>
                    <a:pt x="16" y="92"/>
                  </a:cubicBezTo>
                  <a:cubicBezTo>
                    <a:pt x="11" y="87"/>
                    <a:pt x="7" y="82"/>
                    <a:pt x="5" y="75"/>
                  </a:cubicBezTo>
                  <a:cubicBezTo>
                    <a:pt x="2" y="69"/>
                    <a:pt x="0" y="61"/>
                    <a:pt x="0" y="54"/>
                  </a:cubicBezTo>
                  <a:cubicBezTo>
                    <a:pt x="0" y="46"/>
                    <a:pt x="2" y="39"/>
                    <a:pt x="4" y="33"/>
                  </a:cubicBezTo>
                  <a:cubicBezTo>
                    <a:pt x="7" y="26"/>
                    <a:pt x="10" y="21"/>
                    <a:pt x="15" y="16"/>
                  </a:cubicBezTo>
                  <a:cubicBezTo>
                    <a:pt x="19" y="11"/>
                    <a:pt x="25" y="7"/>
                    <a:pt x="31" y="4"/>
                  </a:cubicBezTo>
                  <a:cubicBezTo>
                    <a:pt x="38" y="1"/>
                    <a:pt x="44" y="0"/>
                    <a:pt x="52" y="0"/>
                  </a:cubicBezTo>
                  <a:cubicBezTo>
                    <a:pt x="59" y="0"/>
                    <a:pt x="66" y="1"/>
                    <a:pt x="72" y="4"/>
                  </a:cubicBezTo>
                  <a:close/>
                  <a:moveTo>
                    <a:pt x="78" y="44"/>
                  </a:moveTo>
                  <a:cubicBezTo>
                    <a:pt x="77" y="42"/>
                    <a:pt x="77" y="40"/>
                    <a:pt x="76" y="38"/>
                  </a:cubicBezTo>
                  <a:cubicBezTo>
                    <a:pt x="75" y="35"/>
                    <a:pt x="73" y="33"/>
                    <a:pt x="71" y="31"/>
                  </a:cubicBezTo>
                  <a:cubicBezTo>
                    <a:pt x="69" y="29"/>
                    <a:pt x="66" y="27"/>
                    <a:pt x="63" y="26"/>
                  </a:cubicBezTo>
                  <a:cubicBezTo>
                    <a:pt x="60" y="24"/>
                    <a:pt x="56" y="24"/>
                    <a:pt x="52" y="24"/>
                  </a:cubicBezTo>
                  <a:cubicBezTo>
                    <a:pt x="48" y="24"/>
                    <a:pt x="44" y="24"/>
                    <a:pt x="41" y="26"/>
                  </a:cubicBezTo>
                  <a:cubicBezTo>
                    <a:pt x="38" y="27"/>
                    <a:pt x="35" y="29"/>
                    <a:pt x="33" y="31"/>
                  </a:cubicBezTo>
                  <a:cubicBezTo>
                    <a:pt x="31" y="33"/>
                    <a:pt x="30" y="35"/>
                    <a:pt x="29" y="37"/>
                  </a:cubicBezTo>
                  <a:cubicBezTo>
                    <a:pt x="28" y="40"/>
                    <a:pt x="27" y="42"/>
                    <a:pt x="27" y="44"/>
                  </a:cubicBezTo>
                  <a:lnTo>
                    <a:pt x="78" y="44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Freeform 34">
              <a:extLst>
                <a:ext uri="{FF2B5EF4-FFF2-40B4-BE49-F238E27FC236}">
                  <a16:creationId xmlns:a16="http://schemas.microsoft.com/office/drawing/2014/main" id="{CA19857A-A213-4A64-B52F-74AA41539F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1076" y="1055688"/>
              <a:ext cx="96838" cy="114300"/>
            </a:xfrm>
            <a:custGeom>
              <a:avLst/>
              <a:gdLst>
                <a:gd name="T0" fmla="*/ 15 w 91"/>
                <a:gd name="T1" fmla="*/ 70 h 108"/>
                <a:gd name="T2" fmla="*/ 24 w 91"/>
                <a:gd name="T3" fmla="*/ 78 h 108"/>
                <a:gd name="T4" fmla="*/ 33 w 91"/>
                <a:gd name="T5" fmla="*/ 83 h 108"/>
                <a:gd name="T6" fmla="*/ 46 w 91"/>
                <a:gd name="T7" fmla="*/ 85 h 108"/>
                <a:gd name="T8" fmla="*/ 59 w 91"/>
                <a:gd name="T9" fmla="*/ 83 h 108"/>
                <a:gd name="T10" fmla="*/ 65 w 91"/>
                <a:gd name="T11" fmla="*/ 76 h 108"/>
                <a:gd name="T12" fmla="*/ 61 w 91"/>
                <a:gd name="T13" fmla="*/ 69 h 108"/>
                <a:gd name="T14" fmla="*/ 45 w 91"/>
                <a:gd name="T15" fmla="*/ 65 h 108"/>
                <a:gd name="T16" fmla="*/ 30 w 91"/>
                <a:gd name="T17" fmla="*/ 60 h 108"/>
                <a:gd name="T18" fmla="*/ 18 w 91"/>
                <a:gd name="T19" fmla="*/ 54 h 108"/>
                <a:gd name="T20" fmla="*/ 10 w 91"/>
                <a:gd name="T21" fmla="*/ 45 h 108"/>
                <a:gd name="T22" fmla="*/ 7 w 91"/>
                <a:gd name="T23" fmla="*/ 32 h 108"/>
                <a:gd name="T24" fmla="*/ 10 w 91"/>
                <a:gd name="T25" fmla="*/ 20 h 108"/>
                <a:gd name="T26" fmla="*/ 18 w 91"/>
                <a:gd name="T27" fmla="*/ 10 h 108"/>
                <a:gd name="T28" fmla="*/ 32 w 91"/>
                <a:gd name="T29" fmla="*/ 3 h 108"/>
                <a:gd name="T30" fmla="*/ 51 w 91"/>
                <a:gd name="T31" fmla="*/ 0 h 108"/>
                <a:gd name="T32" fmla="*/ 67 w 91"/>
                <a:gd name="T33" fmla="*/ 2 h 108"/>
                <a:gd name="T34" fmla="*/ 79 w 91"/>
                <a:gd name="T35" fmla="*/ 6 h 108"/>
                <a:gd name="T36" fmla="*/ 89 w 91"/>
                <a:gd name="T37" fmla="*/ 13 h 108"/>
                <a:gd name="T38" fmla="*/ 76 w 91"/>
                <a:gd name="T39" fmla="*/ 32 h 108"/>
                <a:gd name="T40" fmla="*/ 69 w 91"/>
                <a:gd name="T41" fmla="*/ 27 h 108"/>
                <a:gd name="T42" fmla="*/ 61 w 91"/>
                <a:gd name="T43" fmla="*/ 24 h 108"/>
                <a:gd name="T44" fmla="*/ 51 w 91"/>
                <a:gd name="T45" fmla="*/ 23 h 108"/>
                <a:gd name="T46" fmla="*/ 38 w 91"/>
                <a:gd name="T47" fmla="*/ 25 h 108"/>
                <a:gd name="T48" fmla="*/ 32 w 91"/>
                <a:gd name="T49" fmla="*/ 33 h 108"/>
                <a:gd name="T50" fmla="*/ 38 w 91"/>
                <a:gd name="T51" fmla="*/ 39 h 108"/>
                <a:gd name="T52" fmla="*/ 56 w 91"/>
                <a:gd name="T53" fmla="*/ 44 h 108"/>
                <a:gd name="T54" fmla="*/ 70 w 91"/>
                <a:gd name="T55" fmla="*/ 48 h 108"/>
                <a:gd name="T56" fmla="*/ 81 w 91"/>
                <a:gd name="T57" fmla="*/ 54 h 108"/>
                <a:gd name="T58" fmla="*/ 89 w 91"/>
                <a:gd name="T59" fmla="*/ 63 h 108"/>
                <a:gd name="T60" fmla="*/ 91 w 91"/>
                <a:gd name="T61" fmla="*/ 76 h 108"/>
                <a:gd name="T62" fmla="*/ 88 w 91"/>
                <a:gd name="T63" fmla="*/ 89 h 108"/>
                <a:gd name="T64" fmla="*/ 79 w 91"/>
                <a:gd name="T65" fmla="*/ 99 h 108"/>
                <a:gd name="T66" fmla="*/ 64 w 91"/>
                <a:gd name="T67" fmla="*/ 105 h 108"/>
                <a:gd name="T68" fmla="*/ 46 w 91"/>
                <a:gd name="T69" fmla="*/ 108 h 108"/>
                <a:gd name="T70" fmla="*/ 27 w 91"/>
                <a:gd name="T71" fmla="*/ 105 h 108"/>
                <a:gd name="T72" fmla="*/ 12 w 91"/>
                <a:gd name="T73" fmla="*/ 99 h 108"/>
                <a:gd name="T74" fmla="*/ 0 w 91"/>
                <a:gd name="T75" fmla="*/ 89 h 108"/>
                <a:gd name="T76" fmla="*/ 15 w 91"/>
                <a:gd name="T77" fmla="*/ 7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1" h="108">
                  <a:moveTo>
                    <a:pt x="15" y="70"/>
                  </a:moveTo>
                  <a:cubicBezTo>
                    <a:pt x="17" y="73"/>
                    <a:pt x="20" y="76"/>
                    <a:pt x="24" y="78"/>
                  </a:cubicBezTo>
                  <a:cubicBezTo>
                    <a:pt x="26" y="80"/>
                    <a:pt x="30" y="81"/>
                    <a:pt x="33" y="83"/>
                  </a:cubicBezTo>
                  <a:cubicBezTo>
                    <a:pt x="37" y="84"/>
                    <a:pt x="41" y="85"/>
                    <a:pt x="46" y="85"/>
                  </a:cubicBezTo>
                  <a:cubicBezTo>
                    <a:pt x="51" y="85"/>
                    <a:pt x="56" y="84"/>
                    <a:pt x="59" y="83"/>
                  </a:cubicBezTo>
                  <a:cubicBezTo>
                    <a:pt x="63" y="81"/>
                    <a:pt x="65" y="79"/>
                    <a:pt x="65" y="76"/>
                  </a:cubicBezTo>
                  <a:cubicBezTo>
                    <a:pt x="65" y="73"/>
                    <a:pt x="64" y="70"/>
                    <a:pt x="61" y="69"/>
                  </a:cubicBezTo>
                  <a:cubicBezTo>
                    <a:pt x="58" y="68"/>
                    <a:pt x="53" y="66"/>
                    <a:pt x="45" y="65"/>
                  </a:cubicBezTo>
                  <a:cubicBezTo>
                    <a:pt x="40" y="63"/>
                    <a:pt x="35" y="62"/>
                    <a:pt x="30" y="60"/>
                  </a:cubicBezTo>
                  <a:cubicBezTo>
                    <a:pt x="26" y="59"/>
                    <a:pt x="22" y="57"/>
                    <a:pt x="18" y="54"/>
                  </a:cubicBezTo>
                  <a:cubicBezTo>
                    <a:pt x="15" y="51"/>
                    <a:pt x="12" y="48"/>
                    <a:pt x="10" y="45"/>
                  </a:cubicBezTo>
                  <a:cubicBezTo>
                    <a:pt x="8" y="41"/>
                    <a:pt x="7" y="37"/>
                    <a:pt x="7" y="32"/>
                  </a:cubicBezTo>
                  <a:cubicBezTo>
                    <a:pt x="7" y="28"/>
                    <a:pt x="8" y="24"/>
                    <a:pt x="10" y="20"/>
                  </a:cubicBezTo>
                  <a:cubicBezTo>
                    <a:pt x="11" y="16"/>
                    <a:pt x="14" y="13"/>
                    <a:pt x="18" y="10"/>
                  </a:cubicBezTo>
                  <a:cubicBezTo>
                    <a:pt x="22" y="7"/>
                    <a:pt x="26" y="5"/>
                    <a:pt x="32" y="3"/>
                  </a:cubicBezTo>
                  <a:cubicBezTo>
                    <a:pt x="37" y="1"/>
                    <a:pt x="44" y="0"/>
                    <a:pt x="51" y="0"/>
                  </a:cubicBezTo>
                  <a:cubicBezTo>
                    <a:pt x="57" y="0"/>
                    <a:pt x="62" y="1"/>
                    <a:pt x="67" y="2"/>
                  </a:cubicBezTo>
                  <a:cubicBezTo>
                    <a:pt x="71" y="3"/>
                    <a:pt x="75" y="5"/>
                    <a:pt x="79" y="6"/>
                  </a:cubicBezTo>
                  <a:cubicBezTo>
                    <a:pt x="83" y="8"/>
                    <a:pt x="86" y="10"/>
                    <a:pt x="89" y="13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74" y="30"/>
                    <a:pt x="72" y="29"/>
                    <a:pt x="69" y="27"/>
                  </a:cubicBezTo>
                  <a:cubicBezTo>
                    <a:pt x="66" y="26"/>
                    <a:pt x="64" y="25"/>
                    <a:pt x="61" y="24"/>
                  </a:cubicBezTo>
                  <a:cubicBezTo>
                    <a:pt x="58" y="23"/>
                    <a:pt x="54" y="23"/>
                    <a:pt x="51" y="23"/>
                  </a:cubicBezTo>
                  <a:cubicBezTo>
                    <a:pt x="46" y="23"/>
                    <a:pt x="42" y="24"/>
                    <a:pt x="38" y="25"/>
                  </a:cubicBezTo>
                  <a:cubicBezTo>
                    <a:pt x="34" y="27"/>
                    <a:pt x="32" y="29"/>
                    <a:pt x="32" y="33"/>
                  </a:cubicBezTo>
                  <a:cubicBezTo>
                    <a:pt x="32" y="36"/>
                    <a:pt x="34" y="38"/>
                    <a:pt x="38" y="39"/>
                  </a:cubicBezTo>
                  <a:cubicBezTo>
                    <a:pt x="42" y="41"/>
                    <a:pt x="48" y="42"/>
                    <a:pt x="56" y="44"/>
                  </a:cubicBezTo>
                  <a:cubicBezTo>
                    <a:pt x="61" y="45"/>
                    <a:pt x="66" y="46"/>
                    <a:pt x="70" y="48"/>
                  </a:cubicBezTo>
                  <a:cubicBezTo>
                    <a:pt x="75" y="49"/>
                    <a:pt x="78" y="51"/>
                    <a:pt x="81" y="54"/>
                  </a:cubicBezTo>
                  <a:cubicBezTo>
                    <a:pt x="85" y="56"/>
                    <a:pt x="87" y="59"/>
                    <a:pt x="89" y="63"/>
                  </a:cubicBezTo>
                  <a:cubicBezTo>
                    <a:pt x="90" y="66"/>
                    <a:pt x="91" y="71"/>
                    <a:pt x="91" y="76"/>
                  </a:cubicBezTo>
                  <a:cubicBezTo>
                    <a:pt x="91" y="81"/>
                    <a:pt x="90" y="85"/>
                    <a:pt x="88" y="89"/>
                  </a:cubicBezTo>
                  <a:cubicBezTo>
                    <a:pt x="86" y="93"/>
                    <a:pt x="83" y="96"/>
                    <a:pt x="79" y="99"/>
                  </a:cubicBezTo>
                  <a:cubicBezTo>
                    <a:pt x="75" y="101"/>
                    <a:pt x="70" y="104"/>
                    <a:pt x="64" y="105"/>
                  </a:cubicBezTo>
                  <a:cubicBezTo>
                    <a:pt x="59" y="107"/>
                    <a:pt x="53" y="108"/>
                    <a:pt x="46" y="108"/>
                  </a:cubicBezTo>
                  <a:cubicBezTo>
                    <a:pt x="39" y="108"/>
                    <a:pt x="32" y="107"/>
                    <a:pt x="27" y="105"/>
                  </a:cubicBezTo>
                  <a:cubicBezTo>
                    <a:pt x="21" y="103"/>
                    <a:pt x="16" y="101"/>
                    <a:pt x="12" y="99"/>
                  </a:cubicBezTo>
                  <a:cubicBezTo>
                    <a:pt x="7" y="96"/>
                    <a:pt x="3" y="93"/>
                    <a:pt x="0" y="89"/>
                  </a:cubicBezTo>
                  <a:lnTo>
                    <a:pt x="15" y="70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Freeform 35">
              <a:extLst>
                <a:ext uri="{FF2B5EF4-FFF2-40B4-BE49-F238E27FC236}">
                  <a16:creationId xmlns:a16="http://schemas.microsoft.com/office/drawing/2014/main" id="{518C9716-235D-46E0-A70C-E68E93DD62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13313" y="1055688"/>
              <a:ext cx="96838" cy="114300"/>
            </a:xfrm>
            <a:custGeom>
              <a:avLst/>
              <a:gdLst>
                <a:gd name="T0" fmla="*/ 14 w 91"/>
                <a:gd name="T1" fmla="*/ 70 h 108"/>
                <a:gd name="T2" fmla="*/ 23 w 91"/>
                <a:gd name="T3" fmla="*/ 78 h 108"/>
                <a:gd name="T4" fmla="*/ 33 w 91"/>
                <a:gd name="T5" fmla="*/ 83 h 108"/>
                <a:gd name="T6" fmla="*/ 45 w 91"/>
                <a:gd name="T7" fmla="*/ 85 h 108"/>
                <a:gd name="T8" fmla="*/ 59 w 91"/>
                <a:gd name="T9" fmla="*/ 83 h 108"/>
                <a:gd name="T10" fmla="*/ 65 w 91"/>
                <a:gd name="T11" fmla="*/ 76 h 108"/>
                <a:gd name="T12" fmla="*/ 60 w 91"/>
                <a:gd name="T13" fmla="*/ 69 h 108"/>
                <a:gd name="T14" fmla="*/ 44 w 91"/>
                <a:gd name="T15" fmla="*/ 65 h 108"/>
                <a:gd name="T16" fmla="*/ 30 w 91"/>
                <a:gd name="T17" fmla="*/ 60 h 108"/>
                <a:gd name="T18" fmla="*/ 18 w 91"/>
                <a:gd name="T19" fmla="*/ 54 h 108"/>
                <a:gd name="T20" fmla="*/ 9 w 91"/>
                <a:gd name="T21" fmla="*/ 45 h 108"/>
                <a:gd name="T22" fmla="*/ 6 w 91"/>
                <a:gd name="T23" fmla="*/ 32 h 108"/>
                <a:gd name="T24" fmla="*/ 9 w 91"/>
                <a:gd name="T25" fmla="*/ 20 h 108"/>
                <a:gd name="T26" fmla="*/ 18 w 91"/>
                <a:gd name="T27" fmla="*/ 10 h 108"/>
                <a:gd name="T28" fmla="*/ 31 w 91"/>
                <a:gd name="T29" fmla="*/ 3 h 108"/>
                <a:gd name="T30" fmla="*/ 50 w 91"/>
                <a:gd name="T31" fmla="*/ 0 h 108"/>
                <a:gd name="T32" fmla="*/ 66 w 91"/>
                <a:gd name="T33" fmla="*/ 2 h 108"/>
                <a:gd name="T34" fmla="*/ 78 w 91"/>
                <a:gd name="T35" fmla="*/ 6 h 108"/>
                <a:gd name="T36" fmla="*/ 89 w 91"/>
                <a:gd name="T37" fmla="*/ 13 h 108"/>
                <a:gd name="T38" fmla="*/ 76 w 91"/>
                <a:gd name="T39" fmla="*/ 32 h 108"/>
                <a:gd name="T40" fmla="*/ 68 w 91"/>
                <a:gd name="T41" fmla="*/ 27 h 108"/>
                <a:gd name="T42" fmla="*/ 60 w 91"/>
                <a:gd name="T43" fmla="*/ 24 h 108"/>
                <a:gd name="T44" fmla="*/ 50 w 91"/>
                <a:gd name="T45" fmla="*/ 23 h 108"/>
                <a:gd name="T46" fmla="*/ 37 w 91"/>
                <a:gd name="T47" fmla="*/ 25 h 108"/>
                <a:gd name="T48" fmla="*/ 32 w 91"/>
                <a:gd name="T49" fmla="*/ 33 h 108"/>
                <a:gd name="T50" fmla="*/ 37 w 91"/>
                <a:gd name="T51" fmla="*/ 39 h 108"/>
                <a:gd name="T52" fmla="*/ 56 w 91"/>
                <a:gd name="T53" fmla="*/ 44 h 108"/>
                <a:gd name="T54" fmla="*/ 70 w 91"/>
                <a:gd name="T55" fmla="*/ 48 h 108"/>
                <a:gd name="T56" fmla="*/ 81 w 91"/>
                <a:gd name="T57" fmla="*/ 54 h 108"/>
                <a:gd name="T58" fmla="*/ 88 w 91"/>
                <a:gd name="T59" fmla="*/ 63 h 108"/>
                <a:gd name="T60" fmla="*/ 91 w 91"/>
                <a:gd name="T61" fmla="*/ 76 h 108"/>
                <a:gd name="T62" fmla="*/ 87 w 91"/>
                <a:gd name="T63" fmla="*/ 89 h 108"/>
                <a:gd name="T64" fmla="*/ 78 w 91"/>
                <a:gd name="T65" fmla="*/ 99 h 108"/>
                <a:gd name="T66" fmla="*/ 64 w 91"/>
                <a:gd name="T67" fmla="*/ 105 h 108"/>
                <a:gd name="T68" fmla="*/ 46 w 91"/>
                <a:gd name="T69" fmla="*/ 108 h 108"/>
                <a:gd name="T70" fmla="*/ 26 w 91"/>
                <a:gd name="T71" fmla="*/ 105 h 108"/>
                <a:gd name="T72" fmla="*/ 12 w 91"/>
                <a:gd name="T73" fmla="*/ 99 h 108"/>
                <a:gd name="T74" fmla="*/ 0 w 91"/>
                <a:gd name="T75" fmla="*/ 89 h 108"/>
                <a:gd name="T76" fmla="*/ 14 w 91"/>
                <a:gd name="T77" fmla="*/ 7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1" h="108">
                  <a:moveTo>
                    <a:pt x="14" y="70"/>
                  </a:moveTo>
                  <a:cubicBezTo>
                    <a:pt x="17" y="73"/>
                    <a:pt x="20" y="76"/>
                    <a:pt x="23" y="78"/>
                  </a:cubicBezTo>
                  <a:cubicBezTo>
                    <a:pt x="26" y="80"/>
                    <a:pt x="29" y="81"/>
                    <a:pt x="33" y="83"/>
                  </a:cubicBezTo>
                  <a:cubicBezTo>
                    <a:pt x="37" y="84"/>
                    <a:pt x="41" y="85"/>
                    <a:pt x="45" y="85"/>
                  </a:cubicBezTo>
                  <a:cubicBezTo>
                    <a:pt x="50" y="85"/>
                    <a:pt x="55" y="84"/>
                    <a:pt x="59" y="83"/>
                  </a:cubicBezTo>
                  <a:cubicBezTo>
                    <a:pt x="63" y="81"/>
                    <a:pt x="65" y="79"/>
                    <a:pt x="65" y="76"/>
                  </a:cubicBezTo>
                  <a:cubicBezTo>
                    <a:pt x="65" y="73"/>
                    <a:pt x="63" y="70"/>
                    <a:pt x="60" y="69"/>
                  </a:cubicBezTo>
                  <a:cubicBezTo>
                    <a:pt x="57" y="68"/>
                    <a:pt x="52" y="66"/>
                    <a:pt x="44" y="65"/>
                  </a:cubicBezTo>
                  <a:cubicBezTo>
                    <a:pt x="39" y="63"/>
                    <a:pt x="34" y="62"/>
                    <a:pt x="30" y="60"/>
                  </a:cubicBezTo>
                  <a:cubicBezTo>
                    <a:pt x="25" y="59"/>
                    <a:pt x="21" y="57"/>
                    <a:pt x="18" y="54"/>
                  </a:cubicBezTo>
                  <a:cubicBezTo>
                    <a:pt x="14" y="51"/>
                    <a:pt x="11" y="48"/>
                    <a:pt x="9" y="45"/>
                  </a:cubicBezTo>
                  <a:cubicBezTo>
                    <a:pt x="7" y="41"/>
                    <a:pt x="6" y="37"/>
                    <a:pt x="6" y="32"/>
                  </a:cubicBezTo>
                  <a:cubicBezTo>
                    <a:pt x="6" y="28"/>
                    <a:pt x="7" y="24"/>
                    <a:pt x="9" y="20"/>
                  </a:cubicBezTo>
                  <a:cubicBezTo>
                    <a:pt x="11" y="16"/>
                    <a:pt x="14" y="13"/>
                    <a:pt x="18" y="10"/>
                  </a:cubicBezTo>
                  <a:cubicBezTo>
                    <a:pt x="21" y="7"/>
                    <a:pt x="26" y="5"/>
                    <a:pt x="31" y="3"/>
                  </a:cubicBezTo>
                  <a:cubicBezTo>
                    <a:pt x="37" y="1"/>
                    <a:pt x="43" y="0"/>
                    <a:pt x="50" y="0"/>
                  </a:cubicBezTo>
                  <a:cubicBezTo>
                    <a:pt x="56" y="0"/>
                    <a:pt x="62" y="1"/>
                    <a:pt x="66" y="2"/>
                  </a:cubicBezTo>
                  <a:cubicBezTo>
                    <a:pt x="71" y="3"/>
                    <a:pt x="75" y="5"/>
                    <a:pt x="78" y="6"/>
                  </a:cubicBezTo>
                  <a:cubicBezTo>
                    <a:pt x="82" y="8"/>
                    <a:pt x="86" y="10"/>
                    <a:pt x="89" y="13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74" y="30"/>
                    <a:pt x="71" y="29"/>
                    <a:pt x="68" y="27"/>
                  </a:cubicBezTo>
                  <a:cubicBezTo>
                    <a:pt x="66" y="26"/>
                    <a:pt x="63" y="25"/>
                    <a:pt x="60" y="24"/>
                  </a:cubicBezTo>
                  <a:cubicBezTo>
                    <a:pt x="57" y="23"/>
                    <a:pt x="54" y="23"/>
                    <a:pt x="50" y="23"/>
                  </a:cubicBezTo>
                  <a:cubicBezTo>
                    <a:pt x="45" y="23"/>
                    <a:pt x="41" y="24"/>
                    <a:pt x="37" y="25"/>
                  </a:cubicBezTo>
                  <a:cubicBezTo>
                    <a:pt x="34" y="27"/>
                    <a:pt x="32" y="29"/>
                    <a:pt x="32" y="33"/>
                  </a:cubicBezTo>
                  <a:cubicBezTo>
                    <a:pt x="32" y="36"/>
                    <a:pt x="34" y="38"/>
                    <a:pt x="37" y="39"/>
                  </a:cubicBezTo>
                  <a:cubicBezTo>
                    <a:pt x="41" y="41"/>
                    <a:pt x="47" y="42"/>
                    <a:pt x="56" y="44"/>
                  </a:cubicBezTo>
                  <a:cubicBezTo>
                    <a:pt x="61" y="45"/>
                    <a:pt x="66" y="46"/>
                    <a:pt x="70" y="48"/>
                  </a:cubicBezTo>
                  <a:cubicBezTo>
                    <a:pt x="74" y="49"/>
                    <a:pt x="78" y="51"/>
                    <a:pt x="81" y="54"/>
                  </a:cubicBezTo>
                  <a:cubicBezTo>
                    <a:pt x="84" y="56"/>
                    <a:pt x="86" y="59"/>
                    <a:pt x="88" y="63"/>
                  </a:cubicBezTo>
                  <a:cubicBezTo>
                    <a:pt x="90" y="66"/>
                    <a:pt x="91" y="71"/>
                    <a:pt x="91" y="76"/>
                  </a:cubicBezTo>
                  <a:cubicBezTo>
                    <a:pt x="91" y="81"/>
                    <a:pt x="90" y="85"/>
                    <a:pt x="87" y="89"/>
                  </a:cubicBezTo>
                  <a:cubicBezTo>
                    <a:pt x="85" y="93"/>
                    <a:pt x="82" y="96"/>
                    <a:pt x="78" y="99"/>
                  </a:cubicBezTo>
                  <a:cubicBezTo>
                    <a:pt x="74" y="101"/>
                    <a:pt x="69" y="104"/>
                    <a:pt x="64" y="105"/>
                  </a:cubicBezTo>
                  <a:cubicBezTo>
                    <a:pt x="58" y="107"/>
                    <a:pt x="52" y="108"/>
                    <a:pt x="46" y="108"/>
                  </a:cubicBezTo>
                  <a:cubicBezTo>
                    <a:pt x="38" y="108"/>
                    <a:pt x="32" y="107"/>
                    <a:pt x="26" y="105"/>
                  </a:cubicBezTo>
                  <a:cubicBezTo>
                    <a:pt x="20" y="103"/>
                    <a:pt x="15" y="101"/>
                    <a:pt x="12" y="99"/>
                  </a:cubicBezTo>
                  <a:cubicBezTo>
                    <a:pt x="7" y="96"/>
                    <a:pt x="3" y="93"/>
                    <a:pt x="0" y="89"/>
                  </a:cubicBezTo>
                  <a:lnTo>
                    <a:pt x="14" y="70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Freeform 36">
              <a:extLst>
                <a:ext uri="{FF2B5EF4-FFF2-40B4-BE49-F238E27FC236}">
                  <a16:creationId xmlns:a16="http://schemas.microsoft.com/office/drawing/2014/main" id="{FA4DAB51-C7DA-483D-BDF7-F3103C8509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94288" y="1025525"/>
              <a:ext cx="85725" cy="144463"/>
            </a:xfrm>
            <a:custGeom>
              <a:avLst/>
              <a:gdLst>
                <a:gd name="T0" fmla="*/ 0 w 80"/>
                <a:gd name="T1" fmla="*/ 31 h 136"/>
                <a:gd name="T2" fmla="*/ 20 w 80"/>
                <a:gd name="T3" fmla="*/ 31 h 136"/>
                <a:gd name="T4" fmla="*/ 20 w 80"/>
                <a:gd name="T5" fmla="*/ 0 h 136"/>
                <a:gd name="T6" fmla="*/ 46 w 80"/>
                <a:gd name="T7" fmla="*/ 0 h 136"/>
                <a:gd name="T8" fmla="*/ 46 w 80"/>
                <a:gd name="T9" fmla="*/ 31 h 136"/>
                <a:gd name="T10" fmla="*/ 77 w 80"/>
                <a:gd name="T11" fmla="*/ 31 h 136"/>
                <a:gd name="T12" fmla="*/ 77 w 80"/>
                <a:gd name="T13" fmla="*/ 54 h 136"/>
                <a:gd name="T14" fmla="*/ 46 w 80"/>
                <a:gd name="T15" fmla="*/ 54 h 136"/>
                <a:gd name="T16" fmla="*/ 46 w 80"/>
                <a:gd name="T17" fmla="*/ 95 h 136"/>
                <a:gd name="T18" fmla="*/ 50 w 80"/>
                <a:gd name="T19" fmla="*/ 108 h 136"/>
                <a:gd name="T20" fmla="*/ 59 w 80"/>
                <a:gd name="T21" fmla="*/ 112 h 136"/>
                <a:gd name="T22" fmla="*/ 64 w 80"/>
                <a:gd name="T23" fmla="*/ 111 h 136"/>
                <a:gd name="T24" fmla="*/ 67 w 80"/>
                <a:gd name="T25" fmla="*/ 110 h 136"/>
                <a:gd name="T26" fmla="*/ 70 w 80"/>
                <a:gd name="T27" fmla="*/ 108 h 136"/>
                <a:gd name="T28" fmla="*/ 80 w 80"/>
                <a:gd name="T29" fmla="*/ 129 h 136"/>
                <a:gd name="T30" fmla="*/ 73 w 80"/>
                <a:gd name="T31" fmla="*/ 132 h 136"/>
                <a:gd name="T32" fmla="*/ 65 w 80"/>
                <a:gd name="T33" fmla="*/ 135 h 136"/>
                <a:gd name="T34" fmla="*/ 55 w 80"/>
                <a:gd name="T35" fmla="*/ 136 h 136"/>
                <a:gd name="T36" fmla="*/ 41 w 80"/>
                <a:gd name="T37" fmla="*/ 133 h 136"/>
                <a:gd name="T38" fmla="*/ 30 w 80"/>
                <a:gd name="T39" fmla="*/ 126 h 136"/>
                <a:gd name="T40" fmla="*/ 23 w 80"/>
                <a:gd name="T41" fmla="*/ 114 h 136"/>
                <a:gd name="T42" fmla="*/ 20 w 80"/>
                <a:gd name="T43" fmla="*/ 100 h 136"/>
                <a:gd name="T44" fmla="*/ 20 w 80"/>
                <a:gd name="T45" fmla="*/ 54 h 136"/>
                <a:gd name="T46" fmla="*/ 0 w 80"/>
                <a:gd name="T47" fmla="*/ 54 h 136"/>
                <a:gd name="T48" fmla="*/ 0 w 80"/>
                <a:gd name="T49" fmla="*/ 31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0" h="136">
                  <a:moveTo>
                    <a:pt x="0" y="31"/>
                  </a:moveTo>
                  <a:cubicBezTo>
                    <a:pt x="20" y="31"/>
                    <a:pt x="20" y="31"/>
                    <a:pt x="20" y="31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77" y="31"/>
                    <a:pt x="77" y="31"/>
                    <a:pt x="77" y="31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46" y="54"/>
                    <a:pt x="46" y="54"/>
                    <a:pt x="46" y="54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6" y="102"/>
                    <a:pt x="47" y="106"/>
                    <a:pt x="50" y="108"/>
                  </a:cubicBezTo>
                  <a:cubicBezTo>
                    <a:pt x="53" y="110"/>
                    <a:pt x="56" y="112"/>
                    <a:pt x="59" y="112"/>
                  </a:cubicBezTo>
                  <a:cubicBezTo>
                    <a:pt x="61" y="112"/>
                    <a:pt x="62" y="111"/>
                    <a:pt x="64" y="111"/>
                  </a:cubicBezTo>
                  <a:cubicBezTo>
                    <a:pt x="65" y="111"/>
                    <a:pt x="66" y="110"/>
                    <a:pt x="67" y="110"/>
                  </a:cubicBezTo>
                  <a:cubicBezTo>
                    <a:pt x="68" y="109"/>
                    <a:pt x="69" y="109"/>
                    <a:pt x="70" y="108"/>
                  </a:cubicBezTo>
                  <a:cubicBezTo>
                    <a:pt x="80" y="129"/>
                    <a:pt x="80" y="129"/>
                    <a:pt x="80" y="129"/>
                  </a:cubicBezTo>
                  <a:cubicBezTo>
                    <a:pt x="78" y="130"/>
                    <a:pt x="76" y="132"/>
                    <a:pt x="73" y="132"/>
                  </a:cubicBezTo>
                  <a:cubicBezTo>
                    <a:pt x="71" y="133"/>
                    <a:pt x="68" y="134"/>
                    <a:pt x="65" y="135"/>
                  </a:cubicBezTo>
                  <a:cubicBezTo>
                    <a:pt x="62" y="136"/>
                    <a:pt x="59" y="136"/>
                    <a:pt x="55" y="136"/>
                  </a:cubicBezTo>
                  <a:cubicBezTo>
                    <a:pt x="50" y="136"/>
                    <a:pt x="46" y="135"/>
                    <a:pt x="41" y="133"/>
                  </a:cubicBezTo>
                  <a:cubicBezTo>
                    <a:pt x="37" y="132"/>
                    <a:pt x="33" y="129"/>
                    <a:pt x="30" y="126"/>
                  </a:cubicBezTo>
                  <a:cubicBezTo>
                    <a:pt x="27" y="123"/>
                    <a:pt x="24" y="119"/>
                    <a:pt x="23" y="114"/>
                  </a:cubicBezTo>
                  <a:cubicBezTo>
                    <a:pt x="21" y="110"/>
                    <a:pt x="20" y="105"/>
                    <a:pt x="20" y="100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0" y="54"/>
                    <a:pt x="0" y="54"/>
                    <a:pt x="0" y="54"/>
                  </a:cubicBezTo>
                  <a:lnTo>
                    <a:pt x="0" y="31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Freeform 37">
              <a:extLst>
                <a:ext uri="{FF2B5EF4-FFF2-40B4-BE49-F238E27FC236}">
                  <a16:creationId xmlns:a16="http://schemas.microsoft.com/office/drawing/2014/main" id="{58995B45-611D-4FC6-9BF1-9514A767C5B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00651" y="1055688"/>
              <a:ext cx="115888" cy="114300"/>
            </a:xfrm>
            <a:custGeom>
              <a:avLst/>
              <a:gdLst>
                <a:gd name="T0" fmla="*/ 76 w 109"/>
                <a:gd name="T1" fmla="*/ 4 h 108"/>
                <a:gd name="T2" fmla="*/ 93 w 109"/>
                <a:gd name="T3" fmla="*/ 16 h 108"/>
                <a:gd name="T4" fmla="*/ 105 w 109"/>
                <a:gd name="T5" fmla="*/ 33 h 108"/>
                <a:gd name="T6" fmla="*/ 109 w 109"/>
                <a:gd name="T7" fmla="*/ 54 h 108"/>
                <a:gd name="T8" fmla="*/ 105 w 109"/>
                <a:gd name="T9" fmla="*/ 75 h 108"/>
                <a:gd name="T10" fmla="*/ 93 w 109"/>
                <a:gd name="T11" fmla="*/ 92 h 108"/>
                <a:gd name="T12" fmla="*/ 76 w 109"/>
                <a:gd name="T13" fmla="*/ 104 h 108"/>
                <a:gd name="T14" fmla="*/ 55 w 109"/>
                <a:gd name="T15" fmla="*/ 108 h 108"/>
                <a:gd name="T16" fmla="*/ 33 w 109"/>
                <a:gd name="T17" fmla="*/ 104 h 108"/>
                <a:gd name="T18" fmla="*/ 16 w 109"/>
                <a:gd name="T19" fmla="*/ 92 h 108"/>
                <a:gd name="T20" fmla="*/ 4 w 109"/>
                <a:gd name="T21" fmla="*/ 75 h 108"/>
                <a:gd name="T22" fmla="*/ 0 w 109"/>
                <a:gd name="T23" fmla="*/ 54 h 108"/>
                <a:gd name="T24" fmla="*/ 4 w 109"/>
                <a:gd name="T25" fmla="*/ 33 h 108"/>
                <a:gd name="T26" fmla="*/ 16 w 109"/>
                <a:gd name="T27" fmla="*/ 16 h 108"/>
                <a:gd name="T28" fmla="*/ 33 w 109"/>
                <a:gd name="T29" fmla="*/ 4 h 108"/>
                <a:gd name="T30" fmla="*/ 55 w 109"/>
                <a:gd name="T31" fmla="*/ 0 h 108"/>
                <a:gd name="T32" fmla="*/ 76 w 109"/>
                <a:gd name="T33" fmla="*/ 4 h 108"/>
                <a:gd name="T34" fmla="*/ 66 w 109"/>
                <a:gd name="T35" fmla="*/ 81 h 108"/>
                <a:gd name="T36" fmla="*/ 75 w 109"/>
                <a:gd name="T37" fmla="*/ 75 h 108"/>
                <a:gd name="T38" fmla="*/ 81 w 109"/>
                <a:gd name="T39" fmla="*/ 65 h 108"/>
                <a:gd name="T40" fmla="*/ 83 w 109"/>
                <a:gd name="T41" fmla="*/ 54 h 108"/>
                <a:gd name="T42" fmla="*/ 81 w 109"/>
                <a:gd name="T43" fmla="*/ 42 h 108"/>
                <a:gd name="T44" fmla="*/ 75 w 109"/>
                <a:gd name="T45" fmla="*/ 33 h 108"/>
                <a:gd name="T46" fmla="*/ 66 w 109"/>
                <a:gd name="T47" fmla="*/ 27 h 108"/>
                <a:gd name="T48" fmla="*/ 55 w 109"/>
                <a:gd name="T49" fmla="*/ 24 h 108"/>
                <a:gd name="T50" fmla="*/ 43 w 109"/>
                <a:gd name="T51" fmla="*/ 27 h 108"/>
                <a:gd name="T52" fmla="*/ 34 w 109"/>
                <a:gd name="T53" fmla="*/ 33 h 108"/>
                <a:gd name="T54" fmla="*/ 28 w 109"/>
                <a:gd name="T55" fmla="*/ 42 h 108"/>
                <a:gd name="T56" fmla="*/ 26 w 109"/>
                <a:gd name="T57" fmla="*/ 54 h 108"/>
                <a:gd name="T58" fmla="*/ 28 w 109"/>
                <a:gd name="T59" fmla="*/ 65 h 108"/>
                <a:gd name="T60" fmla="*/ 34 w 109"/>
                <a:gd name="T61" fmla="*/ 75 h 108"/>
                <a:gd name="T62" fmla="*/ 43 w 109"/>
                <a:gd name="T63" fmla="*/ 81 h 108"/>
                <a:gd name="T64" fmla="*/ 55 w 109"/>
                <a:gd name="T65" fmla="*/ 84 h 108"/>
                <a:gd name="T66" fmla="*/ 66 w 109"/>
                <a:gd name="T67" fmla="*/ 8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" h="108">
                  <a:moveTo>
                    <a:pt x="76" y="4"/>
                  </a:moveTo>
                  <a:cubicBezTo>
                    <a:pt x="83" y="7"/>
                    <a:pt x="88" y="11"/>
                    <a:pt x="93" y="16"/>
                  </a:cubicBezTo>
                  <a:cubicBezTo>
                    <a:pt x="98" y="21"/>
                    <a:pt x="102" y="26"/>
                    <a:pt x="105" y="33"/>
                  </a:cubicBezTo>
                  <a:cubicBezTo>
                    <a:pt x="108" y="39"/>
                    <a:pt x="109" y="46"/>
                    <a:pt x="109" y="54"/>
                  </a:cubicBezTo>
                  <a:cubicBezTo>
                    <a:pt x="109" y="61"/>
                    <a:pt x="108" y="69"/>
                    <a:pt x="105" y="75"/>
                  </a:cubicBezTo>
                  <a:cubicBezTo>
                    <a:pt x="102" y="82"/>
                    <a:pt x="98" y="87"/>
                    <a:pt x="93" y="92"/>
                  </a:cubicBezTo>
                  <a:cubicBezTo>
                    <a:pt x="88" y="97"/>
                    <a:pt x="83" y="101"/>
                    <a:pt x="76" y="104"/>
                  </a:cubicBezTo>
                  <a:cubicBezTo>
                    <a:pt x="69" y="106"/>
                    <a:pt x="62" y="108"/>
                    <a:pt x="55" y="108"/>
                  </a:cubicBezTo>
                  <a:cubicBezTo>
                    <a:pt x="47" y="108"/>
                    <a:pt x="40" y="106"/>
                    <a:pt x="33" y="104"/>
                  </a:cubicBezTo>
                  <a:cubicBezTo>
                    <a:pt x="26" y="101"/>
                    <a:pt x="21" y="97"/>
                    <a:pt x="16" y="92"/>
                  </a:cubicBezTo>
                  <a:cubicBezTo>
                    <a:pt x="11" y="87"/>
                    <a:pt x="7" y="82"/>
                    <a:pt x="4" y="75"/>
                  </a:cubicBezTo>
                  <a:cubicBezTo>
                    <a:pt x="1" y="69"/>
                    <a:pt x="0" y="61"/>
                    <a:pt x="0" y="54"/>
                  </a:cubicBezTo>
                  <a:cubicBezTo>
                    <a:pt x="0" y="46"/>
                    <a:pt x="1" y="39"/>
                    <a:pt x="4" y="33"/>
                  </a:cubicBezTo>
                  <a:cubicBezTo>
                    <a:pt x="7" y="26"/>
                    <a:pt x="11" y="21"/>
                    <a:pt x="16" y="16"/>
                  </a:cubicBezTo>
                  <a:cubicBezTo>
                    <a:pt x="21" y="11"/>
                    <a:pt x="26" y="7"/>
                    <a:pt x="33" y="4"/>
                  </a:cubicBezTo>
                  <a:cubicBezTo>
                    <a:pt x="40" y="1"/>
                    <a:pt x="47" y="0"/>
                    <a:pt x="55" y="0"/>
                  </a:cubicBezTo>
                  <a:cubicBezTo>
                    <a:pt x="62" y="0"/>
                    <a:pt x="69" y="1"/>
                    <a:pt x="76" y="4"/>
                  </a:cubicBezTo>
                  <a:close/>
                  <a:moveTo>
                    <a:pt x="66" y="81"/>
                  </a:moveTo>
                  <a:cubicBezTo>
                    <a:pt x="70" y="80"/>
                    <a:pt x="73" y="77"/>
                    <a:pt x="75" y="75"/>
                  </a:cubicBezTo>
                  <a:cubicBezTo>
                    <a:pt x="78" y="72"/>
                    <a:pt x="80" y="69"/>
                    <a:pt x="81" y="65"/>
                  </a:cubicBezTo>
                  <a:cubicBezTo>
                    <a:pt x="82" y="62"/>
                    <a:pt x="83" y="58"/>
                    <a:pt x="83" y="54"/>
                  </a:cubicBezTo>
                  <a:cubicBezTo>
                    <a:pt x="83" y="50"/>
                    <a:pt x="82" y="46"/>
                    <a:pt x="81" y="42"/>
                  </a:cubicBezTo>
                  <a:cubicBezTo>
                    <a:pt x="80" y="39"/>
                    <a:pt x="78" y="36"/>
                    <a:pt x="75" y="33"/>
                  </a:cubicBezTo>
                  <a:cubicBezTo>
                    <a:pt x="73" y="30"/>
                    <a:pt x="70" y="28"/>
                    <a:pt x="66" y="27"/>
                  </a:cubicBezTo>
                  <a:cubicBezTo>
                    <a:pt x="63" y="25"/>
                    <a:pt x="59" y="24"/>
                    <a:pt x="55" y="24"/>
                  </a:cubicBezTo>
                  <a:cubicBezTo>
                    <a:pt x="50" y="24"/>
                    <a:pt x="46" y="25"/>
                    <a:pt x="43" y="27"/>
                  </a:cubicBezTo>
                  <a:cubicBezTo>
                    <a:pt x="39" y="28"/>
                    <a:pt x="36" y="30"/>
                    <a:pt x="34" y="33"/>
                  </a:cubicBezTo>
                  <a:cubicBezTo>
                    <a:pt x="31" y="36"/>
                    <a:pt x="29" y="39"/>
                    <a:pt x="28" y="42"/>
                  </a:cubicBezTo>
                  <a:cubicBezTo>
                    <a:pt x="27" y="46"/>
                    <a:pt x="26" y="50"/>
                    <a:pt x="26" y="54"/>
                  </a:cubicBezTo>
                  <a:cubicBezTo>
                    <a:pt x="26" y="58"/>
                    <a:pt x="27" y="62"/>
                    <a:pt x="28" y="65"/>
                  </a:cubicBezTo>
                  <a:cubicBezTo>
                    <a:pt x="29" y="69"/>
                    <a:pt x="31" y="72"/>
                    <a:pt x="34" y="75"/>
                  </a:cubicBezTo>
                  <a:cubicBezTo>
                    <a:pt x="36" y="77"/>
                    <a:pt x="39" y="80"/>
                    <a:pt x="43" y="81"/>
                  </a:cubicBezTo>
                  <a:cubicBezTo>
                    <a:pt x="46" y="83"/>
                    <a:pt x="50" y="84"/>
                    <a:pt x="55" y="84"/>
                  </a:cubicBezTo>
                  <a:cubicBezTo>
                    <a:pt x="59" y="84"/>
                    <a:pt x="63" y="83"/>
                    <a:pt x="66" y="81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Freeform 38">
              <a:extLst>
                <a:ext uri="{FF2B5EF4-FFF2-40B4-BE49-F238E27FC236}">
                  <a16:creationId xmlns:a16="http://schemas.microsoft.com/office/drawing/2014/main" id="{F7C5BF45-0B1F-4E53-8168-1441ED38A9B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81626" y="1006475"/>
              <a:ext cx="153988" cy="160338"/>
            </a:xfrm>
            <a:custGeom>
              <a:avLst/>
              <a:gdLst>
                <a:gd name="T0" fmla="*/ 18 w 97"/>
                <a:gd name="T1" fmla="*/ 101 h 101"/>
                <a:gd name="T2" fmla="*/ 0 w 97"/>
                <a:gd name="T3" fmla="*/ 101 h 101"/>
                <a:gd name="T4" fmla="*/ 40 w 97"/>
                <a:gd name="T5" fmla="*/ 0 h 101"/>
                <a:gd name="T6" fmla="*/ 57 w 97"/>
                <a:gd name="T7" fmla="*/ 0 h 101"/>
                <a:gd name="T8" fmla="*/ 97 w 97"/>
                <a:gd name="T9" fmla="*/ 101 h 101"/>
                <a:gd name="T10" fmla="*/ 79 w 97"/>
                <a:gd name="T11" fmla="*/ 101 h 101"/>
                <a:gd name="T12" fmla="*/ 70 w 97"/>
                <a:gd name="T13" fmla="*/ 77 h 101"/>
                <a:gd name="T14" fmla="*/ 27 w 97"/>
                <a:gd name="T15" fmla="*/ 77 h 101"/>
                <a:gd name="T16" fmla="*/ 18 w 97"/>
                <a:gd name="T17" fmla="*/ 101 h 101"/>
                <a:gd name="T18" fmla="*/ 64 w 97"/>
                <a:gd name="T19" fmla="*/ 62 h 101"/>
                <a:gd name="T20" fmla="*/ 49 w 97"/>
                <a:gd name="T21" fmla="*/ 21 h 101"/>
                <a:gd name="T22" fmla="*/ 33 w 97"/>
                <a:gd name="T23" fmla="*/ 62 h 101"/>
                <a:gd name="T24" fmla="*/ 64 w 97"/>
                <a:gd name="T25" fmla="*/ 62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7" h="101">
                  <a:moveTo>
                    <a:pt x="18" y="101"/>
                  </a:moveTo>
                  <a:lnTo>
                    <a:pt x="0" y="101"/>
                  </a:lnTo>
                  <a:lnTo>
                    <a:pt x="40" y="0"/>
                  </a:lnTo>
                  <a:lnTo>
                    <a:pt x="57" y="0"/>
                  </a:lnTo>
                  <a:lnTo>
                    <a:pt x="97" y="101"/>
                  </a:lnTo>
                  <a:lnTo>
                    <a:pt x="79" y="101"/>
                  </a:lnTo>
                  <a:lnTo>
                    <a:pt x="70" y="77"/>
                  </a:lnTo>
                  <a:lnTo>
                    <a:pt x="27" y="77"/>
                  </a:lnTo>
                  <a:lnTo>
                    <a:pt x="18" y="101"/>
                  </a:lnTo>
                  <a:close/>
                  <a:moveTo>
                    <a:pt x="64" y="62"/>
                  </a:moveTo>
                  <a:lnTo>
                    <a:pt x="49" y="21"/>
                  </a:lnTo>
                  <a:lnTo>
                    <a:pt x="33" y="62"/>
                  </a:lnTo>
                  <a:lnTo>
                    <a:pt x="64" y="62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Freeform 39">
              <a:extLst>
                <a:ext uri="{FF2B5EF4-FFF2-40B4-BE49-F238E27FC236}">
                  <a16:creationId xmlns:a16="http://schemas.microsoft.com/office/drawing/2014/main" id="{767F1B17-5AC2-4C7D-971B-E11790DCC1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59426" y="1058863"/>
              <a:ext cx="100013" cy="111125"/>
            </a:xfrm>
            <a:custGeom>
              <a:avLst/>
              <a:gdLst>
                <a:gd name="T0" fmla="*/ 24 w 93"/>
                <a:gd name="T1" fmla="*/ 102 h 105"/>
                <a:gd name="T2" fmla="*/ 12 w 93"/>
                <a:gd name="T3" fmla="*/ 95 h 105"/>
                <a:gd name="T4" fmla="*/ 3 w 93"/>
                <a:gd name="T5" fmla="*/ 83 h 105"/>
                <a:gd name="T6" fmla="*/ 0 w 93"/>
                <a:gd name="T7" fmla="*/ 66 h 105"/>
                <a:gd name="T8" fmla="*/ 0 w 93"/>
                <a:gd name="T9" fmla="*/ 0 h 105"/>
                <a:gd name="T10" fmla="*/ 26 w 93"/>
                <a:gd name="T11" fmla="*/ 0 h 105"/>
                <a:gd name="T12" fmla="*/ 26 w 93"/>
                <a:gd name="T13" fmla="*/ 59 h 105"/>
                <a:gd name="T14" fmla="*/ 31 w 93"/>
                <a:gd name="T15" fmla="*/ 76 h 105"/>
                <a:gd name="T16" fmla="*/ 47 w 93"/>
                <a:gd name="T17" fmla="*/ 81 h 105"/>
                <a:gd name="T18" fmla="*/ 56 w 93"/>
                <a:gd name="T19" fmla="*/ 79 h 105"/>
                <a:gd name="T20" fmla="*/ 62 w 93"/>
                <a:gd name="T21" fmla="*/ 74 h 105"/>
                <a:gd name="T22" fmla="*/ 67 w 93"/>
                <a:gd name="T23" fmla="*/ 68 h 105"/>
                <a:gd name="T24" fmla="*/ 67 w 93"/>
                <a:gd name="T25" fmla="*/ 0 h 105"/>
                <a:gd name="T26" fmla="*/ 93 w 93"/>
                <a:gd name="T27" fmla="*/ 0 h 105"/>
                <a:gd name="T28" fmla="*/ 93 w 93"/>
                <a:gd name="T29" fmla="*/ 102 h 105"/>
                <a:gd name="T30" fmla="*/ 69 w 93"/>
                <a:gd name="T31" fmla="*/ 102 h 105"/>
                <a:gd name="T32" fmla="*/ 69 w 93"/>
                <a:gd name="T33" fmla="*/ 87 h 105"/>
                <a:gd name="T34" fmla="*/ 61 w 93"/>
                <a:gd name="T35" fmla="*/ 96 h 105"/>
                <a:gd name="T36" fmla="*/ 52 w 93"/>
                <a:gd name="T37" fmla="*/ 102 h 105"/>
                <a:gd name="T38" fmla="*/ 38 w 93"/>
                <a:gd name="T39" fmla="*/ 105 h 105"/>
                <a:gd name="T40" fmla="*/ 24 w 93"/>
                <a:gd name="T41" fmla="*/ 102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" h="105">
                  <a:moveTo>
                    <a:pt x="24" y="102"/>
                  </a:moveTo>
                  <a:cubicBezTo>
                    <a:pt x="19" y="101"/>
                    <a:pt x="15" y="98"/>
                    <a:pt x="12" y="95"/>
                  </a:cubicBezTo>
                  <a:cubicBezTo>
                    <a:pt x="8" y="91"/>
                    <a:pt x="6" y="87"/>
                    <a:pt x="3" y="83"/>
                  </a:cubicBezTo>
                  <a:cubicBezTo>
                    <a:pt x="1" y="78"/>
                    <a:pt x="0" y="72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7"/>
                    <a:pt x="28" y="72"/>
                    <a:pt x="31" y="76"/>
                  </a:cubicBezTo>
                  <a:cubicBezTo>
                    <a:pt x="35" y="79"/>
                    <a:pt x="40" y="81"/>
                    <a:pt x="47" y="81"/>
                  </a:cubicBezTo>
                  <a:cubicBezTo>
                    <a:pt x="50" y="81"/>
                    <a:pt x="53" y="80"/>
                    <a:pt x="56" y="79"/>
                  </a:cubicBezTo>
                  <a:cubicBezTo>
                    <a:pt x="58" y="77"/>
                    <a:pt x="60" y="76"/>
                    <a:pt x="62" y="74"/>
                  </a:cubicBezTo>
                  <a:cubicBezTo>
                    <a:pt x="64" y="72"/>
                    <a:pt x="66" y="70"/>
                    <a:pt x="67" y="68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69" y="102"/>
                    <a:pt x="69" y="102"/>
                    <a:pt x="69" y="102"/>
                  </a:cubicBezTo>
                  <a:cubicBezTo>
                    <a:pt x="69" y="87"/>
                    <a:pt x="69" y="87"/>
                    <a:pt x="69" y="87"/>
                  </a:cubicBezTo>
                  <a:cubicBezTo>
                    <a:pt x="67" y="91"/>
                    <a:pt x="64" y="94"/>
                    <a:pt x="61" y="96"/>
                  </a:cubicBezTo>
                  <a:cubicBezTo>
                    <a:pt x="59" y="98"/>
                    <a:pt x="56" y="100"/>
                    <a:pt x="52" y="102"/>
                  </a:cubicBezTo>
                  <a:cubicBezTo>
                    <a:pt x="48" y="104"/>
                    <a:pt x="43" y="105"/>
                    <a:pt x="38" y="105"/>
                  </a:cubicBezTo>
                  <a:cubicBezTo>
                    <a:pt x="33" y="105"/>
                    <a:pt x="28" y="104"/>
                    <a:pt x="24" y="102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Freeform 40">
              <a:extLst>
                <a:ext uri="{FF2B5EF4-FFF2-40B4-BE49-F238E27FC236}">
                  <a16:creationId xmlns:a16="http://schemas.microsoft.com/office/drawing/2014/main" id="{4763BC45-BB15-4154-B84B-587968F445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89601" y="1055688"/>
              <a:ext cx="98425" cy="114300"/>
            </a:xfrm>
            <a:custGeom>
              <a:avLst/>
              <a:gdLst>
                <a:gd name="T0" fmla="*/ 15 w 92"/>
                <a:gd name="T1" fmla="*/ 70 h 108"/>
                <a:gd name="T2" fmla="*/ 24 w 92"/>
                <a:gd name="T3" fmla="*/ 78 h 108"/>
                <a:gd name="T4" fmla="*/ 34 w 92"/>
                <a:gd name="T5" fmla="*/ 83 h 108"/>
                <a:gd name="T6" fmla="*/ 46 w 92"/>
                <a:gd name="T7" fmla="*/ 85 h 108"/>
                <a:gd name="T8" fmla="*/ 60 w 92"/>
                <a:gd name="T9" fmla="*/ 83 h 108"/>
                <a:gd name="T10" fmla="*/ 65 w 92"/>
                <a:gd name="T11" fmla="*/ 76 h 108"/>
                <a:gd name="T12" fmla="*/ 61 w 92"/>
                <a:gd name="T13" fmla="*/ 69 h 108"/>
                <a:gd name="T14" fmla="*/ 45 w 92"/>
                <a:gd name="T15" fmla="*/ 65 h 108"/>
                <a:gd name="T16" fmla="*/ 30 w 92"/>
                <a:gd name="T17" fmla="*/ 60 h 108"/>
                <a:gd name="T18" fmla="*/ 18 w 92"/>
                <a:gd name="T19" fmla="*/ 54 h 108"/>
                <a:gd name="T20" fmla="*/ 10 w 92"/>
                <a:gd name="T21" fmla="*/ 45 h 108"/>
                <a:gd name="T22" fmla="*/ 7 w 92"/>
                <a:gd name="T23" fmla="*/ 32 h 108"/>
                <a:gd name="T24" fmla="*/ 10 w 92"/>
                <a:gd name="T25" fmla="*/ 20 h 108"/>
                <a:gd name="T26" fmla="*/ 18 w 92"/>
                <a:gd name="T27" fmla="*/ 10 h 108"/>
                <a:gd name="T28" fmla="*/ 32 w 92"/>
                <a:gd name="T29" fmla="*/ 3 h 108"/>
                <a:gd name="T30" fmla="*/ 51 w 92"/>
                <a:gd name="T31" fmla="*/ 0 h 108"/>
                <a:gd name="T32" fmla="*/ 67 w 92"/>
                <a:gd name="T33" fmla="*/ 2 h 108"/>
                <a:gd name="T34" fmla="*/ 79 w 92"/>
                <a:gd name="T35" fmla="*/ 6 h 108"/>
                <a:gd name="T36" fmla="*/ 90 w 92"/>
                <a:gd name="T37" fmla="*/ 13 h 108"/>
                <a:gd name="T38" fmla="*/ 77 w 92"/>
                <a:gd name="T39" fmla="*/ 32 h 108"/>
                <a:gd name="T40" fmla="*/ 69 w 92"/>
                <a:gd name="T41" fmla="*/ 27 h 108"/>
                <a:gd name="T42" fmla="*/ 61 w 92"/>
                <a:gd name="T43" fmla="*/ 24 h 108"/>
                <a:gd name="T44" fmla="*/ 51 w 92"/>
                <a:gd name="T45" fmla="*/ 23 h 108"/>
                <a:gd name="T46" fmla="*/ 38 w 92"/>
                <a:gd name="T47" fmla="*/ 25 h 108"/>
                <a:gd name="T48" fmla="*/ 32 w 92"/>
                <a:gd name="T49" fmla="*/ 33 h 108"/>
                <a:gd name="T50" fmla="*/ 38 w 92"/>
                <a:gd name="T51" fmla="*/ 39 h 108"/>
                <a:gd name="T52" fmla="*/ 57 w 92"/>
                <a:gd name="T53" fmla="*/ 44 h 108"/>
                <a:gd name="T54" fmla="*/ 71 w 92"/>
                <a:gd name="T55" fmla="*/ 48 h 108"/>
                <a:gd name="T56" fmla="*/ 82 w 92"/>
                <a:gd name="T57" fmla="*/ 54 h 108"/>
                <a:gd name="T58" fmla="*/ 89 w 92"/>
                <a:gd name="T59" fmla="*/ 63 h 108"/>
                <a:gd name="T60" fmla="*/ 92 w 92"/>
                <a:gd name="T61" fmla="*/ 76 h 108"/>
                <a:gd name="T62" fmla="*/ 88 w 92"/>
                <a:gd name="T63" fmla="*/ 89 h 108"/>
                <a:gd name="T64" fmla="*/ 79 w 92"/>
                <a:gd name="T65" fmla="*/ 99 h 108"/>
                <a:gd name="T66" fmla="*/ 65 w 92"/>
                <a:gd name="T67" fmla="*/ 105 h 108"/>
                <a:gd name="T68" fmla="*/ 47 w 92"/>
                <a:gd name="T69" fmla="*/ 108 h 108"/>
                <a:gd name="T70" fmla="*/ 27 w 92"/>
                <a:gd name="T71" fmla="*/ 105 h 108"/>
                <a:gd name="T72" fmla="*/ 12 w 92"/>
                <a:gd name="T73" fmla="*/ 99 h 108"/>
                <a:gd name="T74" fmla="*/ 0 w 92"/>
                <a:gd name="T75" fmla="*/ 89 h 108"/>
                <a:gd name="T76" fmla="*/ 15 w 92"/>
                <a:gd name="T77" fmla="*/ 7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2" h="108">
                  <a:moveTo>
                    <a:pt x="15" y="70"/>
                  </a:moveTo>
                  <a:cubicBezTo>
                    <a:pt x="18" y="73"/>
                    <a:pt x="21" y="76"/>
                    <a:pt x="24" y="78"/>
                  </a:cubicBezTo>
                  <a:cubicBezTo>
                    <a:pt x="27" y="80"/>
                    <a:pt x="30" y="81"/>
                    <a:pt x="34" y="83"/>
                  </a:cubicBezTo>
                  <a:cubicBezTo>
                    <a:pt x="37" y="84"/>
                    <a:pt x="41" y="85"/>
                    <a:pt x="46" y="85"/>
                  </a:cubicBezTo>
                  <a:cubicBezTo>
                    <a:pt x="51" y="85"/>
                    <a:pt x="56" y="84"/>
                    <a:pt x="60" y="83"/>
                  </a:cubicBezTo>
                  <a:cubicBezTo>
                    <a:pt x="63" y="81"/>
                    <a:pt x="65" y="79"/>
                    <a:pt x="65" y="76"/>
                  </a:cubicBezTo>
                  <a:cubicBezTo>
                    <a:pt x="65" y="73"/>
                    <a:pt x="64" y="70"/>
                    <a:pt x="61" y="69"/>
                  </a:cubicBezTo>
                  <a:cubicBezTo>
                    <a:pt x="58" y="68"/>
                    <a:pt x="53" y="66"/>
                    <a:pt x="45" y="65"/>
                  </a:cubicBezTo>
                  <a:cubicBezTo>
                    <a:pt x="40" y="63"/>
                    <a:pt x="35" y="62"/>
                    <a:pt x="30" y="60"/>
                  </a:cubicBezTo>
                  <a:cubicBezTo>
                    <a:pt x="26" y="59"/>
                    <a:pt x="22" y="57"/>
                    <a:pt x="18" y="54"/>
                  </a:cubicBezTo>
                  <a:cubicBezTo>
                    <a:pt x="15" y="51"/>
                    <a:pt x="12" y="48"/>
                    <a:pt x="10" y="45"/>
                  </a:cubicBezTo>
                  <a:cubicBezTo>
                    <a:pt x="8" y="41"/>
                    <a:pt x="7" y="37"/>
                    <a:pt x="7" y="32"/>
                  </a:cubicBezTo>
                  <a:cubicBezTo>
                    <a:pt x="7" y="28"/>
                    <a:pt x="8" y="24"/>
                    <a:pt x="10" y="20"/>
                  </a:cubicBezTo>
                  <a:cubicBezTo>
                    <a:pt x="12" y="16"/>
                    <a:pt x="15" y="13"/>
                    <a:pt x="18" y="10"/>
                  </a:cubicBezTo>
                  <a:cubicBezTo>
                    <a:pt x="22" y="7"/>
                    <a:pt x="27" y="5"/>
                    <a:pt x="32" y="3"/>
                  </a:cubicBezTo>
                  <a:cubicBezTo>
                    <a:pt x="38" y="1"/>
                    <a:pt x="44" y="0"/>
                    <a:pt x="51" y="0"/>
                  </a:cubicBezTo>
                  <a:cubicBezTo>
                    <a:pt x="57" y="0"/>
                    <a:pt x="62" y="1"/>
                    <a:pt x="67" y="2"/>
                  </a:cubicBezTo>
                  <a:cubicBezTo>
                    <a:pt x="72" y="3"/>
                    <a:pt x="76" y="5"/>
                    <a:pt x="79" y="6"/>
                  </a:cubicBezTo>
                  <a:cubicBezTo>
                    <a:pt x="83" y="8"/>
                    <a:pt x="87" y="10"/>
                    <a:pt x="90" y="13"/>
                  </a:cubicBezTo>
                  <a:cubicBezTo>
                    <a:pt x="77" y="32"/>
                    <a:pt x="77" y="32"/>
                    <a:pt x="77" y="32"/>
                  </a:cubicBezTo>
                  <a:cubicBezTo>
                    <a:pt x="74" y="30"/>
                    <a:pt x="72" y="29"/>
                    <a:pt x="69" y="27"/>
                  </a:cubicBezTo>
                  <a:cubicBezTo>
                    <a:pt x="67" y="26"/>
                    <a:pt x="64" y="25"/>
                    <a:pt x="61" y="24"/>
                  </a:cubicBezTo>
                  <a:cubicBezTo>
                    <a:pt x="58" y="23"/>
                    <a:pt x="54" y="23"/>
                    <a:pt x="51" y="23"/>
                  </a:cubicBezTo>
                  <a:cubicBezTo>
                    <a:pt x="46" y="23"/>
                    <a:pt x="42" y="24"/>
                    <a:pt x="38" y="25"/>
                  </a:cubicBezTo>
                  <a:cubicBezTo>
                    <a:pt x="34" y="27"/>
                    <a:pt x="32" y="29"/>
                    <a:pt x="32" y="33"/>
                  </a:cubicBezTo>
                  <a:cubicBezTo>
                    <a:pt x="32" y="36"/>
                    <a:pt x="34" y="38"/>
                    <a:pt x="38" y="39"/>
                  </a:cubicBezTo>
                  <a:cubicBezTo>
                    <a:pt x="42" y="41"/>
                    <a:pt x="48" y="42"/>
                    <a:pt x="57" y="44"/>
                  </a:cubicBezTo>
                  <a:cubicBezTo>
                    <a:pt x="62" y="45"/>
                    <a:pt x="66" y="46"/>
                    <a:pt x="71" y="48"/>
                  </a:cubicBezTo>
                  <a:cubicBezTo>
                    <a:pt x="75" y="49"/>
                    <a:pt x="79" y="51"/>
                    <a:pt x="82" y="54"/>
                  </a:cubicBezTo>
                  <a:cubicBezTo>
                    <a:pt x="85" y="56"/>
                    <a:pt x="87" y="59"/>
                    <a:pt x="89" y="63"/>
                  </a:cubicBezTo>
                  <a:cubicBezTo>
                    <a:pt x="91" y="66"/>
                    <a:pt x="92" y="71"/>
                    <a:pt x="92" y="76"/>
                  </a:cubicBezTo>
                  <a:cubicBezTo>
                    <a:pt x="92" y="81"/>
                    <a:pt x="90" y="85"/>
                    <a:pt x="88" y="89"/>
                  </a:cubicBezTo>
                  <a:cubicBezTo>
                    <a:pt x="86" y="93"/>
                    <a:pt x="83" y="96"/>
                    <a:pt x="79" y="99"/>
                  </a:cubicBezTo>
                  <a:cubicBezTo>
                    <a:pt x="75" y="101"/>
                    <a:pt x="70" y="104"/>
                    <a:pt x="65" y="105"/>
                  </a:cubicBezTo>
                  <a:cubicBezTo>
                    <a:pt x="59" y="107"/>
                    <a:pt x="53" y="108"/>
                    <a:pt x="47" y="108"/>
                  </a:cubicBezTo>
                  <a:cubicBezTo>
                    <a:pt x="39" y="108"/>
                    <a:pt x="33" y="107"/>
                    <a:pt x="27" y="105"/>
                  </a:cubicBezTo>
                  <a:cubicBezTo>
                    <a:pt x="21" y="103"/>
                    <a:pt x="16" y="101"/>
                    <a:pt x="12" y="99"/>
                  </a:cubicBezTo>
                  <a:cubicBezTo>
                    <a:pt x="8" y="96"/>
                    <a:pt x="4" y="93"/>
                    <a:pt x="0" y="89"/>
                  </a:cubicBezTo>
                  <a:lnTo>
                    <a:pt x="15" y="70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Freeform 41">
              <a:extLst>
                <a:ext uri="{FF2B5EF4-FFF2-40B4-BE49-F238E27FC236}">
                  <a16:creationId xmlns:a16="http://schemas.microsoft.com/office/drawing/2014/main" id="{CF423C5F-6CB0-4072-B978-3D0C263B55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10251" y="1025525"/>
              <a:ext cx="85725" cy="144463"/>
            </a:xfrm>
            <a:custGeom>
              <a:avLst/>
              <a:gdLst>
                <a:gd name="T0" fmla="*/ 0 w 80"/>
                <a:gd name="T1" fmla="*/ 31 h 136"/>
                <a:gd name="T2" fmla="*/ 20 w 80"/>
                <a:gd name="T3" fmla="*/ 31 h 136"/>
                <a:gd name="T4" fmla="*/ 20 w 80"/>
                <a:gd name="T5" fmla="*/ 0 h 136"/>
                <a:gd name="T6" fmla="*/ 46 w 80"/>
                <a:gd name="T7" fmla="*/ 0 h 136"/>
                <a:gd name="T8" fmla="*/ 46 w 80"/>
                <a:gd name="T9" fmla="*/ 31 h 136"/>
                <a:gd name="T10" fmla="*/ 77 w 80"/>
                <a:gd name="T11" fmla="*/ 31 h 136"/>
                <a:gd name="T12" fmla="*/ 77 w 80"/>
                <a:gd name="T13" fmla="*/ 54 h 136"/>
                <a:gd name="T14" fmla="*/ 46 w 80"/>
                <a:gd name="T15" fmla="*/ 54 h 136"/>
                <a:gd name="T16" fmla="*/ 46 w 80"/>
                <a:gd name="T17" fmla="*/ 95 h 136"/>
                <a:gd name="T18" fmla="*/ 50 w 80"/>
                <a:gd name="T19" fmla="*/ 108 h 136"/>
                <a:gd name="T20" fmla="*/ 60 w 80"/>
                <a:gd name="T21" fmla="*/ 112 h 136"/>
                <a:gd name="T22" fmla="*/ 64 w 80"/>
                <a:gd name="T23" fmla="*/ 111 h 136"/>
                <a:gd name="T24" fmla="*/ 67 w 80"/>
                <a:gd name="T25" fmla="*/ 110 h 136"/>
                <a:gd name="T26" fmla="*/ 71 w 80"/>
                <a:gd name="T27" fmla="*/ 108 h 136"/>
                <a:gd name="T28" fmla="*/ 80 w 80"/>
                <a:gd name="T29" fmla="*/ 129 h 136"/>
                <a:gd name="T30" fmla="*/ 73 w 80"/>
                <a:gd name="T31" fmla="*/ 132 h 136"/>
                <a:gd name="T32" fmla="*/ 66 w 80"/>
                <a:gd name="T33" fmla="*/ 135 h 136"/>
                <a:gd name="T34" fmla="*/ 55 w 80"/>
                <a:gd name="T35" fmla="*/ 136 h 136"/>
                <a:gd name="T36" fmla="*/ 42 w 80"/>
                <a:gd name="T37" fmla="*/ 133 h 136"/>
                <a:gd name="T38" fmla="*/ 30 w 80"/>
                <a:gd name="T39" fmla="*/ 126 h 136"/>
                <a:gd name="T40" fmla="*/ 23 w 80"/>
                <a:gd name="T41" fmla="*/ 114 h 136"/>
                <a:gd name="T42" fmla="*/ 20 w 80"/>
                <a:gd name="T43" fmla="*/ 100 h 136"/>
                <a:gd name="T44" fmla="*/ 20 w 80"/>
                <a:gd name="T45" fmla="*/ 54 h 136"/>
                <a:gd name="T46" fmla="*/ 0 w 80"/>
                <a:gd name="T47" fmla="*/ 54 h 136"/>
                <a:gd name="T48" fmla="*/ 0 w 80"/>
                <a:gd name="T49" fmla="*/ 31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0" h="136">
                  <a:moveTo>
                    <a:pt x="0" y="31"/>
                  </a:moveTo>
                  <a:cubicBezTo>
                    <a:pt x="20" y="31"/>
                    <a:pt x="20" y="31"/>
                    <a:pt x="20" y="31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77" y="31"/>
                    <a:pt x="77" y="31"/>
                    <a:pt x="77" y="31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46" y="54"/>
                    <a:pt x="46" y="54"/>
                    <a:pt x="46" y="54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6" y="102"/>
                    <a:pt x="48" y="106"/>
                    <a:pt x="50" y="108"/>
                  </a:cubicBezTo>
                  <a:cubicBezTo>
                    <a:pt x="53" y="110"/>
                    <a:pt x="56" y="112"/>
                    <a:pt x="60" y="112"/>
                  </a:cubicBezTo>
                  <a:cubicBezTo>
                    <a:pt x="61" y="112"/>
                    <a:pt x="63" y="111"/>
                    <a:pt x="64" y="111"/>
                  </a:cubicBezTo>
                  <a:cubicBezTo>
                    <a:pt x="65" y="111"/>
                    <a:pt x="66" y="110"/>
                    <a:pt x="67" y="110"/>
                  </a:cubicBezTo>
                  <a:cubicBezTo>
                    <a:pt x="68" y="109"/>
                    <a:pt x="70" y="109"/>
                    <a:pt x="71" y="108"/>
                  </a:cubicBezTo>
                  <a:cubicBezTo>
                    <a:pt x="80" y="129"/>
                    <a:pt x="80" y="129"/>
                    <a:pt x="80" y="129"/>
                  </a:cubicBezTo>
                  <a:cubicBezTo>
                    <a:pt x="78" y="130"/>
                    <a:pt x="76" y="132"/>
                    <a:pt x="73" y="132"/>
                  </a:cubicBezTo>
                  <a:cubicBezTo>
                    <a:pt x="71" y="133"/>
                    <a:pt x="69" y="134"/>
                    <a:pt x="66" y="135"/>
                  </a:cubicBezTo>
                  <a:cubicBezTo>
                    <a:pt x="63" y="136"/>
                    <a:pt x="59" y="136"/>
                    <a:pt x="55" y="136"/>
                  </a:cubicBezTo>
                  <a:cubicBezTo>
                    <a:pt x="51" y="136"/>
                    <a:pt x="46" y="135"/>
                    <a:pt x="42" y="133"/>
                  </a:cubicBezTo>
                  <a:cubicBezTo>
                    <a:pt x="37" y="132"/>
                    <a:pt x="34" y="129"/>
                    <a:pt x="30" y="126"/>
                  </a:cubicBezTo>
                  <a:cubicBezTo>
                    <a:pt x="27" y="123"/>
                    <a:pt x="25" y="119"/>
                    <a:pt x="23" y="114"/>
                  </a:cubicBezTo>
                  <a:cubicBezTo>
                    <a:pt x="21" y="110"/>
                    <a:pt x="20" y="105"/>
                    <a:pt x="20" y="100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0" y="54"/>
                    <a:pt x="0" y="54"/>
                    <a:pt x="0" y="54"/>
                  </a:cubicBezTo>
                  <a:lnTo>
                    <a:pt x="0" y="31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Freeform 42">
              <a:extLst>
                <a:ext uri="{FF2B5EF4-FFF2-40B4-BE49-F238E27FC236}">
                  <a16:creationId xmlns:a16="http://schemas.microsoft.com/office/drawing/2014/main" id="{07E65987-E8A4-44DC-A4BB-D452FCC939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26138" y="1055688"/>
              <a:ext cx="74613" cy="111125"/>
            </a:xfrm>
            <a:custGeom>
              <a:avLst/>
              <a:gdLst>
                <a:gd name="T0" fmla="*/ 59 w 70"/>
                <a:gd name="T1" fmla="*/ 1 h 105"/>
                <a:gd name="T2" fmla="*/ 65 w 70"/>
                <a:gd name="T3" fmla="*/ 2 h 105"/>
                <a:gd name="T4" fmla="*/ 70 w 70"/>
                <a:gd name="T5" fmla="*/ 3 h 105"/>
                <a:gd name="T6" fmla="*/ 61 w 70"/>
                <a:gd name="T7" fmla="*/ 27 h 105"/>
                <a:gd name="T8" fmla="*/ 58 w 70"/>
                <a:gd name="T9" fmla="*/ 25 h 105"/>
                <a:gd name="T10" fmla="*/ 54 w 70"/>
                <a:gd name="T11" fmla="*/ 25 h 105"/>
                <a:gd name="T12" fmla="*/ 49 w 70"/>
                <a:gd name="T13" fmla="*/ 24 h 105"/>
                <a:gd name="T14" fmla="*/ 39 w 70"/>
                <a:gd name="T15" fmla="*/ 26 h 105"/>
                <a:gd name="T16" fmla="*/ 32 w 70"/>
                <a:gd name="T17" fmla="*/ 31 h 105"/>
                <a:gd name="T18" fmla="*/ 26 w 70"/>
                <a:gd name="T19" fmla="*/ 38 h 105"/>
                <a:gd name="T20" fmla="*/ 26 w 70"/>
                <a:gd name="T21" fmla="*/ 105 h 105"/>
                <a:gd name="T22" fmla="*/ 0 w 70"/>
                <a:gd name="T23" fmla="*/ 105 h 105"/>
                <a:gd name="T24" fmla="*/ 0 w 70"/>
                <a:gd name="T25" fmla="*/ 3 h 105"/>
                <a:gd name="T26" fmla="*/ 25 w 70"/>
                <a:gd name="T27" fmla="*/ 3 h 105"/>
                <a:gd name="T28" fmla="*/ 25 w 70"/>
                <a:gd name="T29" fmla="*/ 18 h 105"/>
                <a:gd name="T30" fmla="*/ 32 w 70"/>
                <a:gd name="T31" fmla="*/ 9 h 105"/>
                <a:gd name="T32" fmla="*/ 40 w 70"/>
                <a:gd name="T33" fmla="*/ 3 h 105"/>
                <a:gd name="T34" fmla="*/ 53 w 70"/>
                <a:gd name="T35" fmla="*/ 0 h 105"/>
                <a:gd name="T36" fmla="*/ 59 w 70"/>
                <a:gd name="T37" fmla="*/ 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0" h="105">
                  <a:moveTo>
                    <a:pt x="59" y="1"/>
                  </a:moveTo>
                  <a:cubicBezTo>
                    <a:pt x="62" y="1"/>
                    <a:pt x="63" y="1"/>
                    <a:pt x="65" y="2"/>
                  </a:cubicBezTo>
                  <a:cubicBezTo>
                    <a:pt x="67" y="2"/>
                    <a:pt x="69" y="3"/>
                    <a:pt x="70" y="3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0" y="26"/>
                    <a:pt x="59" y="26"/>
                    <a:pt x="58" y="25"/>
                  </a:cubicBezTo>
                  <a:cubicBezTo>
                    <a:pt x="57" y="25"/>
                    <a:pt x="56" y="25"/>
                    <a:pt x="54" y="25"/>
                  </a:cubicBezTo>
                  <a:cubicBezTo>
                    <a:pt x="53" y="24"/>
                    <a:pt x="51" y="24"/>
                    <a:pt x="49" y="24"/>
                  </a:cubicBezTo>
                  <a:cubicBezTo>
                    <a:pt x="45" y="24"/>
                    <a:pt x="42" y="25"/>
                    <a:pt x="39" y="26"/>
                  </a:cubicBezTo>
                  <a:cubicBezTo>
                    <a:pt x="36" y="28"/>
                    <a:pt x="33" y="29"/>
                    <a:pt x="32" y="31"/>
                  </a:cubicBezTo>
                  <a:cubicBezTo>
                    <a:pt x="29" y="33"/>
                    <a:pt x="27" y="36"/>
                    <a:pt x="26" y="38"/>
                  </a:cubicBezTo>
                  <a:cubicBezTo>
                    <a:pt x="26" y="105"/>
                    <a:pt x="26" y="105"/>
                    <a:pt x="26" y="105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7" y="14"/>
                    <a:pt x="29" y="11"/>
                    <a:pt x="32" y="9"/>
                  </a:cubicBezTo>
                  <a:cubicBezTo>
                    <a:pt x="34" y="7"/>
                    <a:pt x="37" y="5"/>
                    <a:pt x="40" y="3"/>
                  </a:cubicBezTo>
                  <a:cubicBezTo>
                    <a:pt x="44" y="1"/>
                    <a:pt x="48" y="0"/>
                    <a:pt x="53" y="0"/>
                  </a:cubicBezTo>
                  <a:cubicBezTo>
                    <a:pt x="55" y="0"/>
                    <a:pt x="57" y="0"/>
                    <a:pt x="59" y="1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Freeform 43">
              <a:extLst>
                <a:ext uri="{FF2B5EF4-FFF2-40B4-BE49-F238E27FC236}">
                  <a16:creationId xmlns:a16="http://schemas.microsoft.com/office/drawing/2014/main" id="{03292961-08C2-493A-8574-389794E2DF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024563" y="1004888"/>
              <a:ext cx="36513" cy="161925"/>
            </a:xfrm>
            <a:custGeom>
              <a:avLst/>
              <a:gdLst>
                <a:gd name="T0" fmla="*/ 5 w 34"/>
                <a:gd name="T1" fmla="*/ 5 h 153"/>
                <a:gd name="T2" fmla="*/ 17 w 34"/>
                <a:gd name="T3" fmla="*/ 0 h 153"/>
                <a:gd name="T4" fmla="*/ 29 w 34"/>
                <a:gd name="T5" fmla="*/ 5 h 153"/>
                <a:gd name="T6" fmla="*/ 34 w 34"/>
                <a:gd name="T7" fmla="*/ 17 h 153"/>
                <a:gd name="T8" fmla="*/ 29 w 34"/>
                <a:gd name="T9" fmla="*/ 30 h 153"/>
                <a:gd name="T10" fmla="*/ 17 w 34"/>
                <a:gd name="T11" fmla="*/ 35 h 153"/>
                <a:gd name="T12" fmla="*/ 5 w 34"/>
                <a:gd name="T13" fmla="*/ 30 h 153"/>
                <a:gd name="T14" fmla="*/ 0 w 34"/>
                <a:gd name="T15" fmla="*/ 17 h 153"/>
                <a:gd name="T16" fmla="*/ 5 w 34"/>
                <a:gd name="T17" fmla="*/ 5 h 153"/>
                <a:gd name="T18" fmla="*/ 4 w 34"/>
                <a:gd name="T19" fmla="*/ 51 h 153"/>
                <a:gd name="T20" fmla="*/ 30 w 34"/>
                <a:gd name="T21" fmla="*/ 51 h 153"/>
                <a:gd name="T22" fmla="*/ 30 w 34"/>
                <a:gd name="T23" fmla="*/ 153 h 153"/>
                <a:gd name="T24" fmla="*/ 4 w 34"/>
                <a:gd name="T25" fmla="*/ 153 h 153"/>
                <a:gd name="T26" fmla="*/ 4 w 34"/>
                <a:gd name="T27" fmla="*/ 5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153">
                  <a:moveTo>
                    <a:pt x="5" y="5"/>
                  </a:moveTo>
                  <a:cubicBezTo>
                    <a:pt x="8" y="2"/>
                    <a:pt x="12" y="0"/>
                    <a:pt x="17" y="0"/>
                  </a:cubicBezTo>
                  <a:cubicBezTo>
                    <a:pt x="22" y="0"/>
                    <a:pt x="26" y="2"/>
                    <a:pt x="29" y="5"/>
                  </a:cubicBezTo>
                  <a:cubicBezTo>
                    <a:pt x="32" y="9"/>
                    <a:pt x="34" y="13"/>
                    <a:pt x="34" y="17"/>
                  </a:cubicBezTo>
                  <a:cubicBezTo>
                    <a:pt x="34" y="22"/>
                    <a:pt x="32" y="26"/>
                    <a:pt x="29" y="30"/>
                  </a:cubicBezTo>
                  <a:cubicBezTo>
                    <a:pt x="26" y="33"/>
                    <a:pt x="22" y="35"/>
                    <a:pt x="17" y="35"/>
                  </a:cubicBezTo>
                  <a:cubicBezTo>
                    <a:pt x="12" y="35"/>
                    <a:pt x="8" y="33"/>
                    <a:pt x="5" y="30"/>
                  </a:cubicBezTo>
                  <a:cubicBezTo>
                    <a:pt x="1" y="26"/>
                    <a:pt x="0" y="22"/>
                    <a:pt x="0" y="17"/>
                  </a:cubicBezTo>
                  <a:cubicBezTo>
                    <a:pt x="0" y="13"/>
                    <a:pt x="1" y="9"/>
                    <a:pt x="5" y="5"/>
                  </a:cubicBezTo>
                  <a:close/>
                  <a:moveTo>
                    <a:pt x="4" y="51"/>
                  </a:moveTo>
                  <a:cubicBezTo>
                    <a:pt x="30" y="51"/>
                    <a:pt x="30" y="51"/>
                    <a:pt x="30" y="51"/>
                  </a:cubicBezTo>
                  <a:cubicBezTo>
                    <a:pt x="30" y="153"/>
                    <a:pt x="30" y="153"/>
                    <a:pt x="30" y="153"/>
                  </a:cubicBezTo>
                  <a:cubicBezTo>
                    <a:pt x="4" y="153"/>
                    <a:pt x="4" y="153"/>
                    <a:pt x="4" y="153"/>
                  </a:cubicBezTo>
                  <a:lnTo>
                    <a:pt x="4" y="51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44">
              <a:extLst>
                <a:ext uri="{FF2B5EF4-FFF2-40B4-BE49-F238E27FC236}">
                  <a16:creationId xmlns:a16="http://schemas.microsoft.com/office/drawing/2014/main" id="{5BFA12EB-95E1-4F3A-BB32-1C36BAF6DDC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091238" y="1055688"/>
              <a:ext cx="100013" cy="114300"/>
            </a:xfrm>
            <a:custGeom>
              <a:avLst/>
              <a:gdLst>
                <a:gd name="T0" fmla="*/ 83 w 95"/>
                <a:gd name="T1" fmla="*/ 10 h 108"/>
                <a:gd name="T2" fmla="*/ 95 w 95"/>
                <a:gd name="T3" fmla="*/ 38 h 108"/>
                <a:gd name="T4" fmla="*/ 95 w 95"/>
                <a:gd name="T5" fmla="*/ 105 h 108"/>
                <a:gd name="T6" fmla="*/ 71 w 95"/>
                <a:gd name="T7" fmla="*/ 105 h 108"/>
                <a:gd name="T8" fmla="*/ 71 w 95"/>
                <a:gd name="T9" fmla="*/ 92 h 108"/>
                <a:gd name="T10" fmla="*/ 63 w 95"/>
                <a:gd name="T11" fmla="*/ 100 h 108"/>
                <a:gd name="T12" fmla="*/ 53 w 95"/>
                <a:gd name="T13" fmla="*/ 106 h 108"/>
                <a:gd name="T14" fmla="*/ 38 w 95"/>
                <a:gd name="T15" fmla="*/ 108 h 108"/>
                <a:gd name="T16" fmla="*/ 24 w 95"/>
                <a:gd name="T17" fmla="*/ 106 h 108"/>
                <a:gd name="T18" fmla="*/ 12 w 95"/>
                <a:gd name="T19" fmla="*/ 99 h 108"/>
                <a:gd name="T20" fmla="*/ 4 w 95"/>
                <a:gd name="T21" fmla="*/ 88 h 108"/>
                <a:gd name="T22" fmla="*/ 0 w 95"/>
                <a:gd name="T23" fmla="*/ 73 h 108"/>
                <a:gd name="T24" fmla="*/ 4 w 95"/>
                <a:gd name="T25" fmla="*/ 60 h 108"/>
                <a:gd name="T26" fmla="*/ 12 w 95"/>
                <a:gd name="T27" fmla="*/ 49 h 108"/>
                <a:gd name="T28" fmla="*/ 25 w 95"/>
                <a:gd name="T29" fmla="*/ 42 h 108"/>
                <a:gd name="T30" fmla="*/ 41 w 95"/>
                <a:gd name="T31" fmla="*/ 39 h 108"/>
                <a:gd name="T32" fmla="*/ 53 w 95"/>
                <a:gd name="T33" fmla="*/ 41 h 108"/>
                <a:gd name="T34" fmla="*/ 62 w 95"/>
                <a:gd name="T35" fmla="*/ 43 h 108"/>
                <a:gd name="T36" fmla="*/ 69 w 95"/>
                <a:gd name="T37" fmla="*/ 47 h 108"/>
                <a:gd name="T38" fmla="*/ 69 w 95"/>
                <a:gd name="T39" fmla="*/ 41 h 108"/>
                <a:gd name="T40" fmla="*/ 67 w 95"/>
                <a:gd name="T41" fmla="*/ 33 h 108"/>
                <a:gd name="T42" fmla="*/ 62 w 95"/>
                <a:gd name="T43" fmla="*/ 27 h 108"/>
                <a:gd name="T44" fmla="*/ 55 w 95"/>
                <a:gd name="T45" fmla="*/ 24 h 108"/>
                <a:gd name="T46" fmla="*/ 47 w 95"/>
                <a:gd name="T47" fmla="*/ 23 h 108"/>
                <a:gd name="T48" fmla="*/ 36 w 95"/>
                <a:gd name="T49" fmla="*/ 24 h 108"/>
                <a:gd name="T50" fmla="*/ 26 w 95"/>
                <a:gd name="T51" fmla="*/ 27 h 108"/>
                <a:gd name="T52" fmla="*/ 17 w 95"/>
                <a:gd name="T53" fmla="*/ 31 h 108"/>
                <a:gd name="T54" fmla="*/ 8 w 95"/>
                <a:gd name="T55" fmla="*/ 9 h 108"/>
                <a:gd name="T56" fmla="*/ 20 w 95"/>
                <a:gd name="T57" fmla="*/ 5 h 108"/>
                <a:gd name="T58" fmla="*/ 33 w 95"/>
                <a:gd name="T59" fmla="*/ 1 h 108"/>
                <a:gd name="T60" fmla="*/ 49 w 95"/>
                <a:gd name="T61" fmla="*/ 0 h 108"/>
                <a:gd name="T62" fmla="*/ 83 w 95"/>
                <a:gd name="T63" fmla="*/ 10 h 108"/>
                <a:gd name="T64" fmla="*/ 56 w 95"/>
                <a:gd name="T65" fmla="*/ 84 h 108"/>
                <a:gd name="T66" fmla="*/ 63 w 95"/>
                <a:gd name="T67" fmla="*/ 80 h 108"/>
                <a:gd name="T68" fmla="*/ 69 w 95"/>
                <a:gd name="T69" fmla="*/ 74 h 108"/>
                <a:gd name="T70" fmla="*/ 69 w 95"/>
                <a:gd name="T71" fmla="*/ 64 h 108"/>
                <a:gd name="T72" fmla="*/ 63 w 95"/>
                <a:gd name="T73" fmla="*/ 61 h 108"/>
                <a:gd name="T74" fmla="*/ 56 w 95"/>
                <a:gd name="T75" fmla="*/ 59 h 108"/>
                <a:gd name="T76" fmla="*/ 46 w 95"/>
                <a:gd name="T77" fmla="*/ 59 h 108"/>
                <a:gd name="T78" fmla="*/ 40 w 95"/>
                <a:gd name="T79" fmla="*/ 59 h 108"/>
                <a:gd name="T80" fmla="*/ 33 w 95"/>
                <a:gd name="T81" fmla="*/ 62 h 108"/>
                <a:gd name="T82" fmla="*/ 29 w 95"/>
                <a:gd name="T83" fmla="*/ 66 h 108"/>
                <a:gd name="T84" fmla="*/ 27 w 95"/>
                <a:gd name="T85" fmla="*/ 73 h 108"/>
                <a:gd name="T86" fmla="*/ 29 w 95"/>
                <a:gd name="T87" fmla="*/ 80 h 108"/>
                <a:gd name="T88" fmla="*/ 33 w 95"/>
                <a:gd name="T89" fmla="*/ 84 h 108"/>
                <a:gd name="T90" fmla="*/ 39 w 95"/>
                <a:gd name="T91" fmla="*/ 86 h 108"/>
                <a:gd name="T92" fmla="*/ 46 w 95"/>
                <a:gd name="T93" fmla="*/ 86 h 108"/>
                <a:gd name="T94" fmla="*/ 56 w 95"/>
                <a:gd name="T95" fmla="*/ 8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5" h="108">
                  <a:moveTo>
                    <a:pt x="83" y="10"/>
                  </a:moveTo>
                  <a:cubicBezTo>
                    <a:pt x="91" y="17"/>
                    <a:pt x="95" y="27"/>
                    <a:pt x="95" y="38"/>
                  </a:cubicBezTo>
                  <a:cubicBezTo>
                    <a:pt x="95" y="105"/>
                    <a:pt x="95" y="105"/>
                    <a:pt x="95" y="105"/>
                  </a:cubicBezTo>
                  <a:cubicBezTo>
                    <a:pt x="71" y="105"/>
                    <a:pt x="71" y="105"/>
                    <a:pt x="71" y="105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9" y="95"/>
                    <a:pt x="66" y="98"/>
                    <a:pt x="63" y="100"/>
                  </a:cubicBezTo>
                  <a:cubicBezTo>
                    <a:pt x="60" y="102"/>
                    <a:pt x="57" y="104"/>
                    <a:pt x="53" y="106"/>
                  </a:cubicBezTo>
                  <a:cubicBezTo>
                    <a:pt x="48" y="107"/>
                    <a:pt x="43" y="108"/>
                    <a:pt x="38" y="108"/>
                  </a:cubicBezTo>
                  <a:cubicBezTo>
                    <a:pt x="33" y="108"/>
                    <a:pt x="28" y="107"/>
                    <a:pt x="24" y="106"/>
                  </a:cubicBezTo>
                  <a:cubicBezTo>
                    <a:pt x="19" y="104"/>
                    <a:pt x="15" y="102"/>
                    <a:pt x="12" y="99"/>
                  </a:cubicBezTo>
                  <a:cubicBezTo>
                    <a:pt x="8" y="96"/>
                    <a:pt x="6" y="92"/>
                    <a:pt x="4" y="88"/>
                  </a:cubicBezTo>
                  <a:cubicBezTo>
                    <a:pt x="1" y="84"/>
                    <a:pt x="0" y="79"/>
                    <a:pt x="0" y="73"/>
                  </a:cubicBezTo>
                  <a:cubicBezTo>
                    <a:pt x="0" y="69"/>
                    <a:pt x="2" y="64"/>
                    <a:pt x="4" y="60"/>
                  </a:cubicBezTo>
                  <a:cubicBezTo>
                    <a:pt x="6" y="56"/>
                    <a:pt x="9" y="52"/>
                    <a:pt x="12" y="49"/>
                  </a:cubicBezTo>
                  <a:cubicBezTo>
                    <a:pt x="16" y="46"/>
                    <a:pt x="20" y="44"/>
                    <a:pt x="25" y="42"/>
                  </a:cubicBezTo>
                  <a:cubicBezTo>
                    <a:pt x="30" y="40"/>
                    <a:pt x="35" y="39"/>
                    <a:pt x="41" y="39"/>
                  </a:cubicBezTo>
                  <a:cubicBezTo>
                    <a:pt x="46" y="39"/>
                    <a:pt x="50" y="40"/>
                    <a:pt x="53" y="41"/>
                  </a:cubicBezTo>
                  <a:cubicBezTo>
                    <a:pt x="57" y="41"/>
                    <a:pt x="60" y="42"/>
                    <a:pt x="62" y="43"/>
                  </a:cubicBezTo>
                  <a:cubicBezTo>
                    <a:pt x="65" y="44"/>
                    <a:pt x="67" y="45"/>
                    <a:pt x="69" y="47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38"/>
                    <a:pt x="69" y="35"/>
                    <a:pt x="67" y="33"/>
                  </a:cubicBezTo>
                  <a:cubicBezTo>
                    <a:pt x="66" y="30"/>
                    <a:pt x="64" y="28"/>
                    <a:pt x="62" y="27"/>
                  </a:cubicBezTo>
                  <a:cubicBezTo>
                    <a:pt x="60" y="26"/>
                    <a:pt x="57" y="25"/>
                    <a:pt x="55" y="24"/>
                  </a:cubicBezTo>
                  <a:cubicBezTo>
                    <a:pt x="52" y="23"/>
                    <a:pt x="50" y="23"/>
                    <a:pt x="47" y="23"/>
                  </a:cubicBezTo>
                  <a:cubicBezTo>
                    <a:pt x="43" y="23"/>
                    <a:pt x="40" y="24"/>
                    <a:pt x="36" y="24"/>
                  </a:cubicBezTo>
                  <a:cubicBezTo>
                    <a:pt x="32" y="25"/>
                    <a:pt x="29" y="26"/>
                    <a:pt x="26" y="27"/>
                  </a:cubicBezTo>
                  <a:cubicBezTo>
                    <a:pt x="23" y="28"/>
                    <a:pt x="20" y="29"/>
                    <a:pt x="17" y="31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2" y="8"/>
                    <a:pt x="16" y="6"/>
                    <a:pt x="20" y="5"/>
                  </a:cubicBezTo>
                  <a:cubicBezTo>
                    <a:pt x="24" y="3"/>
                    <a:pt x="28" y="2"/>
                    <a:pt x="33" y="1"/>
                  </a:cubicBezTo>
                  <a:cubicBezTo>
                    <a:pt x="38" y="1"/>
                    <a:pt x="43" y="0"/>
                    <a:pt x="49" y="0"/>
                  </a:cubicBezTo>
                  <a:cubicBezTo>
                    <a:pt x="63" y="0"/>
                    <a:pt x="75" y="3"/>
                    <a:pt x="83" y="10"/>
                  </a:cubicBezTo>
                  <a:close/>
                  <a:moveTo>
                    <a:pt x="56" y="84"/>
                  </a:moveTo>
                  <a:cubicBezTo>
                    <a:pt x="59" y="83"/>
                    <a:pt x="61" y="82"/>
                    <a:pt x="63" y="80"/>
                  </a:cubicBezTo>
                  <a:cubicBezTo>
                    <a:pt x="66" y="78"/>
                    <a:pt x="68" y="76"/>
                    <a:pt x="69" y="7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7" y="63"/>
                    <a:pt x="65" y="62"/>
                    <a:pt x="63" y="61"/>
                  </a:cubicBezTo>
                  <a:cubicBezTo>
                    <a:pt x="61" y="60"/>
                    <a:pt x="58" y="60"/>
                    <a:pt x="56" y="59"/>
                  </a:cubicBezTo>
                  <a:cubicBezTo>
                    <a:pt x="53" y="59"/>
                    <a:pt x="50" y="59"/>
                    <a:pt x="46" y="59"/>
                  </a:cubicBezTo>
                  <a:cubicBezTo>
                    <a:pt x="44" y="59"/>
                    <a:pt x="42" y="59"/>
                    <a:pt x="40" y="59"/>
                  </a:cubicBezTo>
                  <a:cubicBezTo>
                    <a:pt x="37" y="60"/>
                    <a:pt x="35" y="61"/>
                    <a:pt x="33" y="62"/>
                  </a:cubicBezTo>
                  <a:cubicBezTo>
                    <a:pt x="32" y="63"/>
                    <a:pt x="30" y="64"/>
                    <a:pt x="29" y="66"/>
                  </a:cubicBezTo>
                  <a:cubicBezTo>
                    <a:pt x="28" y="68"/>
                    <a:pt x="27" y="70"/>
                    <a:pt x="27" y="73"/>
                  </a:cubicBezTo>
                  <a:cubicBezTo>
                    <a:pt x="27" y="76"/>
                    <a:pt x="27" y="78"/>
                    <a:pt x="29" y="80"/>
                  </a:cubicBezTo>
                  <a:cubicBezTo>
                    <a:pt x="30" y="81"/>
                    <a:pt x="31" y="83"/>
                    <a:pt x="33" y="84"/>
                  </a:cubicBezTo>
                  <a:cubicBezTo>
                    <a:pt x="35" y="85"/>
                    <a:pt x="37" y="85"/>
                    <a:pt x="39" y="86"/>
                  </a:cubicBezTo>
                  <a:cubicBezTo>
                    <a:pt x="41" y="86"/>
                    <a:pt x="43" y="86"/>
                    <a:pt x="46" y="86"/>
                  </a:cubicBezTo>
                  <a:cubicBezTo>
                    <a:pt x="49" y="86"/>
                    <a:pt x="53" y="86"/>
                    <a:pt x="56" y="84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793649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A Trennblat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6CF0DE6-BD34-412D-94AB-7924E43881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0097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6CF0DE6-BD34-412D-94AB-7924E4388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F55117D-FE50-4AFA-A92A-60B9795FDC5E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rgbClr val="E6320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600" b="0" dirty="0" err="1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9C33C06-B7BC-4474-8A51-CD345406F80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9018" y="6114644"/>
            <a:ext cx="2022620" cy="423013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B58C32-5D6D-4977-A4AE-56A05D190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1225" y="1052513"/>
            <a:ext cx="8631238" cy="1895475"/>
          </a:xfrm>
        </p:spPr>
        <p:txBody>
          <a:bodyPr anchor="t"/>
          <a:lstStyle>
            <a:lvl1pPr>
              <a:defRPr sz="40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92238C7F-749E-496A-B8DA-C3D88F1BAA38}"/>
              </a:ext>
            </a:extLst>
          </p:cNvPr>
          <p:cNvSpPr/>
          <p:nvPr userDrawn="1"/>
        </p:nvSpPr>
        <p:spPr>
          <a:xfrm>
            <a:off x="1" y="4559"/>
            <a:ext cx="540326" cy="692558"/>
          </a:xfrm>
          <a:custGeom>
            <a:avLst/>
            <a:gdLst/>
            <a:ahLst/>
            <a:cxnLst/>
            <a:rect l="l" t="t" r="r" b="b"/>
            <a:pathLst>
              <a:path w="1005205" h="1288415">
                <a:moveTo>
                  <a:pt x="0" y="0"/>
                </a:moveTo>
                <a:lnTo>
                  <a:pt x="0" y="335068"/>
                </a:lnTo>
                <a:lnTo>
                  <a:pt x="609552" y="640462"/>
                </a:lnTo>
                <a:lnTo>
                  <a:pt x="0" y="952850"/>
                </a:lnTo>
                <a:lnTo>
                  <a:pt x="0" y="1287918"/>
                </a:lnTo>
                <a:lnTo>
                  <a:pt x="1005204" y="793253"/>
                </a:lnTo>
                <a:lnTo>
                  <a:pt x="1005204" y="49601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 anchor="ctr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97314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Sä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1A2DEE5-844F-40BD-847C-AD9181795C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8262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1A2DEE5-844F-40BD-847C-AD9181795C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87596ED-8270-4BD9-9069-84F474882F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9537" y="209407"/>
            <a:ext cx="8631785" cy="430887"/>
          </a:xfrm>
        </p:spPr>
        <p:txBody>
          <a:bodyPr vert="horz"/>
          <a:lstStyle>
            <a:lvl1pPr>
              <a:defRPr sz="3600"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ACA3A6B-089A-48DA-907F-9446B12760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873D13-8BEF-4470-A16D-19EDE6E7A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01F0EAC-DF03-4553-8D22-C26B163DC97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11224" y="1052513"/>
            <a:ext cx="8631240" cy="4708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7057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Säule +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0EC113F-F3DE-4EF1-AA24-564936C5ED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4901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0EC113F-F3DE-4EF1-AA24-564936C5ED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D0B7F44-1A9D-43CE-8B94-70E892BCC6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0F0CD56-CDEF-4F99-82E9-F8344BA7D8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F17232-4933-4B44-AB0A-14F7352465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4A8CE99-0AD9-4D9C-9C09-47545620E9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226" y="1052513"/>
            <a:ext cx="8630940" cy="604800"/>
          </a:xfrm>
        </p:spPr>
        <p:txBody>
          <a:bodyPr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8CF1398-AEAE-44BE-B05F-E03B17EB921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260" y="1726825"/>
            <a:ext cx="8631749" cy="40342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045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äulen +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F84AA5-90AF-4944-A33D-CCA60F0CDA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0177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F84AA5-90AF-4944-A33D-CCA60F0CDA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B707A87-9762-46A5-A1BF-60907C2C37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9537" y="209407"/>
            <a:ext cx="8631785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EE70F8-6350-4489-8BF1-B1E111BCAB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0CCAD9-3BB6-43FD-8F71-48FD588090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60E6D9E-AC7D-4CD8-9A1B-DC502AAB0B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225" y="1052513"/>
            <a:ext cx="4200555" cy="604800"/>
          </a:xfrm>
        </p:spPr>
        <p:txBody>
          <a:bodyPr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F252CF9-0987-4CBA-8CC7-B6582ECA239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225" y="1726825"/>
            <a:ext cx="4200555" cy="40433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86BDC7C-1DCC-488B-89D7-620778CE86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41908" y="1052513"/>
            <a:ext cx="4200555" cy="604800"/>
          </a:xfrm>
        </p:spPr>
        <p:txBody>
          <a:bodyPr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4" name="Content Placeholder 7">
            <a:extLst>
              <a:ext uri="{FF2B5EF4-FFF2-40B4-BE49-F238E27FC236}">
                <a16:creationId xmlns:a16="http://schemas.microsoft.com/office/drawing/2014/main" id="{40CF3282-EE3F-4A8C-9194-FB798F942DA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341908" y="1726825"/>
            <a:ext cx="4200555" cy="40433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1753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äulen +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45B2A81-20D5-4DCD-B2D5-0DD68492C0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2719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45B2A81-20D5-4DCD-B2D5-0DD68492C0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AA155B-CCB9-45EF-83E7-A4F386C3D5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46BAB9-04B4-4317-A1F0-FDDB9A1286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56EE890-29E0-44E4-9668-F68CDE7A61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9538" y="208338"/>
            <a:ext cx="8631786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3C71988F-E327-4F96-8306-B27881356B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225" y="1052513"/>
            <a:ext cx="3469957" cy="604800"/>
          </a:xfrm>
        </p:spPr>
        <p:txBody>
          <a:bodyPr/>
          <a:lstStyle>
            <a:lvl1pPr>
              <a:defRPr sz="2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9" name="Content Placeholder 7">
            <a:extLst>
              <a:ext uri="{FF2B5EF4-FFF2-40B4-BE49-F238E27FC236}">
                <a16:creationId xmlns:a16="http://schemas.microsoft.com/office/drawing/2014/main" id="{4E46B802-7A11-4132-902C-6A8E73CAE6F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225" y="1726825"/>
            <a:ext cx="3469957" cy="4043397"/>
          </a:xfrm>
        </p:spPr>
        <p:txBody>
          <a:bodyPr/>
          <a:lstStyle>
            <a:lvl1pPr>
              <a:defRPr sz="240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251A676-9663-42CA-9166-26C677E3B2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30896" y="1052513"/>
            <a:ext cx="3469957" cy="604800"/>
          </a:xfrm>
        </p:spPr>
        <p:txBody>
          <a:bodyPr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1" name="Content Placeholder 7">
            <a:extLst>
              <a:ext uri="{FF2B5EF4-FFF2-40B4-BE49-F238E27FC236}">
                <a16:creationId xmlns:a16="http://schemas.microsoft.com/office/drawing/2014/main" id="{8C88EDB6-B166-4ABB-BA7D-0E492F4665A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30896" y="1726825"/>
            <a:ext cx="3469957" cy="4043397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400">
                <a:solidFill>
                  <a:schemeClr val="tx1"/>
                </a:solidFill>
              </a:defRPr>
            </a:lvl4pPr>
            <a:lvl5pP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20E0FD11-0513-4797-8CB2-3E0D24F23D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50568" y="1052513"/>
            <a:ext cx="3469957" cy="604800"/>
          </a:xfrm>
        </p:spPr>
        <p:txBody>
          <a:bodyPr/>
          <a:lstStyle>
            <a:lvl1pPr>
              <a:defRPr sz="28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3" name="Content Placeholder 7">
            <a:extLst>
              <a:ext uri="{FF2B5EF4-FFF2-40B4-BE49-F238E27FC236}">
                <a16:creationId xmlns:a16="http://schemas.microsoft.com/office/drawing/2014/main" id="{61D25E78-0AEF-4E09-8B9A-9996BEE68EE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350568" y="1726825"/>
            <a:ext cx="3469957" cy="4043397"/>
          </a:xfrm>
        </p:spPr>
        <p:txBody>
          <a:bodyPr/>
          <a:lstStyle>
            <a:lvl1pPr>
              <a:defRPr sz="2400">
                <a:solidFill>
                  <a:schemeClr val="accent4"/>
                </a:solidFill>
              </a:defRPr>
            </a:lvl1pPr>
            <a:lvl2pPr>
              <a:defRPr sz="2400">
                <a:solidFill>
                  <a:schemeClr val="accent4"/>
                </a:solidFill>
              </a:defRPr>
            </a:lvl2pPr>
            <a:lvl3pPr>
              <a:defRPr sz="2400">
                <a:solidFill>
                  <a:schemeClr val="accent4"/>
                </a:solidFill>
              </a:defRPr>
            </a:lvl3pPr>
            <a:lvl4pPr>
              <a:defRPr sz="2400">
                <a:solidFill>
                  <a:schemeClr val="accent4"/>
                </a:solidFill>
              </a:defRPr>
            </a:lvl4pPr>
            <a:lvl5pPr>
              <a:defRPr sz="2400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8496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44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äulen +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2EF57EA-F45E-48DD-BB02-9CCBBD67DA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679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2EF57EA-F45E-48DD-BB02-9CCBBD67DA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DCA3869-0626-4D7E-A07F-ED2B248D28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9845BF-B227-4307-81B9-E7C8FC57CD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B569F239-1A61-4E82-9B98-BB2D6F6CB5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3032" y="210212"/>
            <a:ext cx="8619431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2F2B9473-033B-41B3-A154-3B1336EE8A1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226" y="1052513"/>
            <a:ext cx="2533010" cy="604800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2" name="Content Placeholder 7">
            <a:extLst>
              <a:ext uri="{FF2B5EF4-FFF2-40B4-BE49-F238E27FC236}">
                <a16:creationId xmlns:a16="http://schemas.microsoft.com/office/drawing/2014/main" id="{C9427F82-503C-463A-BF79-F5A5EA2D69B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226" y="1726825"/>
            <a:ext cx="2533010" cy="40433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5237C118-A019-4D33-964B-D13E6747EE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03322" y="1052513"/>
            <a:ext cx="2533010" cy="604800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4" name="Content Placeholder 7">
            <a:extLst>
              <a:ext uri="{FF2B5EF4-FFF2-40B4-BE49-F238E27FC236}">
                <a16:creationId xmlns:a16="http://schemas.microsoft.com/office/drawing/2014/main" id="{05DA6DA1-355B-4AFA-9B21-A336D734899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703322" y="1726825"/>
            <a:ext cx="2533010" cy="40433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B04C321E-06CD-460E-9A0C-1FB1F64465C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95418" y="1052513"/>
            <a:ext cx="2533010" cy="604800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6" name="Content Placeholder 7">
            <a:extLst>
              <a:ext uri="{FF2B5EF4-FFF2-40B4-BE49-F238E27FC236}">
                <a16:creationId xmlns:a16="http://schemas.microsoft.com/office/drawing/2014/main" id="{C2329C79-5F90-40E8-BB19-5B2B9787D50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95418" y="1726825"/>
            <a:ext cx="2533010" cy="40433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24F5421-6FED-4A33-932C-CE3DA5044FA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87515" y="1052513"/>
            <a:ext cx="2533010" cy="604800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8" name="Content Placeholder 7">
            <a:extLst>
              <a:ext uri="{FF2B5EF4-FFF2-40B4-BE49-F238E27FC236}">
                <a16:creationId xmlns:a16="http://schemas.microsoft.com/office/drawing/2014/main" id="{AF9CA067-2ED3-4831-B812-20849029EFC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287515" y="1726825"/>
            <a:ext cx="2533010" cy="40433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225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44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inks + Foto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48EF813-7050-4CFA-A5BF-35F2ECAAC8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786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48EF813-7050-4CFA-A5BF-35F2ECAAC8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90BAE0-3503-40B7-97FF-3BBA5C4DD7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42D4FE-2A34-4C36-A765-CE00B9912A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DA4AB55-A4CD-400A-831B-870876DFDD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3031" y="210211"/>
            <a:ext cx="8631786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927D2A2D-8CE5-4B25-A24E-D55EB0EAF10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225" y="1052513"/>
            <a:ext cx="3469957" cy="471770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25B827B4-7226-45B7-803F-EFCCFD8A354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30896" y="1052513"/>
            <a:ext cx="7561104" cy="471770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3765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44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äulen +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F84AA5-90AF-4944-A33D-CCA60F0CDA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0663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F84AA5-90AF-4944-A33D-CCA60F0CDA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B707A87-9762-46A5-A1BF-60907C2C37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9537" y="209407"/>
            <a:ext cx="8631785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EE70F8-6350-4489-8BF1-B1E111BCAB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0CCAD9-3BB6-43FD-8F71-48FD588090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60E6D9E-AC7D-4CD8-9A1B-DC502AAB0B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225" y="1052513"/>
            <a:ext cx="4200555" cy="604800"/>
          </a:xfrm>
        </p:spPr>
        <p:txBody>
          <a:bodyPr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F252CF9-0987-4CBA-8CC7-B6582ECA239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225" y="1726825"/>
            <a:ext cx="4200555" cy="40433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86BDC7C-1DCC-488B-89D7-620778CE86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41908" y="1052513"/>
            <a:ext cx="4200555" cy="604800"/>
          </a:xfrm>
        </p:spPr>
        <p:txBody>
          <a:bodyPr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4" name="Content Placeholder 7">
            <a:extLst>
              <a:ext uri="{FF2B5EF4-FFF2-40B4-BE49-F238E27FC236}">
                <a16:creationId xmlns:a16="http://schemas.microsoft.com/office/drawing/2014/main" id="{40CF3282-EE3F-4A8C-9194-FB798F942DA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341908" y="1726825"/>
            <a:ext cx="4200555" cy="40433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8535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links +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48EF813-7050-4CFA-A5BF-35F2ECAAC8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8102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48EF813-7050-4CFA-A5BF-35F2ECAAC8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90BAE0-3503-40B7-97FF-3BBA5C4DD7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42D4FE-2A34-4C36-A765-CE00B9912A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DA4AB55-A4CD-400A-831B-870876DFDD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3032" y="210210"/>
            <a:ext cx="8631786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30B366EE-35A0-4779-A5D6-6B35B8697D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50568" y="1052513"/>
            <a:ext cx="3469957" cy="471770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Content Placeholder 7">
            <a:extLst>
              <a:ext uri="{FF2B5EF4-FFF2-40B4-BE49-F238E27FC236}">
                <a16:creationId xmlns:a16="http://schemas.microsoft.com/office/drawing/2014/main" id="{214ABF5A-147C-4980-B700-3A8C64606DC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0" y="1052513"/>
            <a:ext cx="8112661" cy="471770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2820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44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äulen + F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45B2A81-20D5-4DCD-B2D5-0DD68492C0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0849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45B2A81-20D5-4DCD-B2D5-0DD68492C0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AA155B-CCB9-45EF-83E7-A4F386C3D5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46BAB9-04B4-4317-A1F0-FDDB9A1286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56EE890-29E0-44E4-9668-F68CDE7A61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9538" y="208338"/>
            <a:ext cx="8631786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9" name="Content Placeholder 7">
            <a:extLst>
              <a:ext uri="{FF2B5EF4-FFF2-40B4-BE49-F238E27FC236}">
                <a16:creationId xmlns:a16="http://schemas.microsoft.com/office/drawing/2014/main" id="{4E46B802-7A11-4132-902C-6A8E73CAE6F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225" y="4696691"/>
            <a:ext cx="2387743" cy="1073531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Content Placeholder 7">
            <a:extLst>
              <a:ext uri="{FF2B5EF4-FFF2-40B4-BE49-F238E27FC236}">
                <a16:creationId xmlns:a16="http://schemas.microsoft.com/office/drawing/2014/main" id="{8C88EDB6-B166-4ABB-BA7D-0E492F4665A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985646" y="4696691"/>
            <a:ext cx="2387743" cy="1073531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Content Placeholder 7">
            <a:extLst>
              <a:ext uri="{FF2B5EF4-FFF2-40B4-BE49-F238E27FC236}">
                <a16:creationId xmlns:a16="http://schemas.microsoft.com/office/drawing/2014/main" id="{61D25E78-0AEF-4E09-8B9A-9996BEE68EE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9060067" y="4696691"/>
            <a:ext cx="2387743" cy="1073531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1C5F30F-C9B7-4000-8B2D-22FCB12B188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1" y="1052513"/>
            <a:ext cx="4043159" cy="3461298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A4924A90-45F3-47AB-9B15-4F778FBE223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74420" y="1052513"/>
            <a:ext cx="4043159" cy="3461298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EE7A4228-1859-43D7-A855-F6BF17DA22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48841" y="1052513"/>
            <a:ext cx="4043159" cy="3461298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5331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mi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11817AE-51ED-41E3-A690-ED26CAEA9D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1956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11817AE-51ED-41E3-A690-ED26CAEA9D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EC5787D-011E-416D-94DD-7B499E6E75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052513"/>
            <a:ext cx="12192000" cy="5805487"/>
          </a:xfrm>
          <a:solidFill>
            <a:schemeClr val="tx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A194230-98A5-4312-912D-7CAE3A9610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3033" y="210209"/>
            <a:ext cx="8619430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E5B1355D-DD05-472A-9160-73E5F49FBB8B}"/>
              </a:ext>
            </a:extLst>
          </p:cNvPr>
          <p:cNvGrpSpPr/>
          <p:nvPr userDrawn="1"/>
        </p:nvGrpSpPr>
        <p:grpSpPr>
          <a:xfrm>
            <a:off x="9809018" y="6114397"/>
            <a:ext cx="2022620" cy="422928"/>
            <a:chOff x="9809018" y="6114397"/>
            <a:chExt cx="2022620" cy="422928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BA0A10D1-360F-45ED-BB02-7489FB5422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66356" y="6115872"/>
              <a:ext cx="510226" cy="421453"/>
            </a:xfrm>
            <a:custGeom>
              <a:avLst/>
              <a:gdLst>
                <a:gd name="T0" fmla="*/ 318 w 1730"/>
                <a:gd name="T1" fmla="*/ 1429 h 1429"/>
                <a:gd name="T2" fmla="*/ 0 w 1730"/>
                <a:gd name="T3" fmla="*/ 1429 h 1429"/>
                <a:gd name="T4" fmla="*/ 721 w 1730"/>
                <a:gd name="T5" fmla="*/ 0 h 1429"/>
                <a:gd name="T6" fmla="*/ 1009 w 1730"/>
                <a:gd name="T7" fmla="*/ 0 h 1429"/>
                <a:gd name="T8" fmla="*/ 1730 w 1730"/>
                <a:gd name="T9" fmla="*/ 1429 h 1429"/>
                <a:gd name="T10" fmla="*/ 1405 w 1730"/>
                <a:gd name="T11" fmla="*/ 1429 h 1429"/>
                <a:gd name="T12" fmla="*/ 861 w 1730"/>
                <a:gd name="T13" fmla="*/ 376 h 1429"/>
                <a:gd name="T14" fmla="*/ 318 w 1730"/>
                <a:gd name="T15" fmla="*/ 1429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0" h="1429">
                  <a:moveTo>
                    <a:pt x="318" y="1429"/>
                  </a:moveTo>
                  <a:lnTo>
                    <a:pt x="0" y="1429"/>
                  </a:lnTo>
                  <a:lnTo>
                    <a:pt x="721" y="0"/>
                  </a:lnTo>
                  <a:lnTo>
                    <a:pt x="1009" y="0"/>
                  </a:lnTo>
                  <a:lnTo>
                    <a:pt x="1730" y="1429"/>
                  </a:lnTo>
                  <a:lnTo>
                    <a:pt x="1405" y="1429"/>
                  </a:lnTo>
                  <a:lnTo>
                    <a:pt x="861" y="376"/>
                  </a:lnTo>
                  <a:lnTo>
                    <a:pt x="318" y="14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Rectangle 6">
              <a:extLst>
                <a:ext uri="{FF2B5EF4-FFF2-40B4-BE49-F238E27FC236}">
                  <a16:creationId xmlns:a16="http://schemas.microsoft.com/office/drawing/2014/main" id="{1EAC1829-369D-48DB-A45E-C4A1D6F8F57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273043" y="6115872"/>
              <a:ext cx="14746" cy="11325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514FC642-3668-45C5-9273-50FCCA2586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0822" y="6115872"/>
              <a:ext cx="94967" cy="113253"/>
            </a:xfrm>
            <a:custGeom>
              <a:avLst/>
              <a:gdLst>
                <a:gd name="T0" fmla="*/ 0 w 136"/>
                <a:gd name="T1" fmla="*/ 161 h 161"/>
                <a:gd name="T2" fmla="*/ 0 w 136"/>
                <a:gd name="T3" fmla="*/ 0 h 161"/>
                <a:gd name="T4" fmla="*/ 20 w 136"/>
                <a:gd name="T5" fmla="*/ 0 h 161"/>
                <a:gd name="T6" fmla="*/ 88 w 136"/>
                <a:gd name="T7" fmla="*/ 90 h 161"/>
                <a:gd name="T8" fmla="*/ 116 w 136"/>
                <a:gd name="T9" fmla="*/ 127 h 161"/>
                <a:gd name="T10" fmla="*/ 116 w 136"/>
                <a:gd name="T11" fmla="*/ 127 h 161"/>
                <a:gd name="T12" fmla="*/ 116 w 136"/>
                <a:gd name="T13" fmla="*/ 81 h 161"/>
                <a:gd name="T14" fmla="*/ 116 w 136"/>
                <a:gd name="T15" fmla="*/ 0 h 161"/>
                <a:gd name="T16" fmla="*/ 136 w 136"/>
                <a:gd name="T17" fmla="*/ 0 h 161"/>
                <a:gd name="T18" fmla="*/ 136 w 136"/>
                <a:gd name="T19" fmla="*/ 161 h 161"/>
                <a:gd name="T20" fmla="*/ 116 w 136"/>
                <a:gd name="T21" fmla="*/ 161 h 161"/>
                <a:gd name="T22" fmla="*/ 49 w 136"/>
                <a:gd name="T23" fmla="*/ 72 h 161"/>
                <a:gd name="T24" fmla="*/ 21 w 136"/>
                <a:gd name="T25" fmla="*/ 34 h 161"/>
                <a:gd name="T26" fmla="*/ 20 w 136"/>
                <a:gd name="T27" fmla="*/ 34 h 161"/>
                <a:gd name="T28" fmla="*/ 21 w 136"/>
                <a:gd name="T29" fmla="*/ 80 h 161"/>
                <a:gd name="T30" fmla="*/ 21 w 136"/>
                <a:gd name="T31" fmla="*/ 161 h 161"/>
                <a:gd name="T32" fmla="*/ 0 w 136"/>
                <a:gd name="T33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61">
                  <a:moveTo>
                    <a:pt x="0" y="16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88" y="90"/>
                    <a:pt x="88" y="90"/>
                    <a:pt x="88" y="90"/>
                  </a:cubicBezTo>
                  <a:cubicBezTo>
                    <a:pt x="97" y="102"/>
                    <a:pt x="106" y="114"/>
                    <a:pt x="116" y="127"/>
                  </a:cubicBezTo>
                  <a:cubicBezTo>
                    <a:pt x="116" y="127"/>
                    <a:pt x="116" y="127"/>
                    <a:pt x="116" y="127"/>
                  </a:cubicBezTo>
                  <a:cubicBezTo>
                    <a:pt x="116" y="113"/>
                    <a:pt x="116" y="97"/>
                    <a:pt x="116" y="81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161"/>
                    <a:pt x="136" y="161"/>
                    <a:pt x="136" y="161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39" y="60"/>
                    <a:pt x="30" y="47"/>
                    <a:pt x="21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1" y="48"/>
                    <a:pt x="21" y="65"/>
                    <a:pt x="21" y="80"/>
                  </a:cubicBezTo>
                  <a:cubicBezTo>
                    <a:pt x="21" y="161"/>
                    <a:pt x="21" y="161"/>
                    <a:pt x="21" y="161"/>
                  </a:cubicBezTo>
                  <a:lnTo>
                    <a:pt x="0" y="16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614C5C17-9731-4A21-BE20-2AE052E5F0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6729" y="6115872"/>
              <a:ext cx="101750" cy="113253"/>
            </a:xfrm>
            <a:custGeom>
              <a:avLst/>
              <a:gdLst>
                <a:gd name="T0" fmla="*/ 0 w 145"/>
                <a:gd name="T1" fmla="*/ 0 h 161"/>
                <a:gd name="T2" fmla="*/ 23 w 145"/>
                <a:gd name="T3" fmla="*/ 0 h 161"/>
                <a:gd name="T4" fmla="*/ 57 w 145"/>
                <a:gd name="T5" fmla="*/ 90 h 161"/>
                <a:gd name="T6" fmla="*/ 73 w 145"/>
                <a:gd name="T7" fmla="*/ 133 h 161"/>
                <a:gd name="T8" fmla="*/ 73 w 145"/>
                <a:gd name="T9" fmla="*/ 133 h 161"/>
                <a:gd name="T10" fmla="*/ 89 w 145"/>
                <a:gd name="T11" fmla="*/ 90 h 161"/>
                <a:gd name="T12" fmla="*/ 124 w 145"/>
                <a:gd name="T13" fmla="*/ 0 h 161"/>
                <a:gd name="T14" fmla="*/ 145 w 145"/>
                <a:gd name="T15" fmla="*/ 0 h 161"/>
                <a:gd name="T16" fmla="*/ 84 w 145"/>
                <a:gd name="T17" fmla="*/ 161 h 161"/>
                <a:gd name="T18" fmla="*/ 62 w 145"/>
                <a:gd name="T19" fmla="*/ 161 h 161"/>
                <a:gd name="T20" fmla="*/ 0 w 145"/>
                <a:gd name="T21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5" h="161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62" y="104"/>
                    <a:pt x="67" y="118"/>
                    <a:pt x="73" y="133"/>
                  </a:cubicBezTo>
                  <a:cubicBezTo>
                    <a:pt x="73" y="133"/>
                    <a:pt x="73" y="133"/>
                    <a:pt x="73" y="133"/>
                  </a:cubicBezTo>
                  <a:cubicBezTo>
                    <a:pt x="79" y="118"/>
                    <a:pt x="84" y="104"/>
                    <a:pt x="89" y="9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84" y="161"/>
                    <a:pt x="84" y="161"/>
                    <a:pt x="84" y="161"/>
                  </a:cubicBezTo>
                  <a:cubicBezTo>
                    <a:pt x="62" y="161"/>
                    <a:pt x="62" y="161"/>
                    <a:pt x="62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875D6CEE-8A5C-4632-968D-932A5901A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60009" y="6115872"/>
              <a:ext cx="66654" cy="113253"/>
            </a:xfrm>
            <a:custGeom>
              <a:avLst/>
              <a:gdLst>
                <a:gd name="T0" fmla="*/ 0 w 226"/>
                <a:gd name="T1" fmla="*/ 0 h 384"/>
                <a:gd name="T2" fmla="*/ 221 w 226"/>
                <a:gd name="T3" fmla="*/ 0 h 384"/>
                <a:gd name="T4" fmla="*/ 221 w 226"/>
                <a:gd name="T5" fmla="*/ 45 h 384"/>
                <a:gd name="T6" fmla="*/ 50 w 226"/>
                <a:gd name="T7" fmla="*/ 45 h 384"/>
                <a:gd name="T8" fmla="*/ 50 w 226"/>
                <a:gd name="T9" fmla="*/ 162 h 384"/>
                <a:gd name="T10" fmla="*/ 199 w 226"/>
                <a:gd name="T11" fmla="*/ 162 h 384"/>
                <a:gd name="T12" fmla="*/ 199 w 226"/>
                <a:gd name="T13" fmla="*/ 207 h 384"/>
                <a:gd name="T14" fmla="*/ 50 w 226"/>
                <a:gd name="T15" fmla="*/ 207 h 384"/>
                <a:gd name="T16" fmla="*/ 50 w 226"/>
                <a:gd name="T17" fmla="*/ 338 h 384"/>
                <a:gd name="T18" fmla="*/ 226 w 226"/>
                <a:gd name="T19" fmla="*/ 338 h 384"/>
                <a:gd name="T20" fmla="*/ 226 w 226"/>
                <a:gd name="T21" fmla="*/ 384 h 384"/>
                <a:gd name="T22" fmla="*/ 0 w 226"/>
                <a:gd name="T23" fmla="*/ 384 h 384"/>
                <a:gd name="T24" fmla="*/ 0 w 226"/>
                <a:gd name="T25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" h="384">
                  <a:moveTo>
                    <a:pt x="0" y="0"/>
                  </a:moveTo>
                  <a:lnTo>
                    <a:pt x="221" y="0"/>
                  </a:lnTo>
                  <a:lnTo>
                    <a:pt x="221" y="45"/>
                  </a:lnTo>
                  <a:lnTo>
                    <a:pt x="50" y="45"/>
                  </a:lnTo>
                  <a:lnTo>
                    <a:pt x="50" y="162"/>
                  </a:lnTo>
                  <a:lnTo>
                    <a:pt x="199" y="162"/>
                  </a:lnTo>
                  <a:lnTo>
                    <a:pt x="199" y="207"/>
                  </a:lnTo>
                  <a:lnTo>
                    <a:pt x="50" y="207"/>
                  </a:lnTo>
                  <a:lnTo>
                    <a:pt x="50" y="338"/>
                  </a:lnTo>
                  <a:lnTo>
                    <a:pt x="226" y="338"/>
                  </a:lnTo>
                  <a:lnTo>
                    <a:pt x="226" y="384"/>
                  </a:lnTo>
                  <a:lnTo>
                    <a:pt x="0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A6DD66C5-B79D-4239-B301-865EE3CC39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50257" y="6114397"/>
              <a:ext cx="74322" cy="116792"/>
            </a:xfrm>
            <a:custGeom>
              <a:avLst/>
              <a:gdLst>
                <a:gd name="T0" fmla="*/ 4 w 106"/>
                <a:gd name="T1" fmla="*/ 130 h 166"/>
                <a:gd name="T2" fmla="*/ 52 w 106"/>
                <a:gd name="T3" fmla="*/ 146 h 166"/>
                <a:gd name="T4" fmla="*/ 85 w 106"/>
                <a:gd name="T5" fmla="*/ 120 h 166"/>
                <a:gd name="T6" fmla="*/ 45 w 106"/>
                <a:gd name="T7" fmla="*/ 90 h 166"/>
                <a:gd name="T8" fmla="*/ 0 w 106"/>
                <a:gd name="T9" fmla="*/ 45 h 166"/>
                <a:gd name="T10" fmla="*/ 52 w 106"/>
                <a:gd name="T11" fmla="*/ 0 h 166"/>
                <a:gd name="T12" fmla="*/ 99 w 106"/>
                <a:gd name="T13" fmla="*/ 12 h 166"/>
                <a:gd name="T14" fmla="*/ 99 w 106"/>
                <a:gd name="T15" fmla="*/ 34 h 166"/>
                <a:gd name="T16" fmla="*/ 52 w 106"/>
                <a:gd name="T17" fmla="*/ 19 h 166"/>
                <a:gd name="T18" fmla="*/ 21 w 106"/>
                <a:gd name="T19" fmla="*/ 43 h 166"/>
                <a:gd name="T20" fmla="*/ 59 w 106"/>
                <a:gd name="T21" fmla="*/ 72 h 166"/>
                <a:gd name="T22" fmla="*/ 106 w 106"/>
                <a:gd name="T23" fmla="*/ 119 h 166"/>
                <a:gd name="T24" fmla="*/ 52 w 106"/>
                <a:gd name="T25" fmla="*/ 166 h 166"/>
                <a:gd name="T26" fmla="*/ 4 w 106"/>
                <a:gd name="T27" fmla="*/ 153 h 166"/>
                <a:gd name="T28" fmla="*/ 4 w 106"/>
                <a:gd name="T29" fmla="*/ 13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6" h="166">
                  <a:moveTo>
                    <a:pt x="4" y="130"/>
                  </a:moveTo>
                  <a:cubicBezTo>
                    <a:pt x="19" y="141"/>
                    <a:pt x="38" y="146"/>
                    <a:pt x="52" y="146"/>
                  </a:cubicBezTo>
                  <a:cubicBezTo>
                    <a:pt x="71" y="146"/>
                    <a:pt x="85" y="138"/>
                    <a:pt x="85" y="120"/>
                  </a:cubicBezTo>
                  <a:cubicBezTo>
                    <a:pt x="85" y="99"/>
                    <a:pt x="66" y="96"/>
                    <a:pt x="45" y="90"/>
                  </a:cubicBezTo>
                  <a:cubicBezTo>
                    <a:pt x="22" y="83"/>
                    <a:pt x="0" y="74"/>
                    <a:pt x="0" y="45"/>
                  </a:cubicBezTo>
                  <a:cubicBezTo>
                    <a:pt x="0" y="16"/>
                    <a:pt x="21" y="0"/>
                    <a:pt x="52" y="0"/>
                  </a:cubicBezTo>
                  <a:cubicBezTo>
                    <a:pt x="67" y="0"/>
                    <a:pt x="86" y="4"/>
                    <a:pt x="99" y="12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84" y="24"/>
                    <a:pt x="66" y="19"/>
                    <a:pt x="52" y="19"/>
                  </a:cubicBezTo>
                  <a:cubicBezTo>
                    <a:pt x="34" y="19"/>
                    <a:pt x="21" y="27"/>
                    <a:pt x="21" y="43"/>
                  </a:cubicBezTo>
                  <a:cubicBezTo>
                    <a:pt x="21" y="63"/>
                    <a:pt x="40" y="67"/>
                    <a:pt x="59" y="72"/>
                  </a:cubicBezTo>
                  <a:cubicBezTo>
                    <a:pt x="83" y="79"/>
                    <a:pt x="106" y="88"/>
                    <a:pt x="106" y="119"/>
                  </a:cubicBezTo>
                  <a:cubicBezTo>
                    <a:pt x="106" y="148"/>
                    <a:pt x="84" y="166"/>
                    <a:pt x="52" y="166"/>
                  </a:cubicBezTo>
                  <a:cubicBezTo>
                    <a:pt x="37" y="166"/>
                    <a:pt x="18" y="161"/>
                    <a:pt x="4" y="153"/>
                  </a:cubicBezTo>
                  <a:lnTo>
                    <a:pt x="4" y="13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C62E8015-31FC-40BB-BF70-FCA99B5D17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35786" y="6115872"/>
              <a:ext cx="90248" cy="113253"/>
            </a:xfrm>
            <a:custGeom>
              <a:avLst/>
              <a:gdLst>
                <a:gd name="T0" fmla="*/ 128 w 306"/>
                <a:gd name="T1" fmla="*/ 45 h 384"/>
                <a:gd name="T2" fmla="*/ 0 w 306"/>
                <a:gd name="T3" fmla="*/ 45 h 384"/>
                <a:gd name="T4" fmla="*/ 0 w 306"/>
                <a:gd name="T5" fmla="*/ 0 h 384"/>
                <a:gd name="T6" fmla="*/ 306 w 306"/>
                <a:gd name="T7" fmla="*/ 0 h 384"/>
                <a:gd name="T8" fmla="*/ 306 w 306"/>
                <a:gd name="T9" fmla="*/ 45 h 384"/>
                <a:gd name="T10" fmla="*/ 178 w 306"/>
                <a:gd name="T11" fmla="*/ 45 h 384"/>
                <a:gd name="T12" fmla="*/ 178 w 306"/>
                <a:gd name="T13" fmla="*/ 384 h 384"/>
                <a:gd name="T14" fmla="*/ 128 w 306"/>
                <a:gd name="T15" fmla="*/ 384 h 384"/>
                <a:gd name="T16" fmla="*/ 128 w 306"/>
                <a:gd name="T17" fmla="*/ 45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6" h="384">
                  <a:moveTo>
                    <a:pt x="128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306" y="0"/>
                  </a:lnTo>
                  <a:lnTo>
                    <a:pt x="306" y="45"/>
                  </a:lnTo>
                  <a:lnTo>
                    <a:pt x="178" y="45"/>
                  </a:lnTo>
                  <a:lnTo>
                    <a:pt x="178" y="384"/>
                  </a:lnTo>
                  <a:lnTo>
                    <a:pt x="128" y="384"/>
                  </a:lnTo>
                  <a:lnTo>
                    <a:pt x="128" y="4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270D0C29-CCCB-4467-B960-D9AC772097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4066" y="6270414"/>
              <a:ext cx="153953" cy="113253"/>
            </a:xfrm>
            <a:custGeom>
              <a:avLst/>
              <a:gdLst>
                <a:gd name="T0" fmla="*/ 0 w 220"/>
                <a:gd name="T1" fmla="*/ 0 h 161"/>
                <a:gd name="T2" fmla="*/ 22 w 220"/>
                <a:gd name="T3" fmla="*/ 0 h 161"/>
                <a:gd name="T4" fmla="*/ 49 w 220"/>
                <a:gd name="T5" fmla="*/ 87 h 161"/>
                <a:gd name="T6" fmla="*/ 62 w 220"/>
                <a:gd name="T7" fmla="*/ 129 h 161"/>
                <a:gd name="T8" fmla="*/ 62 w 220"/>
                <a:gd name="T9" fmla="*/ 129 h 161"/>
                <a:gd name="T10" fmla="*/ 75 w 220"/>
                <a:gd name="T11" fmla="*/ 87 h 161"/>
                <a:gd name="T12" fmla="*/ 103 w 220"/>
                <a:gd name="T13" fmla="*/ 0 h 161"/>
                <a:gd name="T14" fmla="*/ 118 w 220"/>
                <a:gd name="T15" fmla="*/ 0 h 161"/>
                <a:gd name="T16" fmla="*/ 145 w 220"/>
                <a:gd name="T17" fmla="*/ 87 h 161"/>
                <a:gd name="T18" fmla="*/ 158 w 220"/>
                <a:gd name="T19" fmla="*/ 129 h 161"/>
                <a:gd name="T20" fmla="*/ 159 w 220"/>
                <a:gd name="T21" fmla="*/ 129 h 161"/>
                <a:gd name="T22" fmla="*/ 171 w 220"/>
                <a:gd name="T23" fmla="*/ 87 h 161"/>
                <a:gd name="T24" fmla="*/ 198 w 220"/>
                <a:gd name="T25" fmla="*/ 0 h 161"/>
                <a:gd name="T26" fmla="*/ 220 w 220"/>
                <a:gd name="T27" fmla="*/ 0 h 161"/>
                <a:gd name="T28" fmla="*/ 170 w 220"/>
                <a:gd name="T29" fmla="*/ 161 h 161"/>
                <a:gd name="T30" fmla="*/ 147 w 220"/>
                <a:gd name="T31" fmla="*/ 161 h 161"/>
                <a:gd name="T32" fmla="*/ 121 w 220"/>
                <a:gd name="T33" fmla="*/ 79 h 161"/>
                <a:gd name="T34" fmla="*/ 110 w 220"/>
                <a:gd name="T35" fmla="*/ 42 h 161"/>
                <a:gd name="T36" fmla="*/ 110 w 220"/>
                <a:gd name="T37" fmla="*/ 42 h 161"/>
                <a:gd name="T38" fmla="*/ 98 w 220"/>
                <a:gd name="T39" fmla="*/ 79 h 161"/>
                <a:gd name="T40" fmla="*/ 73 w 220"/>
                <a:gd name="T41" fmla="*/ 161 h 161"/>
                <a:gd name="T42" fmla="*/ 50 w 220"/>
                <a:gd name="T43" fmla="*/ 161 h 161"/>
                <a:gd name="T44" fmla="*/ 0 w 220"/>
                <a:gd name="T45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0" h="161">
                  <a:moveTo>
                    <a:pt x="0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54" y="101"/>
                    <a:pt x="58" y="115"/>
                    <a:pt x="62" y="129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66" y="115"/>
                    <a:pt x="71" y="101"/>
                    <a:pt x="75" y="87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45" y="87"/>
                    <a:pt x="145" y="87"/>
                    <a:pt x="145" y="87"/>
                  </a:cubicBezTo>
                  <a:cubicBezTo>
                    <a:pt x="150" y="101"/>
                    <a:pt x="154" y="115"/>
                    <a:pt x="158" y="129"/>
                  </a:cubicBezTo>
                  <a:cubicBezTo>
                    <a:pt x="159" y="129"/>
                    <a:pt x="159" y="129"/>
                    <a:pt x="159" y="129"/>
                  </a:cubicBezTo>
                  <a:cubicBezTo>
                    <a:pt x="163" y="115"/>
                    <a:pt x="167" y="101"/>
                    <a:pt x="171" y="87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170" y="161"/>
                    <a:pt x="170" y="161"/>
                    <a:pt x="170" y="161"/>
                  </a:cubicBezTo>
                  <a:cubicBezTo>
                    <a:pt x="147" y="161"/>
                    <a:pt x="147" y="161"/>
                    <a:pt x="147" y="161"/>
                  </a:cubicBezTo>
                  <a:cubicBezTo>
                    <a:pt x="121" y="79"/>
                    <a:pt x="121" y="79"/>
                    <a:pt x="121" y="79"/>
                  </a:cubicBezTo>
                  <a:cubicBezTo>
                    <a:pt x="117" y="66"/>
                    <a:pt x="114" y="54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06" y="54"/>
                    <a:pt x="102" y="67"/>
                    <a:pt x="98" y="79"/>
                  </a:cubicBezTo>
                  <a:cubicBezTo>
                    <a:pt x="73" y="161"/>
                    <a:pt x="73" y="161"/>
                    <a:pt x="73" y="161"/>
                  </a:cubicBezTo>
                  <a:cubicBezTo>
                    <a:pt x="50" y="161"/>
                    <a:pt x="50" y="161"/>
                    <a:pt x="50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5C85FB6A-2060-4D3C-ABA7-7A9AAF53A57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490111" y="6268940"/>
              <a:ext cx="114727" cy="115907"/>
            </a:xfrm>
            <a:custGeom>
              <a:avLst/>
              <a:gdLst>
                <a:gd name="T0" fmla="*/ 82 w 164"/>
                <a:gd name="T1" fmla="*/ 0 h 165"/>
                <a:gd name="T2" fmla="*/ 164 w 164"/>
                <a:gd name="T3" fmla="*/ 82 h 165"/>
                <a:gd name="T4" fmla="*/ 82 w 164"/>
                <a:gd name="T5" fmla="*/ 165 h 165"/>
                <a:gd name="T6" fmla="*/ 0 w 164"/>
                <a:gd name="T7" fmla="*/ 82 h 165"/>
                <a:gd name="T8" fmla="*/ 82 w 164"/>
                <a:gd name="T9" fmla="*/ 0 h 165"/>
                <a:gd name="T10" fmla="*/ 82 w 164"/>
                <a:gd name="T11" fmla="*/ 146 h 165"/>
                <a:gd name="T12" fmla="*/ 143 w 164"/>
                <a:gd name="T13" fmla="*/ 82 h 165"/>
                <a:gd name="T14" fmla="*/ 82 w 164"/>
                <a:gd name="T15" fmla="*/ 19 h 165"/>
                <a:gd name="T16" fmla="*/ 22 w 164"/>
                <a:gd name="T17" fmla="*/ 82 h 165"/>
                <a:gd name="T18" fmla="*/ 82 w 164"/>
                <a:gd name="T19" fmla="*/ 146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5">
                  <a:moveTo>
                    <a:pt x="82" y="0"/>
                  </a:moveTo>
                  <a:cubicBezTo>
                    <a:pt x="129" y="0"/>
                    <a:pt x="164" y="36"/>
                    <a:pt x="164" y="82"/>
                  </a:cubicBezTo>
                  <a:cubicBezTo>
                    <a:pt x="164" y="129"/>
                    <a:pt x="129" y="165"/>
                    <a:pt x="82" y="165"/>
                  </a:cubicBezTo>
                  <a:cubicBezTo>
                    <a:pt x="36" y="165"/>
                    <a:pt x="0" y="129"/>
                    <a:pt x="0" y="82"/>
                  </a:cubicBezTo>
                  <a:cubicBezTo>
                    <a:pt x="0" y="36"/>
                    <a:pt x="36" y="0"/>
                    <a:pt x="82" y="0"/>
                  </a:cubicBezTo>
                  <a:close/>
                  <a:moveTo>
                    <a:pt x="82" y="146"/>
                  </a:moveTo>
                  <a:cubicBezTo>
                    <a:pt x="117" y="146"/>
                    <a:pt x="143" y="118"/>
                    <a:pt x="143" y="82"/>
                  </a:cubicBezTo>
                  <a:cubicBezTo>
                    <a:pt x="143" y="47"/>
                    <a:pt x="117" y="19"/>
                    <a:pt x="82" y="19"/>
                  </a:cubicBezTo>
                  <a:cubicBezTo>
                    <a:pt x="47" y="19"/>
                    <a:pt x="22" y="47"/>
                    <a:pt x="22" y="82"/>
                  </a:cubicBezTo>
                  <a:cubicBezTo>
                    <a:pt x="22" y="118"/>
                    <a:pt x="47" y="146"/>
                    <a:pt x="82" y="14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3E341B19-7C32-4D70-9632-114537945E2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631382" y="6270414"/>
              <a:ext cx="86119" cy="113253"/>
            </a:xfrm>
            <a:custGeom>
              <a:avLst/>
              <a:gdLst>
                <a:gd name="T0" fmla="*/ 0 w 123"/>
                <a:gd name="T1" fmla="*/ 0 h 161"/>
                <a:gd name="T2" fmla="*/ 43 w 123"/>
                <a:gd name="T3" fmla="*/ 0 h 161"/>
                <a:gd name="T4" fmla="*/ 88 w 123"/>
                <a:gd name="T5" fmla="*/ 8 h 161"/>
                <a:gd name="T6" fmla="*/ 111 w 123"/>
                <a:gd name="T7" fmla="*/ 46 h 161"/>
                <a:gd name="T8" fmla="*/ 90 w 123"/>
                <a:gd name="T9" fmla="*/ 83 h 161"/>
                <a:gd name="T10" fmla="*/ 71 w 123"/>
                <a:gd name="T11" fmla="*/ 90 h 161"/>
                <a:gd name="T12" fmla="*/ 123 w 123"/>
                <a:gd name="T13" fmla="*/ 161 h 161"/>
                <a:gd name="T14" fmla="*/ 97 w 123"/>
                <a:gd name="T15" fmla="*/ 161 h 161"/>
                <a:gd name="T16" fmla="*/ 48 w 123"/>
                <a:gd name="T17" fmla="*/ 92 h 161"/>
                <a:gd name="T18" fmla="*/ 21 w 123"/>
                <a:gd name="T19" fmla="*/ 92 h 161"/>
                <a:gd name="T20" fmla="*/ 21 w 123"/>
                <a:gd name="T21" fmla="*/ 161 h 161"/>
                <a:gd name="T22" fmla="*/ 0 w 123"/>
                <a:gd name="T23" fmla="*/ 161 h 161"/>
                <a:gd name="T24" fmla="*/ 0 w 123"/>
                <a:gd name="T25" fmla="*/ 0 h 161"/>
                <a:gd name="T26" fmla="*/ 48 w 123"/>
                <a:gd name="T27" fmla="*/ 75 h 161"/>
                <a:gd name="T28" fmla="*/ 80 w 123"/>
                <a:gd name="T29" fmla="*/ 67 h 161"/>
                <a:gd name="T30" fmla="*/ 89 w 123"/>
                <a:gd name="T31" fmla="*/ 47 h 161"/>
                <a:gd name="T32" fmla="*/ 76 w 123"/>
                <a:gd name="T33" fmla="*/ 25 h 161"/>
                <a:gd name="T34" fmla="*/ 42 w 123"/>
                <a:gd name="T35" fmla="*/ 19 h 161"/>
                <a:gd name="T36" fmla="*/ 21 w 123"/>
                <a:gd name="T37" fmla="*/ 19 h 161"/>
                <a:gd name="T38" fmla="*/ 21 w 123"/>
                <a:gd name="T39" fmla="*/ 75 h 161"/>
                <a:gd name="T40" fmla="*/ 48 w 123"/>
                <a:gd name="T41" fmla="*/ 75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3" h="161">
                  <a:moveTo>
                    <a:pt x="0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60" y="0"/>
                    <a:pt x="75" y="1"/>
                    <a:pt x="88" y="8"/>
                  </a:cubicBezTo>
                  <a:cubicBezTo>
                    <a:pt x="102" y="15"/>
                    <a:pt x="111" y="28"/>
                    <a:pt x="111" y="46"/>
                  </a:cubicBezTo>
                  <a:cubicBezTo>
                    <a:pt x="111" y="63"/>
                    <a:pt x="102" y="76"/>
                    <a:pt x="90" y="83"/>
                  </a:cubicBezTo>
                  <a:cubicBezTo>
                    <a:pt x="84" y="87"/>
                    <a:pt x="78" y="89"/>
                    <a:pt x="71" y="90"/>
                  </a:cubicBezTo>
                  <a:cubicBezTo>
                    <a:pt x="123" y="161"/>
                    <a:pt x="123" y="161"/>
                    <a:pt x="123" y="161"/>
                  </a:cubicBezTo>
                  <a:cubicBezTo>
                    <a:pt x="97" y="161"/>
                    <a:pt x="97" y="161"/>
                    <a:pt x="97" y="161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0" y="161"/>
                    <a:pt x="0" y="161"/>
                    <a:pt x="0" y="161"/>
                  </a:cubicBezTo>
                  <a:lnTo>
                    <a:pt x="0" y="0"/>
                  </a:lnTo>
                  <a:close/>
                  <a:moveTo>
                    <a:pt x="48" y="75"/>
                  </a:moveTo>
                  <a:cubicBezTo>
                    <a:pt x="63" y="75"/>
                    <a:pt x="73" y="73"/>
                    <a:pt x="80" y="67"/>
                  </a:cubicBezTo>
                  <a:cubicBezTo>
                    <a:pt x="86" y="63"/>
                    <a:pt x="89" y="56"/>
                    <a:pt x="89" y="47"/>
                  </a:cubicBezTo>
                  <a:cubicBezTo>
                    <a:pt x="89" y="37"/>
                    <a:pt x="85" y="29"/>
                    <a:pt x="76" y="25"/>
                  </a:cubicBezTo>
                  <a:cubicBezTo>
                    <a:pt x="68" y="20"/>
                    <a:pt x="57" y="19"/>
                    <a:pt x="42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75"/>
                    <a:pt x="21" y="75"/>
                    <a:pt x="21" y="75"/>
                  </a:cubicBezTo>
                  <a:lnTo>
                    <a:pt x="48" y="7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15">
              <a:extLst>
                <a:ext uri="{FF2B5EF4-FFF2-40B4-BE49-F238E27FC236}">
                  <a16:creationId xmlns:a16="http://schemas.microsoft.com/office/drawing/2014/main" id="{42A3DF8E-CBD0-4160-8CA0-10BD54FA60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44929" y="6270414"/>
              <a:ext cx="86709" cy="113253"/>
            </a:xfrm>
            <a:custGeom>
              <a:avLst/>
              <a:gdLst>
                <a:gd name="T0" fmla="*/ 0 w 294"/>
                <a:gd name="T1" fmla="*/ 0 h 384"/>
                <a:gd name="T2" fmla="*/ 49 w 294"/>
                <a:gd name="T3" fmla="*/ 0 h 384"/>
                <a:gd name="T4" fmla="*/ 49 w 294"/>
                <a:gd name="T5" fmla="*/ 174 h 384"/>
                <a:gd name="T6" fmla="*/ 49 w 294"/>
                <a:gd name="T7" fmla="*/ 174 h 384"/>
                <a:gd name="T8" fmla="*/ 216 w 294"/>
                <a:gd name="T9" fmla="*/ 0 h 384"/>
                <a:gd name="T10" fmla="*/ 280 w 294"/>
                <a:gd name="T11" fmla="*/ 0 h 384"/>
                <a:gd name="T12" fmla="*/ 106 w 294"/>
                <a:gd name="T13" fmla="*/ 179 h 384"/>
                <a:gd name="T14" fmla="*/ 294 w 294"/>
                <a:gd name="T15" fmla="*/ 384 h 384"/>
                <a:gd name="T16" fmla="*/ 227 w 294"/>
                <a:gd name="T17" fmla="*/ 384 h 384"/>
                <a:gd name="T18" fmla="*/ 49 w 294"/>
                <a:gd name="T19" fmla="*/ 186 h 384"/>
                <a:gd name="T20" fmla="*/ 49 w 294"/>
                <a:gd name="T21" fmla="*/ 186 h 384"/>
                <a:gd name="T22" fmla="*/ 49 w 294"/>
                <a:gd name="T23" fmla="*/ 384 h 384"/>
                <a:gd name="T24" fmla="*/ 0 w 294"/>
                <a:gd name="T25" fmla="*/ 384 h 384"/>
                <a:gd name="T26" fmla="*/ 0 w 294"/>
                <a:gd name="T27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384">
                  <a:moveTo>
                    <a:pt x="0" y="0"/>
                  </a:moveTo>
                  <a:lnTo>
                    <a:pt x="49" y="0"/>
                  </a:lnTo>
                  <a:lnTo>
                    <a:pt x="49" y="174"/>
                  </a:lnTo>
                  <a:lnTo>
                    <a:pt x="49" y="174"/>
                  </a:lnTo>
                  <a:lnTo>
                    <a:pt x="216" y="0"/>
                  </a:lnTo>
                  <a:lnTo>
                    <a:pt x="280" y="0"/>
                  </a:lnTo>
                  <a:lnTo>
                    <a:pt x="106" y="179"/>
                  </a:lnTo>
                  <a:lnTo>
                    <a:pt x="294" y="384"/>
                  </a:lnTo>
                  <a:lnTo>
                    <a:pt x="227" y="384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384"/>
                  </a:lnTo>
                  <a:lnTo>
                    <a:pt x="0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16">
              <a:extLst>
                <a:ext uri="{FF2B5EF4-FFF2-40B4-BE49-F238E27FC236}">
                  <a16:creationId xmlns:a16="http://schemas.microsoft.com/office/drawing/2014/main" id="{A60C034D-DF67-477E-9F05-077DAEC6E2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67106" y="6424367"/>
              <a:ext cx="66359" cy="112958"/>
            </a:xfrm>
            <a:custGeom>
              <a:avLst/>
              <a:gdLst>
                <a:gd name="T0" fmla="*/ 0 w 225"/>
                <a:gd name="T1" fmla="*/ 0 h 383"/>
                <a:gd name="T2" fmla="*/ 225 w 225"/>
                <a:gd name="T3" fmla="*/ 0 h 383"/>
                <a:gd name="T4" fmla="*/ 225 w 225"/>
                <a:gd name="T5" fmla="*/ 45 h 383"/>
                <a:gd name="T6" fmla="*/ 49 w 225"/>
                <a:gd name="T7" fmla="*/ 45 h 383"/>
                <a:gd name="T8" fmla="*/ 49 w 225"/>
                <a:gd name="T9" fmla="*/ 169 h 383"/>
                <a:gd name="T10" fmla="*/ 204 w 225"/>
                <a:gd name="T11" fmla="*/ 169 h 383"/>
                <a:gd name="T12" fmla="*/ 204 w 225"/>
                <a:gd name="T13" fmla="*/ 214 h 383"/>
                <a:gd name="T14" fmla="*/ 49 w 225"/>
                <a:gd name="T15" fmla="*/ 214 h 383"/>
                <a:gd name="T16" fmla="*/ 49 w 225"/>
                <a:gd name="T17" fmla="*/ 383 h 383"/>
                <a:gd name="T18" fmla="*/ 0 w 225"/>
                <a:gd name="T19" fmla="*/ 383 h 383"/>
                <a:gd name="T20" fmla="*/ 0 w 225"/>
                <a:gd name="T21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5" h="383">
                  <a:moveTo>
                    <a:pt x="0" y="0"/>
                  </a:moveTo>
                  <a:lnTo>
                    <a:pt x="225" y="0"/>
                  </a:lnTo>
                  <a:lnTo>
                    <a:pt x="225" y="45"/>
                  </a:lnTo>
                  <a:lnTo>
                    <a:pt x="49" y="45"/>
                  </a:lnTo>
                  <a:lnTo>
                    <a:pt x="49" y="169"/>
                  </a:lnTo>
                  <a:lnTo>
                    <a:pt x="204" y="169"/>
                  </a:lnTo>
                  <a:lnTo>
                    <a:pt x="204" y="214"/>
                  </a:lnTo>
                  <a:lnTo>
                    <a:pt x="49" y="214"/>
                  </a:lnTo>
                  <a:lnTo>
                    <a:pt x="49" y="383"/>
                  </a:lnTo>
                  <a:lnTo>
                    <a:pt x="0" y="3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Rectangle 17">
              <a:extLst>
                <a:ext uri="{FF2B5EF4-FFF2-40B4-BE49-F238E27FC236}">
                  <a16:creationId xmlns:a16="http://schemas.microsoft.com/office/drawing/2014/main" id="{D61A07B3-BEDD-45ED-889D-F939DCA5D70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565023" y="6424367"/>
              <a:ext cx="14746" cy="11295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18">
              <a:extLst>
                <a:ext uri="{FF2B5EF4-FFF2-40B4-BE49-F238E27FC236}">
                  <a16:creationId xmlns:a16="http://schemas.microsoft.com/office/drawing/2014/main" id="{BB0A61BA-4742-4090-A0CE-F9A6537B11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15455" y="6424367"/>
              <a:ext cx="67834" cy="112958"/>
            </a:xfrm>
            <a:custGeom>
              <a:avLst/>
              <a:gdLst>
                <a:gd name="T0" fmla="*/ 0 w 230"/>
                <a:gd name="T1" fmla="*/ 0 h 383"/>
                <a:gd name="T2" fmla="*/ 49 w 230"/>
                <a:gd name="T3" fmla="*/ 0 h 383"/>
                <a:gd name="T4" fmla="*/ 49 w 230"/>
                <a:gd name="T5" fmla="*/ 338 h 383"/>
                <a:gd name="T6" fmla="*/ 230 w 230"/>
                <a:gd name="T7" fmla="*/ 338 h 383"/>
                <a:gd name="T8" fmla="*/ 230 w 230"/>
                <a:gd name="T9" fmla="*/ 383 h 383"/>
                <a:gd name="T10" fmla="*/ 0 w 230"/>
                <a:gd name="T11" fmla="*/ 383 h 383"/>
                <a:gd name="T12" fmla="*/ 0 w 230"/>
                <a:gd name="T13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0" h="383">
                  <a:moveTo>
                    <a:pt x="0" y="0"/>
                  </a:moveTo>
                  <a:lnTo>
                    <a:pt x="49" y="0"/>
                  </a:lnTo>
                  <a:lnTo>
                    <a:pt x="49" y="338"/>
                  </a:lnTo>
                  <a:lnTo>
                    <a:pt x="230" y="338"/>
                  </a:lnTo>
                  <a:lnTo>
                    <a:pt x="230" y="383"/>
                  </a:lnTo>
                  <a:lnTo>
                    <a:pt x="0" y="3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19">
              <a:extLst>
                <a:ext uri="{FF2B5EF4-FFF2-40B4-BE49-F238E27FC236}">
                  <a16:creationId xmlns:a16="http://schemas.microsoft.com/office/drawing/2014/main" id="{DC4A937F-B0EC-41AA-B2F9-149C9CDB35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08358" y="6424367"/>
              <a:ext cx="108534" cy="112958"/>
            </a:xfrm>
            <a:custGeom>
              <a:avLst/>
              <a:gdLst>
                <a:gd name="T0" fmla="*/ 42 w 155"/>
                <a:gd name="T1" fmla="*/ 67 h 161"/>
                <a:gd name="T2" fmla="*/ 20 w 155"/>
                <a:gd name="T3" fmla="*/ 35 h 161"/>
                <a:gd name="T4" fmla="*/ 20 w 155"/>
                <a:gd name="T5" fmla="*/ 36 h 161"/>
                <a:gd name="T6" fmla="*/ 20 w 155"/>
                <a:gd name="T7" fmla="*/ 71 h 161"/>
                <a:gd name="T8" fmla="*/ 20 w 155"/>
                <a:gd name="T9" fmla="*/ 161 h 161"/>
                <a:gd name="T10" fmla="*/ 0 w 155"/>
                <a:gd name="T11" fmla="*/ 161 h 161"/>
                <a:gd name="T12" fmla="*/ 0 w 155"/>
                <a:gd name="T13" fmla="*/ 0 h 161"/>
                <a:gd name="T14" fmla="*/ 20 w 155"/>
                <a:gd name="T15" fmla="*/ 0 h 161"/>
                <a:gd name="T16" fmla="*/ 78 w 155"/>
                <a:gd name="T17" fmla="*/ 82 h 161"/>
                <a:gd name="T18" fmla="*/ 135 w 155"/>
                <a:gd name="T19" fmla="*/ 0 h 161"/>
                <a:gd name="T20" fmla="*/ 155 w 155"/>
                <a:gd name="T21" fmla="*/ 0 h 161"/>
                <a:gd name="T22" fmla="*/ 155 w 155"/>
                <a:gd name="T23" fmla="*/ 161 h 161"/>
                <a:gd name="T24" fmla="*/ 134 w 155"/>
                <a:gd name="T25" fmla="*/ 161 h 161"/>
                <a:gd name="T26" fmla="*/ 134 w 155"/>
                <a:gd name="T27" fmla="*/ 71 h 161"/>
                <a:gd name="T28" fmla="*/ 134 w 155"/>
                <a:gd name="T29" fmla="*/ 36 h 161"/>
                <a:gd name="T30" fmla="*/ 134 w 155"/>
                <a:gd name="T31" fmla="*/ 35 h 161"/>
                <a:gd name="T32" fmla="*/ 112 w 155"/>
                <a:gd name="T33" fmla="*/ 67 h 161"/>
                <a:gd name="T34" fmla="*/ 77 w 155"/>
                <a:gd name="T35" fmla="*/ 117 h 161"/>
                <a:gd name="T36" fmla="*/ 42 w 155"/>
                <a:gd name="T37" fmla="*/ 6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61">
                  <a:moveTo>
                    <a:pt x="42" y="67"/>
                  </a:moveTo>
                  <a:cubicBezTo>
                    <a:pt x="35" y="57"/>
                    <a:pt x="28" y="46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45"/>
                    <a:pt x="20" y="57"/>
                    <a:pt x="20" y="71"/>
                  </a:cubicBezTo>
                  <a:cubicBezTo>
                    <a:pt x="20" y="161"/>
                    <a:pt x="20" y="161"/>
                    <a:pt x="2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5" y="161"/>
                    <a:pt x="155" y="161"/>
                    <a:pt x="155" y="161"/>
                  </a:cubicBezTo>
                  <a:cubicBezTo>
                    <a:pt x="134" y="161"/>
                    <a:pt x="134" y="161"/>
                    <a:pt x="134" y="161"/>
                  </a:cubicBezTo>
                  <a:cubicBezTo>
                    <a:pt x="134" y="71"/>
                    <a:pt x="134" y="71"/>
                    <a:pt x="134" y="71"/>
                  </a:cubicBezTo>
                  <a:cubicBezTo>
                    <a:pt x="134" y="57"/>
                    <a:pt x="134" y="45"/>
                    <a:pt x="134" y="36"/>
                  </a:cubicBezTo>
                  <a:cubicBezTo>
                    <a:pt x="134" y="35"/>
                    <a:pt x="134" y="35"/>
                    <a:pt x="134" y="35"/>
                  </a:cubicBezTo>
                  <a:cubicBezTo>
                    <a:pt x="127" y="46"/>
                    <a:pt x="120" y="57"/>
                    <a:pt x="112" y="67"/>
                  </a:cubicBezTo>
                  <a:cubicBezTo>
                    <a:pt x="77" y="117"/>
                    <a:pt x="77" y="117"/>
                    <a:pt x="77" y="117"/>
                  </a:cubicBezTo>
                  <a:lnTo>
                    <a:pt x="42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20">
              <a:extLst>
                <a:ext uri="{FF2B5EF4-FFF2-40B4-BE49-F238E27FC236}">
                  <a16:creationId xmlns:a16="http://schemas.microsoft.com/office/drawing/2014/main" id="{EACB37AB-5CE8-42A6-AC6B-0D64CC6B82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9018" y="6115872"/>
              <a:ext cx="510226" cy="421453"/>
            </a:xfrm>
            <a:custGeom>
              <a:avLst/>
              <a:gdLst>
                <a:gd name="T0" fmla="*/ 318 w 1730"/>
                <a:gd name="T1" fmla="*/ 1429 h 1429"/>
                <a:gd name="T2" fmla="*/ 0 w 1730"/>
                <a:gd name="T3" fmla="*/ 1429 h 1429"/>
                <a:gd name="T4" fmla="*/ 721 w 1730"/>
                <a:gd name="T5" fmla="*/ 0 h 1429"/>
                <a:gd name="T6" fmla="*/ 1008 w 1730"/>
                <a:gd name="T7" fmla="*/ 0 h 1429"/>
                <a:gd name="T8" fmla="*/ 1730 w 1730"/>
                <a:gd name="T9" fmla="*/ 1429 h 1429"/>
                <a:gd name="T10" fmla="*/ 1404 w 1730"/>
                <a:gd name="T11" fmla="*/ 1429 h 1429"/>
                <a:gd name="T12" fmla="*/ 861 w 1730"/>
                <a:gd name="T13" fmla="*/ 376 h 1429"/>
                <a:gd name="T14" fmla="*/ 318 w 1730"/>
                <a:gd name="T15" fmla="*/ 1429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0" h="1429">
                  <a:moveTo>
                    <a:pt x="318" y="1429"/>
                  </a:moveTo>
                  <a:lnTo>
                    <a:pt x="0" y="1429"/>
                  </a:lnTo>
                  <a:lnTo>
                    <a:pt x="721" y="0"/>
                  </a:lnTo>
                  <a:lnTo>
                    <a:pt x="1008" y="0"/>
                  </a:lnTo>
                  <a:lnTo>
                    <a:pt x="1730" y="1429"/>
                  </a:lnTo>
                  <a:lnTo>
                    <a:pt x="1404" y="1429"/>
                  </a:lnTo>
                  <a:lnTo>
                    <a:pt x="861" y="376"/>
                  </a:lnTo>
                  <a:lnTo>
                    <a:pt x="318" y="14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21">
              <a:extLst>
                <a:ext uri="{FF2B5EF4-FFF2-40B4-BE49-F238E27FC236}">
                  <a16:creationId xmlns:a16="http://schemas.microsoft.com/office/drawing/2014/main" id="{C8583E7B-E3FF-45F1-B456-440DDD8928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82949" y="6118821"/>
              <a:ext cx="353914" cy="418504"/>
            </a:xfrm>
            <a:custGeom>
              <a:avLst/>
              <a:gdLst>
                <a:gd name="T0" fmla="*/ 0 w 506"/>
                <a:gd name="T1" fmla="*/ 596 h 596"/>
                <a:gd name="T2" fmla="*/ 74 w 506"/>
                <a:gd name="T3" fmla="*/ 596 h 596"/>
                <a:gd name="T4" fmla="*/ 127 w 506"/>
                <a:gd name="T5" fmla="*/ 596 h 596"/>
                <a:gd name="T6" fmla="*/ 283 w 506"/>
                <a:gd name="T7" fmla="*/ 596 h 596"/>
                <a:gd name="T8" fmla="*/ 506 w 506"/>
                <a:gd name="T9" fmla="*/ 433 h 596"/>
                <a:gd name="T10" fmla="*/ 395 w 506"/>
                <a:gd name="T11" fmla="*/ 285 h 596"/>
                <a:gd name="T12" fmla="*/ 473 w 506"/>
                <a:gd name="T13" fmla="*/ 156 h 596"/>
                <a:gd name="T14" fmla="*/ 432 w 506"/>
                <a:gd name="T15" fmla="*/ 53 h 596"/>
                <a:gd name="T16" fmla="*/ 276 w 506"/>
                <a:gd name="T17" fmla="*/ 0 h 596"/>
                <a:gd name="T18" fmla="*/ 0 w 506"/>
                <a:gd name="T19" fmla="*/ 0 h 596"/>
                <a:gd name="T20" fmla="*/ 0 w 506"/>
                <a:gd name="T21" fmla="*/ 115 h 596"/>
                <a:gd name="T22" fmla="*/ 257 w 506"/>
                <a:gd name="T23" fmla="*/ 115 h 596"/>
                <a:gd name="T24" fmla="*/ 343 w 506"/>
                <a:gd name="T25" fmla="*/ 177 h 596"/>
                <a:gd name="T26" fmla="*/ 248 w 506"/>
                <a:gd name="T27" fmla="*/ 241 h 596"/>
                <a:gd name="T28" fmla="*/ 0 w 506"/>
                <a:gd name="T29" fmla="*/ 241 h 596"/>
                <a:gd name="T30" fmla="*/ 0 w 506"/>
                <a:gd name="T31" fmla="*/ 596 h 596"/>
                <a:gd name="T32" fmla="*/ 283 w 506"/>
                <a:gd name="T33" fmla="*/ 481 h 596"/>
                <a:gd name="T34" fmla="*/ 127 w 506"/>
                <a:gd name="T35" fmla="*/ 481 h 596"/>
                <a:gd name="T36" fmla="*/ 127 w 506"/>
                <a:gd name="T37" fmla="*/ 350 h 596"/>
                <a:gd name="T38" fmla="*/ 279 w 506"/>
                <a:gd name="T39" fmla="*/ 350 h 596"/>
                <a:gd name="T40" fmla="*/ 376 w 506"/>
                <a:gd name="T41" fmla="*/ 415 h 596"/>
                <a:gd name="T42" fmla="*/ 283 w 506"/>
                <a:gd name="T43" fmla="*/ 481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06" h="596">
                  <a:moveTo>
                    <a:pt x="0" y="596"/>
                  </a:moveTo>
                  <a:cubicBezTo>
                    <a:pt x="74" y="596"/>
                    <a:pt x="74" y="596"/>
                    <a:pt x="74" y="596"/>
                  </a:cubicBezTo>
                  <a:cubicBezTo>
                    <a:pt x="127" y="596"/>
                    <a:pt x="127" y="596"/>
                    <a:pt x="127" y="596"/>
                  </a:cubicBezTo>
                  <a:cubicBezTo>
                    <a:pt x="283" y="596"/>
                    <a:pt x="283" y="596"/>
                    <a:pt x="283" y="596"/>
                  </a:cubicBezTo>
                  <a:cubicBezTo>
                    <a:pt x="418" y="596"/>
                    <a:pt x="506" y="542"/>
                    <a:pt x="506" y="433"/>
                  </a:cubicBezTo>
                  <a:cubicBezTo>
                    <a:pt x="506" y="351"/>
                    <a:pt x="464" y="311"/>
                    <a:pt x="395" y="285"/>
                  </a:cubicBezTo>
                  <a:cubicBezTo>
                    <a:pt x="437" y="261"/>
                    <a:pt x="473" y="223"/>
                    <a:pt x="473" y="156"/>
                  </a:cubicBezTo>
                  <a:cubicBezTo>
                    <a:pt x="473" y="114"/>
                    <a:pt x="459" y="80"/>
                    <a:pt x="432" y="53"/>
                  </a:cubicBezTo>
                  <a:cubicBezTo>
                    <a:pt x="398" y="19"/>
                    <a:pt x="344" y="0"/>
                    <a:pt x="27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257" y="115"/>
                    <a:pt x="257" y="115"/>
                    <a:pt x="257" y="115"/>
                  </a:cubicBezTo>
                  <a:cubicBezTo>
                    <a:pt x="312" y="115"/>
                    <a:pt x="343" y="137"/>
                    <a:pt x="343" y="177"/>
                  </a:cubicBezTo>
                  <a:cubicBezTo>
                    <a:pt x="343" y="222"/>
                    <a:pt x="306" y="241"/>
                    <a:pt x="248" y="241"/>
                  </a:cubicBezTo>
                  <a:cubicBezTo>
                    <a:pt x="0" y="241"/>
                    <a:pt x="0" y="241"/>
                    <a:pt x="0" y="241"/>
                  </a:cubicBezTo>
                  <a:lnTo>
                    <a:pt x="0" y="596"/>
                  </a:lnTo>
                  <a:close/>
                  <a:moveTo>
                    <a:pt x="283" y="481"/>
                  </a:moveTo>
                  <a:cubicBezTo>
                    <a:pt x="127" y="481"/>
                    <a:pt x="127" y="481"/>
                    <a:pt x="127" y="481"/>
                  </a:cubicBezTo>
                  <a:cubicBezTo>
                    <a:pt x="127" y="350"/>
                    <a:pt x="127" y="350"/>
                    <a:pt x="127" y="350"/>
                  </a:cubicBezTo>
                  <a:cubicBezTo>
                    <a:pt x="279" y="350"/>
                    <a:pt x="279" y="350"/>
                    <a:pt x="279" y="350"/>
                  </a:cubicBezTo>
                  <a:cubicBezTo>
                    <a:pt x="346" y="350"/>
                    <a:pt x="376" y="375"/>
                    <a:pt x="376" y="415"/>
                  </a:cubicBezTo>
                  <a:cubicBezTo>
                    <a:pt x="376" y="461"/>
                    <a:pt x="341" y="481"/>
                    <a:pt x="283" y="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394647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bleed Foto mi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11817AE-51ED-41E3-A690-ED26CAEA9D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1138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11817AE-51ED-41E3-A690-ED26CAEA9D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EC5787D-011E-416D-94DD-7B499E6E75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A194230-98A5-4312-912D-7CAE3A9610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3031" y="210212"/>
            <a:ext cx="8619432" cy="43088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2307CE5-3111-4F33-9B73-B1BB9378A1E2}"/>
              </a:ext>
            </a:extLst>
          </p:cNvPr>
          <p:cNvGrpSpPr/>
          <p:nvPr userDrawn="1"/>
        </p:nvGrpSpPr>
        <p:grpSpPr>
          <a:xfrm>
            <a:off x="9809018" y="6114397"/>
            <a:ext cx="2022620" cy="422928"/>
            <a:chOff x="9809018" y="6114397"/>
            <a:chExt cx="2022620" cy="422928"/>
          </a:xfrm>
        </p:grpSpPr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A19C93D7-A3B2-4A58-ADC6-361B14180E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66356" y="6115872"/>
              <a:ext cx="510226" cy="421453"/>
            </a:xfrm>
            <a:custGeom>
              <a:avLst/>
              <a:gdLst>
                <a:gd name="T0" fmla="*/ 318 w 1730"/>
                <a:gd name="T1" fmla="*/ 1429 h 1429"/>
                <a:gd name="T2" fmla="*/ 0 w 1730"/>
                <a:gd name="T3" fmla="*/ 1429 h 1429"/>
                <a:gd name="T4" fmla="*/ 721 w 1730"/>
                <a:gd name="T5" fmla="*/ 0 h 1429"/>
                <a:gd name="T6" fmla="*/ 1009 w 1730"/>
                <a:gd name="T7" fmla="*/ 0 h 1429"/>
                <a:gd name="T8" fmla="*/ 1730 w 1730"/>
                <a:gd name="T9" fmla="*/ 1429 h 1429"/>
                <a:gd name="T10" fmla="*/ 1405 w 1730"/>
                <a:gd name="T11" fmla="*/ 1429 h 1429"/>
                <a:gd name="T12" fmla="*/ 861 w 1730"/>
                <a:gd name="T13" fmla="*/ 376 h 1429"/>
                <a:gd name="T14" fmla="*/ 318 w 1730"/>
                <a:gd name="T15" fmla="*/ 1429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0" h="1429">
                  <a:moveTo>
                    <a:pt x="318" y="1429"/>
                  </a:moveTo>
                  <a:lnTo>
                    <a:pt x="0" y="1429"/>
                  </a:lnTo>
                  <a:lnTo>
                    <a:pt x="721" y="0"/>
                  </a:lnTo>
                  <a:lnTo>
                    <a:pt x="1009" y="0"/>
                  </a:lnTo>
                  <a:lnTo>
                    <a:pt x="1730" y="1429"/>
                  </a:lnTo>
                  <a:lnTo>
                    <a:pt x="1405" y="1429"/>
                  </a:lnTo>
                  <a:lnTo>
                    <a:pt x="861" y="376"/>
                  </a:lnTo>
                  <a:lnTo>
                    <a:pt x="318" y="14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Rectangle 6">
              <a:extLst>
                <a:ext uri="{FF2B5EF4-FFF2-40B4-BE49-F238E27FC236}">
                  <a16:creationId xmlns:a16="http://schemas.microsoft.com/office/drawing/2014/main" id="{0311B544-3A45-47CF-AE14-8332D96A08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273043" y="6115872"/>
              <a:ext cx="14746" cy="11325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F0DA2BA0-C45F-483F-8296-E08A5563FB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0822" y="6115872"/>
              <a:ext cx="94967" cy="113253"/>
            </a:xfrm>
            <a:custGeom>
              <a:avLst/>
              <a:gdLst>
                <a:gd name="T0" fmla="*/ 0 w 136"/>
                <a:gd name="T1" fmla="*/ 161 h 161"/>
                <a:gd name="T2" fmla="*/ 0 w 136"/>
                <a:gd name="T3" fmla="*/ 0 h 161"/>
                <a:gd name="T4" fmla="*/ 20 w 136"/>
                <a:gd name="T5" fmla="*/ 0 h 161"/>
                <a:gd name="T6" fmla="*/ 88 w 136"/>
                <a:gd name="T7" fmla="*/ 90 h 161"/>
                <a:gd name="T8" fmla="*/ 116 w 136"/>
                <a:gd name="T9" fmla="*/ 127 h 161"/>
                <a:gd name="T10" fmla="*/ 116 w 136"/>
                <a:gd name="T11" fmla="*/ 127 h 161"/>
                <a:gd name="T12" fmla="*/ 116 w 136"/>
                <a:gd name="T13" fmla="*/ 81 h 161"/>
                <a:gd name="T14" fmla="*/ 116 w 136"/>
                <a:gd name="T15" fmla="*/ 0 h 161"/>
                <a:gd name="T16" fmla="*/ 136 w 136"/>
                <a:gd name="T17" fmla="*/ 0 h 161"/>
                <a:gd name="T18" fmla="*/ 136 w 136"/>
                <a:gd name="T19" fmla="*/ 161 h 161"/>
                <a:gd name="T20" fmla="*/ 116 w 136"/>
                <a:gd name="T21" fmla="*/ 161 h 161"/>
                <a:gd name="T22" fmla="*/ 49 w 136"/>
                <a:gd name="T23" fmla="*/ 72 h 161"/>
                <a:gd name="T24" fmla="*/ 21 w 136"/>
                <a:gd name="T25" fmla="*/ 34 h 161"/>
                <a:gd name="T26" fmla="*/ 20 w 136"/>
                <a:gd name="T27" fmla="*/ 34 h 161"/>
                <a:gd name="T28" fmla="*/ 21 w 136"/>
                <a:gd name="T29" fmla="*/ 80 h 161"/>
                <a:gd name="T30" fmla="*/ 21 w 136"/>
                <a:gd name="T31" fmla="*/ 161 h 161"/>
                <a:gd name="T32" fmla="*/ 0 w 136"/>
                <a:gd name="T33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61">
                  <a:moveTo>
                    <a:pt x="0" y="16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88" y="90"/>
                    <a:pt x="88" y="90"/>
                    <a:pt x="88" y="90"/>
                  </a:cubicBezTo>
                  <a:cubicBezTo>
                    <a:pt x="97" y="102"/>
                    <a:pt x="106" y="114"/>
                    <a:pt x="116" y="127"/>
                  </a:cubicBezTo>
                  <a:cubicBezTo>
                    <a:pt x="116" y="127"/>
                    <a:pt x="116" y="127"/>
                    <a:pt x="116" y="127"/>
                  </a:cubicBezTo>
                  <a:cubicBezTo>
                    <a:pt x="116" y="113"/>
                    <a:pt x="116" y="97"/>
                    <a:pt x="116" y="81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161"/>
                    <a:pt x="136" y="161"/>
                    <a:pt x="136" y="161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39" y="60"/>
                    <a:pt x="30" y="47"/>
                    <a:pt x="21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1" y="48"/>
                    <a:pt x="21" y="65"/>
                    <a:pt x="21" y="80"/>
                  </a:cubicBezTo>
                  <a:cubicBezTo>
                    <a:pt x="21" y="161"/>
                    <a:pt x="21" y="161"/>
                    <a:pt x="21" y="161"/>
                  </a:cubicBezTo>
                  <a:lnTo>
                    <a:pt x="0" y="16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8">
              <a:extLst>
                <a:ext uri="{FF2B5EF4-FFF2-40B4-BE49-F238E27FC236}">
                  <a16:creationId xmlns:a16="http://schemas.microsoft.com/office/drawing/2014/main" id="{B29DA787-CDC4-4596-AF5F-8BBA263EFD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6729" y="6115872"/>
              <a:ext cx="101750" cy="113253"/>
            </a:xfrm>
            <a:custGeom>
              <a:avLst/>
              <a:gdLst>
                <a:gd name="T0" fmla="*/ 0 w 145"/>
                <a:gd name="T1" fmla="*/ 0 h 161"/>
                <a:gd name="T2" fmla="*/ 23 w 145"/>
                <a:gd name="T3" fmla="*/ 0 h 161"/>
                <a:gd name="T4" fmla="*/ 57 w 145"/>
                <a:gd name="T5" fmla="*/ 90 h 161"/>
                <a:gd name="T6" fmla="*/ 73 w 145"/>
                <a:gd name="T7" fmla="*/ 133 h 161"/>
                <a:gd name="T8" fmla="*/ 73 w 145"/>
                <a:gd name="T9" fmla="*/ 133 h 161"/>
                <a:gd name="T10" fmla="*/ 89 w 145"/>
                <a:gd name="T11" fmla="*/ 90 h 161"/>
                <a:gd name="T12" fmla="*/ 124 w 145"/>
                <a:gd name="T13" fmla="*/ 0 h 161"/>
                <a:gd name="T14" fmla="*/ 145 w 145"/>
                <a:gd name="T15" fmla="*/ 0 h 161"/>
                <a:gd name="T16" fmla="*/ 84 w 145"/>
                <a:gd name="T17" fmla="*/ 161 h 161"/>
                <a:gd name="T18" fmla="*/ 62 w 145"/>
                <a:gd name="T19" fmla="*/ 161 h 161"/>
                <a:gd name="T20" fmla="*/ 0 w 145"/>
                <a:gd name="T21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5" h="161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62" y="104"/>
                    <a:pt x="67" y="118"/>
                    <a:pt x="73" y="133"/>
                  </a:cubicBezTo>
                  <a:cubicBezTo>
                    <a:pt x="73" y="133"/>
                    <a:pt x="73" y="133"/>
                    <a:pt x="73" y="133"/>
                  </a:cubicBezTo>
                  <a:cubicBezTo>
                    <a:pt x="79" y="118"/>
                    <a:pt x="84" y="104"/>
                    <a:pt x="89" y="9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84" y="161"/>
                    <a:pt x="84" y="161"/>
                    <a:pt x="84" y="161"/>
                  </a:cubicBezTo>
                  <a:cubicBezTo>
                    <a:pt x="62" y="161"/>
                    <a:pt x="62" y="161"/>
                    <a:pt x="62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9">
              <a:extLst>
                <a:ext uri="{FF2B5EF4-FFF2-40B4-BE49-F238E27FC236}">
                  <a16:creationId xmlns:a16="http://schemas.microsoft.com/office/drawing/2014/main" id="{07CBA41F-92FA-460F-9E54-5291BB0ADB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60009" y="6115872"/>
              <a:ext cx="66654" cy="113253"/>
            </a:xfrm>
            <a:custGeom>
              <a:avLst/>
              <a:gdLst>
                <a:gd name="T0" fmla="*/ 0 w 226"/>
                <a:gd name="T1" fmla="*/ 0 h 384"/>
                <a:gd name="T2" fmla="*/ 221 w 226"/>
                <a:gd name="T3" fmla="*/ 0 h 384"/>
                <a:gd name="T4" fmla="*/ 221 w 226"/>
                <a:gd name="T5" fmla="*/ 45 h 384"/>
                <a:gd name="T6" fmla="*/ 50 w 226"/>
                <a:gd name="T7" fmla="*/ 45 h 384"/>
                <a:gd name="T8" fmla="*/ 50 w 226"/>
                <a:gd name="T9" fmla="*/ 162 h 384"/>
                <a:gd name="T10" fmla="*/ 199 w 226"/>
                <a:gd name="T11" fmla="*/ 162 h 384"/>
                <a:gd name="T12" fmla="*/ 199 w 226"/>
                <a:gd name="T13" fmla="*/ 207 h 384"/>
                <a:gd name="T14" fmla="*/ 50 w 226"/>
                <a:gd name="T15" fmla="*/ 207 h 384"/>
                <a:gd name="T16" fmla="*/ 50 w 226"/>
                <a:gd name="T17" fmla="*/ 338 h 384"/>
                <a:gd name="T18" fmla="*/ 226 w 226"/>
                <a:gd name="T19" fmla="*/ 338 h 384"/>
                <a:gd name="T20" fmla="*/ 226 w 226"/>
                <a:gd name="T21" fmla="*/ 384 h 384"/>
                <a:gd name="T22" fmla="*/ 0 w 226"/>
                <a:gd name="T23" fmla="*/ 384 h 384"/>
                <a:gd name="T24" fmla="*/ 0 w 226"/>
                <a:gd name="T25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" h="384">
                  <a:moveTo>
                    <a:pt x="0" y="0"/>
                  </a:moveTo>
                  <a:lnTo>
                    <a:pt x="221" y="0"/>
                  </a:lnTo>
                  <a:lnTo>
                    <a:pt x="221" y="45"/>
                  </a:lnTo>
                  <a:lnTo>
                    <a:pt x="50" y="45"/>
                  </a:lnTo>
                  <a:lnTo>
                    <a:pt x="50" y="162"/>
                  </a:lnTo>
                  <a:lnTo>
                    <a:pt x="199" y="162"/>
                  </a:lnTo>
                  <a:lnTo>
                    <a:pt x="199" y="207"/>
                  </a:lnTo>
                  <a:lnTo>
                    <a:pt x="50" y="207"/>
                  </a:lnTo>
                  <a:lnTo>
                    <a:pt x="50" y="338"/>
                  </a:lnTo>
                  <a:lnTo>
                    <a:pt x="226" y="338"/>
                  </a:lnTo>
                  <a:lnTo>
                    <a:pt x="226" y="384"/>
                  </a:lnTo>
                  <a:lnTo>
                    <a:pt x="0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9C358B1D-0025-4177-85A1-8ACA858466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50257" y="6114397"/>
              <a:ext cx="74322" cy="116792"/>
            </a:xfrm>
            <a:custGeom>
              <a:avLst/>
              <a:gdLst>
                <a:gd name="T0" fmla="*/ 4 w 106"/>
                <a:gd name="T1" fmla="*/ 130 h 166"/>
                <a:gd name="T2" fmla="*/ 52 w 106"/>
                <a:gd name="T3" fmla="*/ 146 h 166"/>
                <a:gd name="T4" fmla="*/ 85 w 106"/>
                <a:gd name="T5" fmla="*/ 120 h 166"/>
                <a:gd name="T6" fmla="*/ 45 w 106"/>
                <a:gd name="T7" fmla="*/ 90 h 166"/>
                <a:gd name="T8" fmla="*/ 0 w 106"/>
                <a:gd name="T9" fmla="*/ 45 h 166"/>
                <a:gd name="T10" fmla="*/ 52 w 106"/>
                <a:gd name="T11" fmla="*/ 0 h 166"/>
                <a:gd name="T12" fmla="*/ 99 w 106"/>
                <a:gd name="T13" fmla="*/ 12 h 166"/>
                <a:gd name="T14" fmla="*/ 99 w 106"/>
                <a:gd name="T15" fmla="*/ 34 h 166"/>
                <a:gd name="T16" fmla="*/ 52 w 106"/>
                <a:gd name="T17" fmla="*/ 19 h 166"/>
                <a:gd name="T18" fmla="*/ 21 w 106"/>
                <a:gd name="T19" fmla="*/ 43 h 166"/>
                <a:gd name="T20" fmla="*/ 59 w 106"/>
                <a:gd name="T21" fmla="*/ 72 h 166"/>
                <a:gd name="T22" fmla="*/ 106 w 106"/>
                <a:gd name="T23" fmla="*/ 119 h 166"/>
                <a:gd name="T24" fmla="*/ 52 w 106"/>
                <a:gd name="T25" fmla="*/ 166 h 166"/>
                <a:gd name="T26" fmla="*/ 4 w 106"/>
                <a:gd name="T27" fmla="*/ 153 h 166"/>
                <a:gd name="T28" fmla="*/ 4 w 106"/>
                <a:gd name="T29" fmla="*/ 13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6" h="166">
                  <a:moveTo>
                    <a:pt x="4" y="130"/>
                  </a:moveTo>
                  <a:cubicBezTo>
                    <a:pt x="19" y="141"/>
                    <a:pt x="38" y="146"/>
                    <a:pt x="52" y="146"/>
                  </a:cubicBezTo>
                  <a:cubicBezTo>
                    <a:pt x="71" y="146"/>
                    <a:pt x="85" y="138"/>
                    <a:pt x="85" y="120"/>
                  </a:cubicBezTo>
                  <a:cubicBezTo>
                    <a:pt x="85" y="99"/>
                    <a:pt x="66" y="96"/>
                    <a:pt x="45" y="90"/>
                  </a:cubicBezTo>
                  <a:cubicBezTo>
                    <a:pt x="22" y="83"/>
                    <a:pt x="0" y="74"/>
                    <a:pt x="0" y="45"/>
                  </a:cubicBezTo>
                  <a:cubicBezTo>
                    <a:pt x="0" y="16"/>
                    <a:pt x="21" y="0"/>
                    <a:pt x="52" y="0"/>
                  </a:cubicBezTo>
                  <a:cubicBezTo>
                    <a:pt x="67" y="0"/>
                    <a:pt x="86" y="4"/>
                    <a:pt x="99" y="12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84" y="24"/>
                    <a:pt x="66" y="19"/>
                    <a:pt x="52" y="19"/>
                  </a:cubicBezTo>
                  <a:cubicBezTo>
                    <a:pt x="34" y="19"/>
                    <a:pt x="21" y="27"/>
                    <a:pt x="21" y="43"/>
                  </a:cubicBezTo>
                  <a:cubicBezTo>
                    <a:pt x="21" y="63"/>
                    <a:pt x="40" y="67"/>
                    <a:pt x="59" y="72"/>
                  </a:cubicBezTo>
                  <a:cubicBezTo>
                    <a:pt x="83" y="79"/>
                    <a:pt x="106" y="88"/>
                    <a:pt x="106" y="119"/>
                  </a:cubicBezTo>
                  <a:cubicBezTo>
                    <a:pt x="106" y="148"/>
                    <a:pt x="84" y="166"/>
                    <a:pt x="52" y="166"/>
                  </a:cubicBezTo>
                  <a:cubicBezTo>
                    <a:pt x="37" y="166"/>
                    <a:pt x="18" y="161"/>
                    <a:pt x="4" y="153"/>
                  </a:cubicBezTo>
                  <a:lnTo>
                    <a:pt x="4" y="13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11">
              <a:extLst>
                <a:ext uri="{FF2B5EF4-FFF2-40B4-BE49-F238E27FC236}">
                  <a16:creationId xmlns:a16="http://schemas.microsoft.com/office/drawing/2014/main" id="{859707A6-3DAA-4211-8EB1-323766F955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35786" y="6115872"/>
              <a:ext cx="90248" cy="113253"/>
            </a:xfrm>
            <a:custGeom>
              <a:avLst/>
              <a:gdLst>
                <a:gd name="T0" fmla="*/ 128 w 306"/>
                <a:gd name="T1" fmla="*/ 45 h 384"/>
                <a:gd name="T2" fmla="*/ 0 w 306"/>
                <a:gd name="T3" fmla="*/ 45 h 384"/>
                <a:gd name="T4" fmla="*/ 0 w 306"/>
                <a:gd name="T5" fmla="*/ 0 h 384"/>
                <a:gd name="T6" fmla="*/ 306 w 306"/>
                <a:gd name="T7" fmla="*/ 0 h 384"/>
                <a:gd name="T8" fmla="*/ 306 w 306"/>
                <a:gd name="T9" fmla="*/ 45 h 384"/>
                <a:gd name="T10" fmla="*/ 178 w 306"/>
                <a:gd name="T11" fmla="*/ 45 h 384"/>
                <a:gd name="T12" fmla="*/ 178 w 306"/>
                <a:gd name="T13" fmla="*/ 384 h 384"/>
                <a:gd name="T14" fmla="*/ 128 w 306"/>
                <a:gd name="T15" fmla="*/ 384 h 384"/>
                <a:gd name="T16" fmla="*/ 128 w 306"/>
                <a:gd name="T17" fmla="*/ 45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6" h="384">
                  <a:moveTo>
                    <a:pt x="128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306" y="0"/>
                  </a:lnTo>
                  <a:lnTo>
                    <a:pt x="306" y="45"/>
                  </a:lnTo>
                  <a:lnTo>
                    <a:pt x="178" y="45"/>
                  </a:lnTo>
                  <a:lnTo>
                    <a:pt x="178" y="384"/>
                  </a:lnTo>
                  <a:lnTo>
                    <a:pt x="128" y="384"/>
                  </a:lnTo>
                  <a:lnTo>
                    <a:pt x="128" y="4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12">
              <a:extLst>
                <a:ext uri="{FF2B5EF4-FFF2-40B4-BE49-F238E27FC236}">
                  <a16:creationId xmlns:a16="http://schemas.microsoft.com/office/drawing/2014/main" id="{0FEBAF92-9D70-4CAF-816F-BD0B92702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4066" y="6270414"/>
              <a:ext cx="153953" cy="113253"/>
            </a:xfrm>
            <a:custGeom>
              <a:avLst/>
              <a:gdLst>
                <a:gd name="T0" fmla="*/ 0 w 220"/>
                <a:gd name="T1" fmla="*/ 0 h 161"/>
                <a:gd name="T2" fmla="*/ 22 w 220"/>
                <a:gd name="T3" fmla="*/ 0 h 161"/>
                <a:gd name="T4" fmla="*/ 49 w 220"/>
                <a:gd name="T5" fmla="*/ 87 h 161"/>
                <a:gd name="T6" fmla="*/ 62 w 220"/>
                <a:gd name="T7" fmla="*/ 129 h 161"/>
                <a:gd name="T8" fmla="*/ 62 w 220"/>
                <a:gd name="T9" fmla="*/ 129 h 161"/>
                <a:gd name="T10" fmla="*/ 75 w 220"/>
                <a:gd name="T11" fmla="*/ 87 h 161"/>
                <a:gd name="T12" fmla="*/ 103 w 220"/>
                <a:gd name="T13" fmla="*/ 0 h 161"/>
                <a:gd name="T14" fmla="*/ 118 w 220"/>
                <a:gd name="T15" fmla="*/ 0 h 161"/>
                <a:gd name="T16" fmla="*/ 145 w 220"/>
                <a:gd name="T17" fmla="*/ 87 h 161"/>
                <a:gd name="T18" fmla="*/ 158 w 220"/>
                <a:gd name="T19" fmla="*/ 129 h 161"/>
                <a:gd name="T20" fmla="*/ 159 w 220"/>
                <a:gd name="T21" fmla="*/ 129 h 161"/>
                <a:gd name="T22" fmla="*/ 171 w 220"/>
                <a:gd name="T23" fmla="*/ 87 h 161"/>
                <a:gd name="T24" fmla="*/ 198 w 220"/>
                <a:gd name="T25" fmla="*/ 0 h 161"/>
                <a:gd name="T26" fmla="*/ 220 w 220"/>
                <a:gd name="T27" fmla="*/ 0 h 161"/>
                <a:gd name="T28" fmla="*/ 170 w 220"/>
                <a:gd name="T29" fmla="*/ 161 h 161"/>
                <a:gd name="T30" fmla="*/ 147 w 220"/>
                <a:gd name="T31" fmla="*/ 161 h 161"/>
                <a:gd name="T32" fmla="*/ 121 w 220"/>
                <a:gd name="T33" fmla="*/ 79 h 161"/>
                <a:gd name="T34" fmla="*/ 110 w 220"/>
                <a:gd name="T35" fmla="*/ 42 h 161"/>
                <a:gd name="T36" fmla="*/ 110 w 220"/>
                <a:gd name="T37" fmla="*/ 42 h 161"/>
                <a:gd name="T38" fmla="*/ 98 w 220"/>
                <a:gd name="T39" fmla="*/ 79 h 161"/>
                <a:gd name="T40" fmla="*/ 73 w 220"/>
                <a:gd name="T41" fmla="*/ 161 h 161"/>
                <a:gd name="T42" fmla="*/ 50 w 220"/>
                <a:gd name="T43" fmla="*/ 161 h 161"/>
                <a:gd name="T44" fmla="*/ 0 w 220"/>
                <a:gd name="T45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0" h="161">
                  <a:moveTo>
                    <a:pt x="0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54" y="101"/>
                    <a:pt x="58" y="115"/>
                    <a:pt x="62" y="129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66" y="115"/>
                    <a:pt x="71" y="101"/>
                    <a:pt x="75" y="87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45" y="87"/>
                    <a:pt x="145" y="87"/>
                    <a:pt x="145" y="87"/>
                  </a:cubicBezTo>
                  <a:cubicBezTo>
                    <a:pt x="150" y="101"/>
                    <a:pt x="154" y="115"/>
                    <a:pt x="158" y="129"/>
                  </a:cubicBezTo>
                  <a:cubicBezTo>
                    <a:pt x="159" y="129"/>
                    <a:pt x="159" y="129"/>
                    <a:pt x="159" y="129"/>
                  </a:cubicBezTo>
                  <a:cubicBezTo>
                    <a:pt x="163" y="115"/>
                    <a:pt x="167" y="101"/>
                    <a:pt x="171" y="87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170" y="161"/>
                    <a:pt x="170" y="161"/>
                    <a:pt x="170" y="161"/>
                  </a:cubicBezTo>
                  <a:cubicBezTo>
                    <a:pt x="147" y="161"/>
                    <a:pt x="147" y="161"/>
                    <a:pt x="147" y="161"/>
                  </a:cubicBezTo>
                  <a:cubicBezTo>
                    <a:pt x="121" y="79"/>
                    <a:pt x="121" y="79"/>
                    <a:pt x="121" y="79"/>
                  </a:cubicBezTo>
                  <a:cubicBezTo>
                    <a:pt x="117" y="66"/>
                    <a:pt x="114" y="54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06" y="54"/>
                    <a:pt x="102" y="67"/>
                    <a:pt x="98" y="79"/>
                  </a:cubicBezTo>
                  <a:cubicBezTo>
                    <a:pt x="73" y="161"/>
                    <a:pt x="73" y="161"/>
                    <a:pt x="73" y="161"/>
                  </a:cubicBezTo>
                  <a:cubicBezTo>
                    <a:pt x="50" y="161"/>
                    <a:pt x="50" y="161"/>
                    <a:pt x="50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13">
              <a:extLst>
                <a:ext uri="{FF2B5EF4-FFF2-40B4-BE49-F238E27FC236}">
                  <a16:creationId xmlns:a16="http://schemas.microsoft.com/office/drawing/2014/main" id="{33D4A3FE-1B1E-47A9-992E-07D98ED87F5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490111" y="6268940"/>
              <a:ext cx="114727" cy="115907"/>
            </a:xfrm>
            <a:custGeom>
              <a:avLst/>
              <a:gdLst>
                <a:gd name="T0" fmla="*/ 82 w 164"/>
                <a:gd name="T1" fmla="*/ 0 h 165"/>
                <a:gd name="T2" fmla="*/ 164 w 164"/>
                <a:gd name="T3" fmla="*/ 82 h 165"/>
                <a:gd name="T4" fmla="*/ 82 w 164"/>
                <a:gd name="T5" fmla="*/ 165 h 165"/>
                <a:gd name="T6" fmla="*/ 0 w 164"/>
                <a:gd name="T7" fmla="*/ 82 h 165"/>
                <a:gd name="T8" fmla="*/ 82 w 164"/>
                <a:gd name="T9" fmla="*/ 0 h 165"/>
                <a:gd name="T10" fmla="*/ 82 w 164"/>
                <a:gd name="T11" fmla="*/ 146 h 165"/>
                <a:gd name="T12" fmla="*/ 143 w 164"/>
                <a:gd name="T13" fmla="*/ 82 h 165"/>
                <a:gd name="T14" fmla="*/ 82 w 164"/>
                <a:gd name="T15" fmla="*/ 19 h 165"/>
                <a:gd name="T16" fmla="*/ 22 w 164"/>
                <a:gd name="T17" fmla="*/ 82 h 165"/>
                <a:gd name="T18" fmla="*/ 82 w 164"/>
                <a:gd name="T19" fmla="*/ 146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5">
                  <a:moveTo>
                    <a:pt x="82" y="0"/>
                  </a:moveTo>
                  <a:cubicBezTo>
                    <a:pt x="129" y="0"/>
                    <a:pt x="164" y="36"/>
                    <a:pt x="164" y="82"/>
                  </a:cubicBezTo>
                  <a:cubicBezTo>
                    <a:pt x="164" y="129"/>
                    <a:pt x="129" y="165"/>
                    <a:pt x="82" y="165"/>
                  </a:cubicBezTo>
                  <a:cubicBezTo>
                    <a:pt x="36" y="165"/>
                    <a:pt x="0" y="129"/>
                    <a:pt x="0" y="82"/>
                  </a:cubicBezTo>
                  <a:cubicBezTo>
                    <a:pt x="0" y="36"/>
                    <a:pt x="36" y="0"/>
                    <a:pt x="82" y="0"/>
                  </a:cubicBezTo>
                  <a:close/>
                  <a:moveTo>
                    <a:pt x="82" y="146"/>
                  </a:moveTo>
                  <a:cubicBezTo>
                    <a:pt x="117" y="146"/>
                    <a:pt x="143" y="118"/>
                    <a:pt x="143" y="82"/>
                  </a:cubicBezTo>
                  <a:cubicBezTo>
                    <a:pt x="143" y="47"/>
                    <a:pt x="117" y="19"/>
                    <a:pt x="82" y="19"/>
                  </a:cubicBezTo>
                  <a:cubicBezTo>
                    <a:pt x="47" y="19"/>
                    <a:pt x="22" y="47"/>
                    <a:pt x="22" y="82"/>
                  </a:cubicBezTo>
                  <a:cubicBezTo>
                    <a:pt x="22" y="118"/>
                    <a:pt x="47" y="146"/>
                    <a:pt x="82" y="14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14">
              <a:extLst>
                <a:ext uri="{FF2B5EF4-FFF2-40B4-BE49-F238E27FC236}">
                  <a16:creationId xmlns:a16="http://schemas.microsoft.com/office/drawing/2014/main" id="{9B08F6CB-9C29-4A26-8F0F-EF3539E2E7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631382" y="6270414"/>
              <a:ext cx="86119" cy="113253"/>
            </a:xfrm>
            <a:custGeom>
              <a:avLst/>
              <a:gdLst>
                <a:gd name="T0" fmla="*/ 0 w 123"/>
                <a:gd name="T1" fmla="*/ 0 h 161"/>
                <a:gd name="T2" fmla="*/ 43 w 123"/>
                <a:gd name="T3" fmla="*/ 0 h 161"/>
                <a:gd name="T4" fmla="*/ 88 w 123"/>
                <a:gd name="T5" fmla="*/ 8 h 161"/>
                <a:gd name="T6" fmla="*/ 111 w 123"/>
                <a:gd name="T7" fmla="*/ 46 h 161"/>
                <a:gd name="T8" fmla="*/ 90 w 123"/>
                <a:gd name="T9" fmla="*/ 83 h 161"/>
                <a:gd name="T10" fmla="*/ 71 w 123"/>
                <a:gd name="T11" fmla="*/ 90 h 161"/>
                <a:gd name="T12" fmla="*/ 123 w 123"/>
                <a:gd name="T13" fmla="*/ 161 h 161"/>
                <a:gd name="T14" fmla="*/ 97 w 123"/>
                <a:gd name="T15" fmla="*/ 161 h 161"/>
                <a:gd name="T16" fmla="*/ 48 w 123"/>
                <a:gd name="T17" fmla="*/ 92 h 161"/>
                <a:gd name="T18" fmla="*/ 21 w 123"/>
                <a:gd name="T19" fmla="*/ 92 h 161"/>
                <a:gd name="T20" fmla="*/ 21 w 123"/>
                <a:gd name="T21" fmla="*/ 161 h 161"/>
                <a:gd name="T22" fmla="*/ 0 w 123"/>
                <a:gd name="T23" fmla="*/ 161 h 161"/>
                <a:gd name="T24" fmla="*/ 0 w 123"/>
                <a:gd name="T25" fmla="*/ 0 h 161"/>
                <a:gd name="T26" fmla="*/ 48 w 123"/>
                <a:gd name="T27" fmla="*/ 75 h 161"/>
                <a:gd name="T28" fmla="*/ 80 w 123"/>
                <a:gd name="T29" fmla="*/ 67 h 161"/>
                <a:gd name="T30" fmla="*/ 89 w 123"/>
                <a:gd name="T31" fmla="*/ 47 h 161"/>
                <a:gd name="T32" fmla="*/ 76 w 123"/>
                <a:gd name="T33" fmla="*/ 25 h 161"/>
                <a:gd name="T34" fmla="*/ 42 w 123"/>
                <a:gd name="T35" fmla="*/ 19 h 161"/>
                <a:gd name="T36" fmla="*/ 21 w 123"/>
                <a:gd name="T37" fmla="*/ 19 h 161"/>
                <a:gd name="T38" fmla="*/ 21 w 123"/>
                <a:gd name="T39" fmla="*/ 75 h 161"/>
                <a:gd name="T40" fmla="*/ 48 w 123"/>
                <a:gd name="T41" fmla="*/ 75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3" h="161">
                  <a:moveTo>
                    <a:pt x="0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60" y="0"/>
                    <a:pt x="75" y="1"/>
                    <a:pt x="88" y="8"/>
                  </a:cubicBezTo>
                  <a:cubicBezTo>
                    <a:pt x="102" y="15"/>
                    <a:pt x="111" y="28"/>
                    <a:pt x="111" y="46"/>
                  </a:cubicBezTo>
                  <a:cubicBezTo>
                    <a:pt x="111" y="63"/>
                    <a:pt x="102" y="76"/>
                    <a:pt x="90" y="83"/>
                  </a:cubicBezTo>
                  <a:cubicBezTo>
                    <a:pt x="84" y="87"/>
                    <a:pt x="78" y="89"/>
                    <a:pt x="71" y="90"/>
                  </a:cubicBezTo>
                  <a:cubicBezTo>
                    <a:pt x="123" y="161"/>
                    <a:pt x="123" y="161"/>
                    <a:pt x="123" y="161"/>
                  </a:cubicBezTo>
                  <a:cubicBezTo>
                    <a:pt x="97" y="161"/>
                    <a:pt x="97" y="161"/>
                    <a:pt x="97" y="161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0" y="161"/>
                    <a:pt x="0" y="161"/>
                    <a:pt x="0" y="161"/>
                  </a:cubicBezTo>
                  <a:lnTo>
                    <a:pt x="0" y="0"/>
                  </a:lnTo>
                  <a:close/>
                  <a:moveTo>
                    <a:pt x="48" y="75"/>
                  </a:moveTo>
                  <a:cubicBezTo>
                    <a:pt x="63" y="75"/>
                    <a:pt x="73" y="73"/>
                    <a:pt x="80" y="67"/>
                  </a:cubicBezTo>
                  <a:cubicBezTo>
                    <a:pt x="86" y="63"/>
                    <a:pt x="89" y="56"/>
                    <a:pt x="89" y="47"/>
                  </a:cubicBezTo>
                  <a:cubicBezTo>
                    <a:pt x="89" y="37"/>
                    <a:pt x="85" y="29"/>
                    <a:pt x="76" y="25"/>
                  </a:cubicBezTo>
                  <a:cubicBezTo>
                    <a:pt x="68" y="20"/>
                    <a:pt x="57" y="19"/>
                    <a:pt x="42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75"/>
                    <a:pt x="21" y="75"/>
                    <a:pt x="21" y="75"/>
                  </a:cubicBezTo>
                  <a:lnTo>
                    <a:pt x="48" y="7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15">
              <a:extLst>
                <a:ext uri="{FF2B5EF4-FFF2-40B4-BE49-F238E27FC236}">
                  <a16:creationId xmlns:a16="http://schemas.microsoft.com/office/drawing/2014/main" id="{F626DAF7-0DC4-4761-B822-0EF1F4E2A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44929" y="6270414"/>
              <a:ext cx="86709" cy="113253"/>
            </a:xfrm>
            <a:custGeom>
              <a:avLst/>
              <a:gdLst>
                <a:gd name="T0" fmla="*/ 0 w 294"/>
                <a:gd name="T1" fmla="*/ 0 h 384"/>
                <a:gd name="T2" fmla="*/ 49 w 294"/>
                <a:gd name="T3" fmla="*/ 0 h 384"/>
                <a:gd name="T4" fmla="*/ 49 w 294"/>
                <a:gd name="T5" fmla="*/ 174 h 384"/>
                <a:gd name="T6" fmla="*/ 49 w 294"/>
                <a:gd name="T7" fmla="*/ 174 h 384"/>
                <a:gd name="T8" fmla="*/ 216 w 294"/>
                <a:gd name="T9" fmla="*/ 0 h 384"/>
                <a:gd name="T10" fmla="*/ 280 w 294"/>
                <a:gd name="T11" fmla="*/ 0 h 384"/>
                <a:gd name="T12" fmla="*/ 106 w 294"/>
                <a:gd name="T13" fmla="*/ 179 h 384"/>
                <a:gd name="T14" fmla="*/ 294 w 294"/>
                <a:gd name="T15" fmla="*/ 384 h 384"/>
                <a:gd name="T16" fmla="*/ 227 w 294"/>
                <a:gd name="T17" fmla="*/ 384 h 384"/>
                <a:gd name="T18" fmla="*/ 49 w 294"/>
                <a:gd name="T19" fmla="*/ 186 h 384"/>
                <a:gd name="T20" fmla="*/ 49 w 294"/>
                <a:gd name="T21" fmla="*/ 186 h 384"/>
                <a:gd name="T22" fmla="*/ 49 w 294"/>
                <a:gd name="T23" fmla="*/ 384 h 384"/>
                <a:gd name="T24" fmla="*/ 0 w 294"/>
                <a:gd name="T25" fmla="*/ 384 h 384"/>
                <a:gd name="T26" fmla="*/ 0 w 294"/>
                <a:gd name="T27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384">
                  <a:moveTo>
                    <a:pt x="0" y="0"/>
                  </a:moveTo>
                  <a:lnTo>
                    <a:pt x="49" y="0"/>
                  </a:lnTo>
                  <a:lnTo>
                    <a:pt x="49" y="174"/>
                  </a:lnTo>
                  <a:lnTo>
                    <a:pt x="49" y="174"/>
                  </a:lnTo>
                  <a:lnTo>
                    <a:pt x="216" y="0"/>
                  </a:lnTo>
                  <a:lnTo>
                    <a:pt x="280" y="0"/>
                  </a:lnTo>
                  <a:lnTo>
                    <a:pt x="106" y="179"/>
                  </a:lnTo>
                  <a:lnTo>
                    <a:pt x="294" y="384"/>
                  </a:lnTo>
                  <a:lnTo>
                    <a:pt x="227" y="384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384"/>
                  </a:lnTo>
                  <a:lnTo>
                    <a:pt x="0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16">
              <a:extLst>
                <a:ext uri="{FF2B5EF4-FFF2-40B4-BE49-F238E27FC236}">
                  <a16:creationId xmlns:a16="http://schemas.microsoft.com/office/drawing/2014/main" id="{6E1B8E6D-FE7A-4E16-9FE0-27110C65BA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67106" y="6424367"/>
              <a:ext cx="66359" cy="112958"/>
            </a:xfrm>
            <a:custGeom>
              <a:avLst/>
              <a:gdLst>
                <a:gd name="T0" fmla="*/ 0 w 225"/>
                <a:gd name="T1" fmla="*/ 0 h 383"/>
                <a:gd name="T2" fmla="*/ 225 w 225"/>
                <a:gd name="T3" fmla="*/ 0 h 383"/>
                <a:gd name="T4" fmla="*/ 225 w 225"/>
                <a:gd name="T5" fmla="*/ 45 h 383"/>
                <a:gd name="T6" fmla="*/ 49 w 225"/>
                <a:gd name="T7" fmla="*/ 45 h 383"/>
                <a:gd name="T8" fmla="*/ 49 w 225"/>
                <a:gd name="T9" fmla="*/ 169 h 383"/>
                <a:gd name="T10" fmla="*/ 204 w 225"/>
                <a:gd name="T11" fmla="*/ 169 h 383"/>
                <a:gd name="T12" fmla="*/ 204 w 225"/>
                <a:gd name="T13" fmla="*/ 214 h 383"/>
                <a:gd name="T14" fmla="*/ 49 w 225"/>
                <a:gd name="T15" fmla="*/ 214 h 383"/>
                <a:gd name="T16" fmla="*/ 49 w 225"/>
                <a:gd name="T17" fmla="*/ 383 h 383"/>
                <a:gd name="T18" fmla="*/ 0 w 225"/>
                <a:gd name="T19" fmla="*/ 383 h 383"/>
                <a:gd name="T20" fmla="*/ 0 w 225"/>
                <a:gd name="T21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5" h="383">
                  <a:moveTo>
                    <a:pt x="0" y="0"/>
                  </a:moveTo>
                  <a:lnTo>
                    <a:pt x="225" y="0"/>
                  </a:lnTo>
                  <a:lnTo>
                    <a:pt x="225" y="45"/>
                  </a:lnTo>
                  <a:lnTo>
                    <a:pt x="49" y="45"/>
                  </a:lnTo>
                  <a:lnTo>
                    <a:pt x="49" y="169"/>
                  </a:lnTo>
                  <a:lnTo>
                    <a:pt x="204" y="169"/>
                  </a:lnTo>
                  <a:lnTo>
                    <a:pt x="204" y="214"/>
                  </a:lnTo>
                  <a:lnTo>
                    <a:pt x="49" y="214"/>
                  </a:lnTo>
                  <a:lnTo>
                    <a:pt x="49" y="383"/>
                  </a:lnTo>
                  <a:lnTo>
                    <a:pt x="0" y="3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Rectangle 17">
              <a:extLst>
                <a:ext uri="{FF2B5EF4-FFF2-40B4-BE49-F238E27FC236}">
                  <a16:creationId xmlns:a16="http://schemas.microsoft.com/office/drawing/2014/main" id="{40E31F21-2B6F-4D92-907D-1F1F3475A92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565023" y="6424367"/>
              <a:ext cx="14746" cy="11295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18">
              <a:extLst>
                <a:ext uri="{FF2B5EF4-FFF2-40B4-BE49-F238E27FC236}">
                  <a16:creationId xmlns:a16="http://schemas.microsoft.com/office/drawing/2014/main" id="{32FBCDEA-7BEF-42EF-81AC-24968161A2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15455" y="6424367"/>
              <a:ext cx="67834" cy="112958"/>
            </a:xfrm>
            <a:custGeom>
              <a:avLst/>
              <a:gdLst>
                <a:gd name="T0" fmla="*/ 0 w 230"/>
                <a:gd name="T1" fmla="*/ 0 h 383"/>
                <a:gd name="T2" fmla="*/ 49 w 230"/>
                <a:gd name="T3" fmla="*/ 0 h 383"/>
                <a:gd name="T4" fmla="*/ 49 w 230"/>
                <a:gd name="T5" fmla="*/ 338 h 383"/>
                <a:gd name="T6" fmla="*/ 230 w 230"/>
                <a:gd name="T7" fmla="*/ 338 h 383"/>
                <a:gd name="T8" fmla="*/ 230 w 230"/>
                <a:gd name="T9" fmla="*/ 383 h 383"/>
                <a:gd name="T10" fmla="*/ 0 w 230"/>
                <a:gd name="T11" fmla="*/ 383 h 383"/>
                <a:gd name="T12" fmla="*/ 0 w 230"/>
                <a:gd name="T13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0" h="383">
                  <a:moveTo>
                    <a:pt x="0" y="0"/>
                  </a:moveTo>
                  <a:lnTo>
                    <a:pt x="49" y="0"/>
                  </a:lnTo>
                  <a:lnTo>
                    <a:pt x="49" y="338"/>
                  </a:lnTo>
                  <a:lnTo>
                    <a:pt x="230" y="338"/>
                  </a:lnTo>
                  <a:lnTo>
                    <a:pt x="230" y="383"/>
                  </a:lnTo>
                  <a:lnTo>
                    <a:pt x="0" y="3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19">
              <a:extLst>
                <a:ext uri="{FF2B5EF4-FFF2-40B4-BE49-F238E27FC236}">
                  <a16:creationId xmlns:a16="http://schemas.microsoft.com/office/drawing/2014/main" id="{7B4A8E0B-4E22-4265-A287-290F427A44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08358" y="6424367"/>
              <a:ext cx="108534" cy="112958"/>
            </a:xfrm>
            <a:custGeom>
              <a:avLst/>
              <a:gdLst>
                <a:gd name="T0" fmla="*/ 42 w 155"/>
                <a:gd name="T1" fmla="*/ 67 h 161"/>
                <a:gd name="T2" fmla="*/ 20 w 155"/>
                <a:gd name="T3" fmla="*/ 35 h 161"/>
                <a:gd name="T4" fmla="*/ 20 w 155"/>
                <a:gd name="T5" fmla="*/ 36 h 161"/>
                <a:gd name="T6" fmla="*/ 20 w 155"/>
                <a:gd name="T7" fmla="*/ 71 h 161"/>
                <a:gd name="T8" fmla="*/ 20 w 155"/>
                <a:gd name="T9" fmla="*/ 161 h 161"/>
                <a:gd name="T10" fmla="*/ 0 w 155"/>
                <a:gd name="T11" fmla="*/ 161 h 161"/>
                <a:gd name="T12" fmla="*/ 0 w 155"/>
                <a:gd name="T13" fmla="*/ 0 h 161"/>
                <a:gd name="T14" fmla="*/ 20 w 155"/>
                <a:gd name="T15" fmla="*/ 0 h 161"/>
                <a:gd name="T16" fmla="*/ 78 w 155"/>
                <a:gd name="T17" fmla="*/ 82 h 161"/>
                <a:gd name="T18" fmla="*/ 135 w 155"/>
                <a:gd name="T19" fmla="*/ 0 h 161"/>
                <a:gd name="T20" fmla="*/ 155 w 155"/>
                <a:gd name="T21" fmla="*/ 0 h 161"/>
                <a:gd name="T22" fmla="*/ 155 w 155"/>
                <a:gd name="T23" fmla="*/ 161 h 161"/>
                <a:gd name="T24" fmla="*/ 134 w 155"/>
                <a:gd name="T25" fmla="*/ 161 h 161"/>
                <a:gd name="T26" fmla="*/ 134 w 155"/>
                <a:gd name="T27" fmla="*/ 71 h 161"/>
                <a:gd name="T28" fmla="*/ 134 w 155"/>
                <a:gd name="T29" fmla="*/ 36 h 161"/>
                <a:gd name="T30" fmla="*/ 134 w 155"/>
                <a:gd name="T31" fmla="*/ 35 h 161"/>
                <a:gd name="T32" fmla="*/ 112 w 155"/>
                <a:gd name="T33" fmla="*/ 67 h 161"/>
                <a:gd name="T34" fmla="*/ 77 w 155"/>
                <a:gd name="T35" fmla="*/ 117 h 161"/>
                <a:gd name="T36" fmla="*/ 42 w 155"/>
                <a:gd name="T37" fmla="*/ 6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61">
                  <a:moveTo>
                    <a:pt x="42" y="67"/>
                  </a:moveTo>
                  <a:cubicBezTo>
                    <a:pt x="35" y="57"/>
                    <a:pt x="28" y="46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45"/>
                    <a:pt x="20" y="57"/>
                    <a:pt x="20" y="71"/>
                  </a:cubicBezTo>
                  <a:cubicBezTo>
                    <a:pt x="20" y="161"/>
                    <a:pt x="20" y="161"/>
                    <a:pt x="2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5" y="161"/>
                    <a:pt x="155" y="161"/>
                    <a:pt x="155" y="161"/>
                  </a:cubicBezTo>
                  <a:cubicBezTo>
                    <a:pt x="134" y="161"/>
                    <a:pt x="134" y="161"/>
                    <a:pt x="134" y="161"/>
                  </a:cubicBezTo>
                  <a:cubicBezTo>
                    <a:pt x="134" y="71"/>
                    <a:pt x="134" y="71"/>
                    <a:pt x="134" y="71"/>
                  </a:cubicBezTo>
                  <a:cubicBezTo>
                    <a:pt x="134" y="57"/>
                    <a:pt x="134" y="45"/>
                    <a:pt x="134" y="36"/>
                  </a:cubicBezTo>
                  <a:cubicBezTo>
                    <a:pt x="134" y="35"/>
                    <a:pt x="134" y="35"/>
                    <a:pt x="134" y="35"/>
                  </a:cubicBezTo>
                  <a:cubicBezTo>
                    <a:pt x="127" y="46"/>
                    <a:pt x="120" y="57"/>
                    <a:pt x="112" y="67"/>
                  </a:cubicBezTo>
                  <a:cubicBezTo>
                    <a:pt x="77" y="117"/>
                    <a:pt x="77" y="117"/>
                    <a:pt x="77" y="117"/>
                  </a:cubicBezTo>
                  <a:lnTo>
                    <a:pt x="42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20">
              <a:extLst>
                <a:ext uri="{FF2B5EF4-FFF2-40B4-BE49-F238E27FC236}">
                  <a16:creationId xmlns:a16="http://schemas.microsoft.com/office/drawing/2014/main" id="{99A25193-0AFC-4FC5-A97B-9086ECF9EB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9018" y="6115872"/>
              <a:ext cx="510226" cy="421453"/>
            </a:xfrm>
            <a:custGeom>
              <a:avLst/>
              <a:gdLst>
                <a:gd name="T0" fmla="*/ 318 w 1730"/>
                <a:gd name="T1" fmla="*/ 1429 h 1429"/>
                <a:gd name="T2" fmla="*/ 0 w 1730"/>
                <a:gd name="T3" fmla="*/ 1429 h 1429"/>
                <a:gd name="T4" fmla="*/ 721 w 1730"/>
                <a:gd name="T5" fmla="*/ 0 h 1429"/>
                <a:gd name="T6" fmla="*/ 1008 w 1730"/>
                <a:gd name="T7" fmla="*/ 0 h 1429"/>
                <a:gd name="T8" fmla="*/ 1730 w 1730"/>
                <a:gd name="T9" fmla="*/ 1429 h 1429"/>
                <a:gd name="T10" fmla="*/ 1404 w 1730"/>
                <a:gd name="T11" fmla="*/ 1429 h 1429"/>
                <a:gd name="T12" fmla="*/ 861 w 1730"/>
                <a:gd name="T13" fmla="*/ 376 h 1429"/>
                <a:gd name="T14" fmla="*/ 318 w 1730"/>
                <a:gd name="T15" fmla="*/ 1429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0" h="1429">
                  <a:moveTo>
                    <a:pt x="318" y="1429"/>
                  </a:moveTo>
                  <a:lnTo>
                    <a:pt x="0" y="1429"/>
                  </a:lnTo>
                  <a:lnTo>
                    <a:pt x="721" y="0"/>
                  </a:lnTo>
                  <a:lnTo>
                    <a:pt x="1008" y="0"/>
                  </a:lnTo>
                  <a:lnTo>
                    <a:pt x="1730" y="1429"/>
                  </a:lnTo>
                  <a:lnTo>
                    <a:pt x="1404" y="1429"/>
                  </a:lnTo>
                  <a:lnTo>
                    <a:pt x="861" y="376"/>
                  </a:lnTo>
                  <a:lnTo>
                    <a:pt x="318" y="14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21">
              <a:extLst>
                <a:ext uri="{FF2B5EF4-FFF2-40B4-BE49-F238E27FC236}">
                  <a16:creationId xmlns:a16="http://schemas.microsoft.com/office/drawing/2014/main" id="{247E6B6B-34CD-4044-9D7C-221A4DFB4EC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82949" y="6118821"/>
              <a:ext cx="353914" cy="418504"/>
            </a:xfrm>
            <a:custGeom>
              <a:avLst/>
              <a:gdLst>
                <a:gd name="T0" fmla="*/ 0 w 506"/>
                <a:gd name="T1" fmla="*/ 596 h 596"/>
                <a:gd name="T2" fmla="*/ 74 w 506"/>
                <a:gd name="T3" fmla="*/ 596 h 596"/>
                <a:gd name="T4" fmla="*/ 127 w 506"/>
                <a:gd name="T5" fmla="*/ 596 h 596"/>
                <a:gd name="T6" fmla="*/ 283 w 506"/>
                <a:gd name="T7" fmla="*/ 596 h 596"/>
                <a:gd name="T8" fmla="*/ 506 w 506"/>
                <a:gd name="T9" fmla="*/ 433 h 596"/>
                <a:gd name="T10" fmla="*/ 395 w 506"/>
                <a:gd name="T11" fmla="*/ 285 h 596"/>
                <a:gd name="T12" fmla="*/ 473 w 506"/>
                <a:gd name="T13" fmla="*/ 156 h 596"/>
                <a:gd name="T14" fmla="*/ 432 w 506"/>
                <a:gd name="T15" fmla="*/ 53 h 596"/>
                <a:gd name="T16" fmla="*/ 276 w 506"/>
                <a:gd name="T17" fmla="*/ 0 h 596"/>
                <a:gd name="T18" fmla="*/ 0 w 506"/>
                <a:gd name="T19" fmla="*/ 0 h 596"/>
                <a:gd name="T20" fmla="*/ 0 w 506"/>
                <a:gd name="T21" fmla="*/ 115 h 596"/>
                <a:gd name="T22" fmla="*/ 257 w 506"/>
                <a:gd name="T23" fmla="*/ 115 h 596"/>
                <a:gd name="T24" fmla="*/ 343 w 506"/>
                <a:gd name="T25" fmla="*/ 177 h 596"/>
                <a:gd name="T26" fmla="*/ 248 w 506"/>
                <a:gd name="T27" fmla="*/ 241 h 596"/>
                <a:gd name="T28" fmla="*/ 0 w 506"/>
                <a:gd name="T29" fmla="*/ 241 h 596"/>
                <a:gd name="T30" fmla="*/ 0 w 506"/>
                <a:gd name="T31" fmla="*/ 596 h 596"/>
                <a:gd name="T32" fmla="*/ 283 w 506"/>
                <a:gd name="T33" fmla="*/ 481 h 596"/>
                <a:gd name="T34" fmla="*/ 127 w 506"/>
                <a:gd name="T35" fmla="*/ 481 h 596"/>
                <a:gd name="T36" fmla="*/ 127 w 506"/>
                <a:gd name="T37" fmla="*/ 350 h 596"/>
                <a:gd name="T38" fmla="*/ 279 w 506"/>
                <a:gd name="T39" fmla="*/ 350 h 596"/>
                <a:gd name="T40" fmla="*/ 376 w 506"/>
                <a:gd name="T41" fmla="*/ 415 h 596"/>
                <a:gd name="T42" fmla="*/ 283 w 506"/>
                <a:gd name="T43" fmla="*/ 481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06" h="596">
                  <a:moveTo>
                    <a:pt x="0" y="596"/>
                  </a:moveTo>
                  <a:cubicBezTo>
                    <a:pt x="74" y="596"/>
                    <a:pt x="74" y="596"/>
                    <a:pt x="74" y="596"/>
                  </a:cubicBezTo>
                  <a:cubicBezTo>
                    <a:pt x="127" y="596"/>
                    <a:pt x="127" y="596"/>
                    <a:pt x="127" y="596"/>
                  </a:cubicBezTo>
                  <a:cubicBezTo>
                    <a:pt x="283" y="596"/>
                    <a:pt x="283" y="596"/>
                    <a:pt x="283" y="596"/>
                  </a:cubicBezTo>
                  <a:cubicBezTo>
                    <a:pt x="418" y="596"/>
                    <a:pt x="506" y="542"/>
                    <a:pt x="506" y="433"/>
                  </a:cubicBezTo>
                  <a:cubicBezTo>
                    <a:pt x="506" y="351"/>
                    <a:pt x="464" y="311"/>
                    <a:pt x="395" y="285"/>
                  </a:cubicBezTo>
                  <a:cubicBezTo>
                    <a:pt x="437" y="261"/>
                    <a:pt x="473" y="223"/>
                    <a:pt x="473" y="156"/>
                  </a:cubicBezTo>
                  <a:cubicBezTo>
                    <a:pt x="473" y="114"/>
                    <a:pt x="459" y="80"/>
                    <a:pt x="432" y="53"/>
                  </a:cubicBezTo>
                  <a:cubicBezTo>
                    <a:pt x="398" y="19"/>
                    <a:pt x="344" y="0"/>
                    <a:pt x="27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257" y="115"/>
                    <a:pt x="257" y="115"/>
                    <a:pt x="257" y="115"/>
                  </a:cubicBezTo>
                  <a:cubicBezTo>
                    <a:pt x="312" y="115"/>
                    <a:pt x="343" y="137"/>
                    <a:pt x="343" y="177"/>
                  </a:cubicBezTo>
                  <a:cubicBezTo>
                    <a:pt x="343" y="222"/>
                    <a:pt x="306" y="241"/>
                    <a:pt x="248" y="241"/>
                  </a:cubicBezTo>
                  <a:cubicBezTo>
                    <a:pt x="0" y="241"/>
                    <a:pt x="0" y="241"/>
                    <a:pt x="0" y="241"/>
                  </a:cubicBezTo>
                  <a:lnTo>
                    <a:pt x="0" y="596"/>
                  </a:lnTo>
                  <a:close/>
                  <a:moveTo>
                    <a:pt x="283" y="481"/>
                  </a:moveTo>
                  <a:cubicBezTo>
                    <a:pt x="127" y="481"/>
                    <a:pt x="127" y="481"/>
                    <a:pt x="127" y="481"/>
                  </a:cubicBezTo>
                  <a:cubicBezTo>
                    <a:pt x="127" y="350"/>
                    <a:pt x="127" y="350"/>
                    <a:pt x="127" y="350"/>
                  </a:cubicBezTo>
                  <a:cubicBezTo>
                    <a:pt x="279" y="350"/>
                    <a:pt x="279" y="350"/>
                    <a:pt x="279" y="350"/>
                  </a:cubicBezTo>
                  <a:cubicBezTo>
                    <a:pt x="346" y="350"/>
                    <a:pt x="376" y="375"/>
                    <a:pt x="376" y="415"/>
                  </a:cubicBezTo>
                  <a:cubicBezTo>
                    <a:pt x="376" y="461"/>
                    <a:pt x="341" y="481"/>
                    <a:pt x="283" y="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9" name="object 3">
            <a:extLst>
              <a:ext uri="{FF2B5EF4-FFF2-40B4-BE49-F238E27FC236}">
                <a16:creationId xmlns:a16="http://schemas.microsoft.com/office/drawing/2014/main" id="{8D333F5B-204A-4E2E-8A90-555E8523977A}"/>
              </a:ext>
            </a:extLst>
          </p:cNvPr>
          <p:cNvSpPr/>
          <p:nvPr userDrawn="1"/>
        </p:nvSpPr>
        <p:spPr>
          <a:xfrm>
            <a:off x="9204" y="4559"/>
            <a:ext cx="655813" cy="840582"/>
          </a:xfrm>
          <a:custGeom>
            <a:avLst/>
            <a:gdLst/>
            <a:ahLst/>
            <a:cxnLst/>
            <a:rect l="l" t="t" r="r" b="b"/>
            <a:pathLst>
              <a:path w="1005205" h="1288415">
                <a:moveTo>
                  <a:pt x="0" y="0"/>
                </a:moveTo>
                <a:lnTo>
                  <a:pt x="0" y="335068"/>
                </a:lnTo>
                <a:lnTo>
                  <a:pt x="609552" y="640462"/>
                </a:lnTo>
                <a:lnTo>
                  <a:pt x="0" y="952850"/>
                </a:lnTo>
                <a:lnTo>
                  <a:pt x="0" y="1287918"/>
                </a:lnTo>
                <a:lnTo>
                  <a:pt x="1005204" y="793253"/>
                </a:lnTo>
                <a:lnTo>
                  <a:pt x="1005204" y="49601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 anchor="ctr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7724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-bleed F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52AF02E-2129-4013-BA2B-4355D657A4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3978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52AF02E-2129-4013-BA2B-4355D657A4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object 3">
            <a:extLst>
              <a:ext uri="{FF2B5EF4-FFF2-40B4-BE49-F238E27FC236}">
                <a16:creationId xmlns:a16="http://schemas.microsoft.com/office/drawing/2014/main" id="{DF0DF7E7-67EA-4956-8C31-6F90A10C92FE}"/>
              </a:ext>
            </a:extLst>
          </p:cNvPr>
          <p:cNvSpPr/>
          <p:nvPr userDrawn="1"/>
        </p:nvSpPr>
        <p:spPr>
          <a:xfrm>
            <a:off x="1" y="4559"/>
            <a:ext cx="540326" cy="692558"/>
          </a:xfrm>
          <a:custGeom>
            <a:avLst/>
            <a:gdLst/>
            <a:ahLst/>
            <a:cxnLst/>
            <a:rect l="l" t="t" r="r" b="b"/>
            <a:pathLst>
              <a:path w="1005205" h="1288415">
                <a:moveTo>
                  <a:pt x="0" y="0"/>
                </a:moveTo>
                <a:lnTo>
                  <a:pt x="0" y="335068"/>
                </a:lnTo>
                <a:lnTo>
                  <a:pt x="609552" y="640462"/>
                </a:lnTo>
                <a:lnTo>
                  <a:pt x="0" y="952850"/>
                </a:lnTo>
                <a:lnTo>
                  <a:pt x="0" y="1287918"/>
                </a:lnTo>
                <a:lnTo>
                  <a:pt x="1005204" y="793253"/>
                </a:lnTo>
                <a:lnTo>
                  <a:pt x="1005204" y="49601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 anchor="ctr"/>
          <a:lstStyle/>
          <a:p>
            <a:endParaRPr/>
          </a:p>
        </p:txBody>
      </p:sp>
      <p:sp>
        <p:nvSpPr>
          <p:cNvPr id="132" name="Picture Placeholder 8">
            <a:extLst>
              <a:ext uri="{FF2B5EF4-FFF2-40B4-BE49-F238E27FC236}">
                <a16:creationId xmlns:a16="http://schemas.microsoft.com/office/drawing/2014/main" id="{EDCBD13A-C811-4A36-B374-1BD6EDEFAC8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C168B6FE-8C02-4842-88D8-2BF6C87C7203}"/>
              </a:ext>
            </a:extLst>
          </p:cNvPr>
          <p:cNvGrpSpPr/>
          <p:nvPr userDrawn="1"/>
        </p:nvGrpSpPr>
        <p:grpSpPr>
          <a:xfrm>
            <a:off x="9809018" y="6114397"/>
            <a:ext cx="2022620" cy="422928"/>
            <a:chOff x="9809018" y="6114397"/>
            <a:chExt cx="2022620" cy="422928"/>
          </a:xfrm>
        </p:grpSpPr>
        <p:sp>
          <p:nvSpPr>
            <p:cNvPr id="134" name="Freeform 5">
              <a:extLst>
                <a:ext uri="{FF2B5EF4-FFF2-40B4-BE49-F238E27FC236}">
                  <a16:creationId xmlns:a16="http://schemas.microsoft.com/office/drawing/2014/main" id="{7FC05F61-C049-43FE-8259-8A45BBC5B4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66356" y="6115872"/>
              <a:ext cx="510226" cy="421453"/>
            </a:xfrm>
            <a:custGeom>
              <a:avLst/>
              <a:gdLst>
                <a:gd name="T0" fmla="*/ 318 w 1730"/>
                <a:gd name="T1" fmla="*/ 1429 h 1429"/>
                <a:gd name="T2" fmla="*/ 0 w 1730"/>
                <a:gd name="T3" fmla="*/ 1429 h 1429"/>
                <a:gd name="T4" fmla="*/ 721 w 1730"/>
                <a:gd name="T5" fmla="*/ 0 h 1429"/>
                <a:gd name="T6" fmla="*/ 1009 w 1730"/>
                <a:gd name="T7" fmla="*/ 0 h 1429"/>
                <a:gd name="T8" fmla="*/ 1730 w 1730"/>
                <a:gd name="T9" fmla="*/ 1429 h 1429"/>
                <a:gd name="T10" fmla="*/ 1405 w 1730"/>
                <a:gd name="T11" fmla="*/ 1429 h 1429"/>
                <a:gd name="T12" fmla="*/ 861 w 1730"/>
                <a:gd name="T13" fmla="*/ 376 h 1429"/>
                <a:gd name="T14" fmla="*/ 318 w 1730"/>
                <a:gd name="T15" fmla="*/ 1429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0" h="1429">
                  <a:moveTo>
                    <a:pt x="318" y="1429"/>
                  </a:moveTo>
                  <a:lnTo>
                    <a:pt x="0" y="1429"/>
                  </a:lnTo>
                  <a:lnTo>
                    <a:pt x="721" y="0"/>
                  </a:lnTo>
                  <a:lnTo>
                    <a:pt x="1009" y="0"/>
                  </a:lnTo>
                  <a:lnTo>
                    <a:pt x="1730" y="1429"/>
                  </a:lnTo>
                  <a:lnTo>
                    <a:pt x="1405" y="1429"/>
                  </a:lnTo>
                  <a:lnTo>
                    <a:pt x="861" y="376"/>
                  </a:lnTo>
                  <a:lnTo>
                    <a:pt x="318" y="14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" name="Rectangle 6">
              <a:extLst>
                <a:ext uri="{FF2B5EF4-FFF2-40B4-BE49-F238E27FC236}">
                  <a16:creationId xmlns:a16="http://schemas.microsoft.com/office/drawing/2014/main" id="{1DF7864D-B6D0-4572-BEA5-E403C010DEC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273043" y="6115872"/>
              <a:ext cx="14746" cy="11325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" name="Freeform 7">
              <a:extLst>
                <a:ext uri="{FF2B5EF4-FFF2-40B4-BE49-F238E27FC236}">
                  <a16:creationId xmlns:a16="http://schemas.microsoft.com/office/drawing/2014/main" id="{A972C330-034B-4C10-A85F-F1AE11C233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0822" y="6115872"/>
              <a:ext cx="94967" cy="113253"/>
            </a:xfrm>
            <a:custGeom>
              <a:avLst/>
              <a:gdLst>
                <a:gd name="T0" fmla="*/ 0 w 136"/>
                <a:gd name="T1" fmla="*/ 161 h 161"/>
                <a:gd name="T2" fmla="*/ 0 w 136"/>
                <a:gd name="T3" fmla="*/ 0 h 161"/>
                <a:gd name="T4" fmla="*/ 20 w 136"/>
                <a:gd name="T5" fmla="*/ 0 h 161"/>
                <a:gd name="T6" fmla="*/ 88 w 136"/>
                <a:gd name="T7" fmla="*/ 90 h 161"/>
                <a:gd name="T8" fmla="*/ 116 w 136"/>
                <a:gd name="T9" fmla="*/ 127 h 161"/>
                <a:gd name="T10" fmla="*/ 116 w 136"/>
                <a:gd name="T11" fmla="*/ 127 h 161"/>
                <a:gd name="T12" fmla="*/ 116 w 136"/>
                <a:gd name="T13" fmla="*/ 81 h 161"/>
                <a:gd name="T14" fmla="*/ 116 w 136"/>
                <a:gd name="T15" fmla="*/ 0 h 161"/>
                <a:gd name="T16" fmla="*/ 136 w 136"/>
                <a:gd name="T17" fmla="*/ 0 h 161"/>
                <a:gd name="T18" fmla="*/ 136 w 136"/>
                <a:gd name="T19" fmla="*/ 161 h 161"/>
                <a:gd name="T20" fmla="*/ 116 w 136"/>
                <a:gd name="T21" fmla="*/ 161 h 161"/>
                <a:gd name="T22" fmla="*/ 49 w 136"/>
                <a:gd name="T23" fmla="*/ 72 h 161"/>
                <a:gd name="T24" fmla="*/ 21 w 136"/>
                <a:gd name="T25" fmla="*/ 34 h 161"/>
                <a:gd name="T26" fmla="*/ 20 w 136"/>
                <a:gd name="T27" fmla="*/ 34 h 161"/>
                <a:gd name="T28" fmla="*/ 21 w 136"/>
                <a:gd name="T29" fmla="*/ 80 h 161"/>
                <a:gd name="T30" fmla="*/ 21 w 136"/>
                <a:gd name="T31" fmla="*/ 161 h 161"/>
                <a:gd name="T32" fmla="*/ 0 w 136"/>
                <a:gd name="T33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61">
                  <a:moveTo>
                    <a:pt x="0" y="16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88" y="90"/>
                    <a:pt x="88" y="90"/>
                    <a:pt x="88" y="90"/>
                  </a:cubicBezTo>
                  <a:cubicBezTo>
                    <a:pt x="97" y="102"/>
                    <a:pt x="106" y="114"/>
                    <a:pt x="116" y="127"/>
                  </a:cubicBezTo>
                  <a:cubicBezTo>
                    <a:pt x="116" y="127"/>
                    <a:pt x="116" y="127"/>
                    <a:pt x="116" y="127"/>
                  </a:cubicBezTo>
                  <a:cubicBezTo>
                    <a:pt x="116" y="113"/>
                    <a:pt x="116" y="97"/>
                    <a:pt x="116" y="81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161"/>
                    <a:pt x="136" y="161"/>
                    <a:pt x="136" y="161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39" y="60"/>
                    <a:pt x="30" y="47"/>
                    <a:pt x="21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1" y="48"/>
                    <a:pt x="21" y="65"/>
                    <a:pt x="21" y="80"/>
                  </a:cubicBezTo>
                  <a:cubicBezTo>
                    <a:pt x="21" y="161"/>
                    <a:pt x="21" y="161"/>
                    <a:pt x="21" y="161"/>
                  </a:cubicBezTo>
                  <a:lnTo>
                    <a:pt x="0" y="16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" name="Freeform 8">
              <a:extLst>
                <a:ext uri="{FF2B5EF4-FFF2-40B4-BE49-F238E27FC236}">
                  <a16:creationId xmlns:a16="http://schemas.microsoft.com/office/drawing/2014/main" id="{9C56225E-DEE0-4BC7-9BAF-A836577675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6729" y="6115872"/>
              <a:ext cx="101750" cy="113253"/>
            </a:xfrm>
            <a:custGeom>
              <a:avLst/>
              <a:gdLst>
                <a:gd name="T0" fmla="*/ 0 w 145"/>
                <a:gd name="T1" fmla="*/ 0 h 161"/>
                <a:gd name="T2" fmla="*/ 23 w 145"/>
                <a:gd name="T3" fmla="*/ 0 h 161"/>
                <a:gd name="T4" fmla="*/ 57 w 145"/>
                <a:gd name="T5" fmla="*/ 90 h 161"/>
                <a:gd name="T6" fmla="*/ 73 w 145"/>
                <a:gd name="T7" fmla="*/ 133 h 161"/>
                <a:gd name="T8" fmla="*/ 73 w 145"/>
                <a:gd name="T9" fmla="*/ 133 h 161"/>
                <a:gd name="T10" fmla="*/ 89 w 145"/>
                <a:gd name="T11" fmla="*/ 90 h 161"/>
                <a:gd name="T12" fmla="*/ 124 w 145"/>
                <a:gd name="T13" fmla="*/ 0 h 161"/>
                <a:gd name="T14" fmla="*/ 145 w 145"/>
                <a:gd name="T15" fmla="*/ 0 h 161"/>
                <a:gd name="T16" fmla="*/ 84 w 145"/>
                <a:gd name="T17" fmla="*/ 161 h 161"/>
                <a:gd name="T18" fmla="*/ 62 w 145"/>
                <a:gd name="T19" fmla="*/ 161 h 161"/>
                <a:gd name="T20" fmla="*/ 0 w 145"/>
                <a:gd name="T21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5" h="161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62" y="104"/>
                    <a:pt x="67" y="118"/>
                    <a:pt x="73" y="133"/>
                  </a:cubicBezTo>
                  <a:cubicBezTo>
                    <a:pt x="73" y="133"/>
                    <a:pt x="73" y="133"/>
                    <a:pt x="73" y="133"/>
                  </a:cubicBezTo>
                  <a:cubicBezTo>
                    <a:pt x="79" y="118"/>
                    <a:pt x="84" y="104"/>
                    <a:pt x="89" y="9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84" y="161"/>
                    <a:pt x="84" y="161"/>
                    <a:pt x="84" y="161"/>
                  </a:cubicBezTo>
                  <a:cubicBezTo>
                    <a:pt x="62" y="161"/>
                    <a:pt x="62" y="161"/>
                    <a:pt x="62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" name="Freeform 9">
              <a:extLst>
                <a:ext uri="{FF2B5EF4-FFF2-40B4-BE49-F238E27FC236}">
                  <a16:creationId xmlns:a16="http://schemas.microsoft.com/office/drawing/2014/main" id="{A4B0150F-461F-4C57-953C-2A11598913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60009" y="6115872"/>
              <a:ext cx="66654" cy="113253"/>
            </a:xfrm>
            <a:custGeom>
              <a:avLst/>
              <a:gdLst>
                <a:gd name="T0" fmla="*/ 0 w 226"/>
                <a:gd name="T1" fmla="*/ 0 h 384"/>
                <a:gd name="T2" fmla="*/ 221 w 226"/>
                <a:gd name="T3" fmla="*/ 0 h 384"/>
                <a:gd name="T4" fmla="*/ 221 w 226"/>
                <a:gd name="T5" fmla="*/ 45 h 384"/>
                <a:gd name="T6" fmla="*/ 50 w 226"/>
                <a:gd name="T7" fmla="*/ 45 h 384"/>
                <a:gd name="T8" fmla="*/ 50 w 226"/>
                <a:gd name="T9" fmla="*/ 162 h 384"/>
                <a:gd name="T10" fmla="*/ 199 w 226"/>
                <a:gd name="T11" fmla="*/ 162 h 384"/>
                <a:gd name="T12" fmla="*/ 199 w 226"/>
                <a:gd name="T13" fmla="*/ 207 h 384"/>
                <a:gd name="T14" fmla="*/ 50 w 226"/>
                <a:gd name="T15" fmla="*/ 207 h 384"/>
                <a:gd name="T16" fmla="*/ 50 w 226"/>
                <a:gd name="T17" fmla="*/ 338 h 384"/>
                <a:gd name="T18" fmla="*/ 226 w 226"/>
                <a:gd name="T19" fmla="*/ 338 h 384"/>
                <a:gd name="T20" fmla="*/ 226 w 226"/>
                <a:gd name="T21" fmla="*/ 384 h 384"/>
                <a:gd name="T22" fmla="*/ 0 w 226"/>
                <a:gd name="T23" fmla="*/ 384 h 384"/>
                <a:gd name="T24" fmla="*/ 0 w 226"/>
                <a:gd name="T25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" h="384">
                  <a:moveTo>
                    <a:pt x="0" y="0"/>
                  </a:moveTo>
                  <a:lnTo>
                    <a:pt x="221" y="0"/>
                  </a:lnTo>
                  <a:lnTo>
                    <a:pt x="221" y="45"/>
                  </a:lnTo>
                  <a:lnTo>
                    <a:pt x="50" y="45"/>
                  </a:lnTo>
                  <a:lnTo>
                    <a:pt x="50" y="162"/>
                  </a:lnTo>
                  <a:lnTo>
                    <a:pt x="199" y="162"/>
                  </a:lnTo>
                  <a:lnTo>
                    <a:pt x="199" y="207"/>
                  </a:lnTo>
                  <a:lnTo>
                    <a:pt x="50" y="207"/>
                  </a:lnTo>
                  <a:lnTo>
                    <a:pt x="50" y="338"/>
                  </a:lnTo>
                  <a:lnTo>
                    <a:pt x="226" y="338"/>
                  </a:lnTo>
                  <a:lnTo>
                    <a:pt x="226" y="384"/>
                  </a:lnTo>
                  <a:lnTo>
                    <a:pt x="0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" name="Freeform 10">
              <a:extLst>
                <a:ext uri="{FF2B5EF4-FFF2-40B4-BE49-F238E27FC236}">
                  <a16:creationId xmlns:a16="http://schemas.microsoft.com/office/drawing/2014/main" id="{ABC4F550-0B0F-46F4-9CDB-53266CEC69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50257" y="6114397"/>
              <a:ext cx="74322" cy="116792"/>
            </a:xfrm>
            <a:custGeom>
              <a:avLst/>
              <a:gdLst>
                <a:gd name="T0" fmla="*/ 4 w 106"/>
                <a:gd name="T1" fmla="*/ 130 h 166"/>
                <a:gd name="T2" fmla="*/ 52 w 106"/>
                <a:gd name="T3" fmla="*/ 146 h 166"/>
                <a:gd name="T4" fmla="*/ 85 w 106"/>
                <a:gd name="T5" fmla="*/ 120 h 166"/>
                <a:gd name="T6" fmla="*/ 45 w 106"/>
                <a:gd name="T7" fmla="*/ 90 h 166"/>
                <a:gd name="T8" fmla="*/ 0 w 106"/>
                <a:gd name="T9" fmla="*/ 45 h 166"/>
                <a:gd name="T10" fmla="*/ 52 w 106"/>
                <a:gd name="T11" fmla="*/ 0 h 166"/>
                <a:gd name="T12" fmla="*/ 99 w 106"/>
                <a:gd name="T13" fmla="*/ 12 h 166"/>
                <a:gd name="T14" fmla="*/ 99 w 106"/>
                <a:gd name="T15" fmla="*/ 34 h 166"/>
                <a:gd name="T16" fmla="*/ 52 w 106"/>
                <a:gd name="T17" fmla="*/ 19 h 166"/>
                <a:gd name="T18" fmla="*/ 21 w 106"/>
                <a:gd name="T19" fmla="*/ 43 h 166"/>
                <a:gd name="T20" fmla="*/ 59 w 106"/>
                <a:gd name="T21" fmla="*/ 72 h 166"/>
                <a:gd name="T22" fmla="*/ 106 w 106"/>
                <a:gd name="T23" fmla="*/ 119 h 166"/>
                <a:gd name="T24" fmla="*/ 52 w 106"/>
                <a:gd name="T25" fmla="*/ 166 h 166"/>
                <a:gd name="T26" fmla="*/ 4 w 106"/>
                <a:gd name="T27" fmla="*/ 153 h 166"/>
                <a:gd name="T28" fmla="*/ 4 w 106"/>
                <a:gd name="T29" fmla="*/ 13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6" h="166">
                  <a:moveTo>
                    <a:pt x="4" y="130"/>
                  </a:moveTo>
                  <a:cubicBezTo>
                    <a:pt x="19" y="141"/>
                    <a:pt x="38" y="146"/>
                    <a:pt x="52" y="146"/>
                  </a:cubicBezTo>
                  <a:cubicBezTo>
                    <a:pt x="71" y="146"/>
                    <a:pt x="85" y="138"/>
                    <a:pt x="85" y="120"/>
                  </a:cubicBezTo>
                  <a:cubicBezTo>
                    <a:pt x="85" y="99"/>
                    <a:pt x="66" y="96"/>
                    <a:pt x="45" y="90"/>
                  </a:cubicBezTo>
                  <a:cubicBezTo>
                    <a:pt x="22" y="83"/>
                    <a:pt x="0" y="74"/>
                    <a:pt x="0" y="45"/>
                  </a:cubicBezTo>
                  <a:cubicBezTo>
                    <a:pt x="0" y="16"/>
                    <a:pt x="21" y="0"/>
                    <a:pt x="52" y="0"/>
                  </a:cubicBezTo>
                  <a:cubicBezTo>
                    <a:pt x="67" y="0"/>
                    <a:pt x="86" y="4"/>
                    <a:pt x="99" y="12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84" y="24"/>
                    <a:pt x="66" y="19"/>
                    <a:pt x="52" y="19"/>
                  </a:cubicBezTo>
                  <a:cubicBezTo>
                    <a:pt x="34" y="19"/>
                    <a:pt x="21" y="27"/>
                    <a:pt x="21" y="43"/>
                  </a:cubicBezTo>
                  <a:cubicBezTo>
                    <a:pt x="21" y="63"/>
                    <a:pt x="40" y="67"/>
                    <a:pt x="59" y="72"/>
                  </a:cubicBezTo>
                  <a:cubicBezTo>
                    <a:pt x="83" y="79"/>
                    <a:pt x="106" y="88"/>
                    <a:pt x="106" y="119"/>
                  </a:cubicBezTo>
                  <a:cubicBezTo>
                    <a:pt x="106" y="148"/>
                    <a:pt x="84" y="166"/>
                    <a:pt x="52" y="166"/>
                  </a:cubicBezTo>
                  <a:cubicBezTo>
                    <a:pt x="37" y="166"/>
                    <a:pt x="18" y="161"/>
                    <a:pt x="4" y="153"/>
                  </a:cubicBezTo>
                  <a:lnTo>
                    <a:pt x="4" y="13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" name="Freeform 11">
              <a:extLst>
                <a:ext uri="{FF2B5EF4-FFF2-40B4-BE49-F238E27FC236}">
                  <a16:creationId xmlns:a16="http://schemas.microsoft.com/office/drawing/2014/main" id="{D4D51628-17C0-4828-A2D1-271E4328AB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35786" y="6115872"/>
              <a:ext cx="90248" cy="113253"/>
            </a:xfrm>
            <a:custGeom>
              <a:avLst/>
              <a:gdLst>
                <a:gd name="T0" fmla="*/ 128 w 306"/>
                <a:gd name="T1" fmla="*/ 45 h 384"/>
                <a:gd name="T2" fmla="*/ 0 w 306"/>
                <a:gd name="T3" fmla="*/ 45 h 384"/>
                <a:gd name="T4" fmla="*/ 0 w 306"/>
                <a:gd name="T5" fmla="*/ 0 h 384"/>
                <a:gd name="T6" fmla="*/ 306 w 306"/>
                <a:gd name="T7" fmla="*/ 0 h 384"/>
                <a:gd name="T8" fmla="*/ 306 w 306"/>
                <a:gd name="T9" fmla="*/ 45 h 384"/>
                <a:gd name="T10" fmla="*/ 178 w 306"/>
                <a:gd name="T11" fmla="*/ 45 h 384"/>
                <a:gd name="T12" fmla="*/ 178 w 306"/>
                <a:gd name="T13" fmla="*/ 384 h 384"/>
                <a:gd name="T14" fmla="*/ 128 w 306"/>
                <a:gd name="T15" fmla="*/ 384 h 384"/>
                <a:gd name="T16" fmla="*/ 128 w 306"/>
                <a:gd name="T17" fmla="*/ 45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6" h="384">
                  <a:moveTo>
                    <a:pt x="128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306" y="0"/>
                  </a:lnTo>
                  <a:lnTo>
                    <a:pt x="306" y="45"/>
                  </a:lnTo>
                  <a:lnTo>
                    <a:pt x="178" y="45"/>
                  </a:lnTo>
                  <a:lnTo>
                    <a:pt x="178" y="384"/>
                  </a:lnTo>
                  <a:lnTo>
                    <a:pt x="128" y="384"/>
                  </a:lnTo>
                  <a:lnTo>
                    <a:pt x="128" y="4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" name="Freeform 12">
              <a:extLst>
                <a:ext uri="{FF2B5EF4-FFF2-40B4-BE49-F238E27FC236}">
                  <a16:creationId xmlns:a16="http://schemas.microsoft.com/office/drawing/2014/main" id="{F69032A7-22BC-4758-91C4-F952E59B21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4066" y="6270414"/>
              <a:ext cx="153953" cy="113253"/>
            </a:xfrm>
            <a:custGeom>
              <a:avLst/>
              <a:gdLst>
                <a:gd name="T0" fmla="*/ 0 w 220"/>
                <a:gd name="T1" fmla="*/ 0 h 161"/>
                <a:gd name="T2" fmla="*/ 22 w 220"/>
                <a:gd name="T3" fmla="*/ 0 h 161"/>
                <a:gd name="T4" fmla="*/ 49 w 220"/>
                <a:gd name="T5" fmla="*/ 87 h 161"/>
                <a:gd name="T6" fmla="*/ 62 w 220"/>
                <a:gd name="T7" fmla="*/ 129 h 161"/>
                <a:gd name="T8" fmla="*/ 62 w 220"/>
                <a:gd name="T9" fmla="*/ 129 h 161"/>
                <a:gd name="T10" fmla="*/ 75 w 220"/>
                <a:gd name="T11" fmla="*/ 87 h 161"/>
                <a:gd name="T12" fmla="*/ 103 w 220"/>
                <a:gd name="T13" fmla="*/ 0 h 161"/>
                <a:gd name="T14" fmla="*/ 118 w 220"/>
                <a:gd name="T15" fmla="*/ 0 h 161"/>
                <a:gd name="T16" fmla="*/ 145 w 220"/>
                <a:gd name="T17" fmla="*/ 87 h 161"/>
                <a:gd name="T18" fmla="*/ 158 w 220"/>
                <a:gd name="T19" fmla="*/ 129 h 161"/>
                <a:gd name="T20" fmla="*/ 159 w 220"/>
                <a:gd name="T21" fmla="*/ 129 h 161"/>
                <a:gd name="T22" fmla="*/ 171 w 220"/>
                <a:gd name="T23" fmla="*/ 87 h 161"/>
                <a:gd name="T24" fmla="*/ 198 w 220"/>
                <a:gd name="T25" fmla="*/ 0 h 161"/>
                <a:gd name="T26" fmla="*/ 220 w 220"/>
                <a:gd name="T27" fmla="*/ 0 h 161"/>
                <a:gd name="T28" fmla="*/ 170 w 220"/>
                <a:gd name="T29" fmla="*/ 161 h 161"/>
                <a:gd name="T30" fmla="*/ 147 w 220"/>
                <a:gd name="T31" fmla="*/ 161 h 161"/>
                <a:gd name="T32" fmla="*/ 121 w 220"/>
                <a:gd name="T33" fmla="*/ 79 h 161"/>
                <a:gd name="T34" fmla="*/ 110 w 220"/>
                <a:gd name="T35" fmla="*/ 42 h 161"/>
                <a:gd name="T36" fmla="*/ 110 w 220"/>
                <a:gd name="T37" fmla="*/ 42 h 161"/>
                <a:gd name="T38" fmla="*/ 98 w 220"/>
                <a:gd name="T39" fmla="*/ 79 h 161"/>
                <a:gd name="T40" fmla="*/ 73 w 220"/>
                <a:gd name="T41" fmla="*/ 161 h 161"/>
                <a:gd name="T42" fmla="*/ 50 w 220"/>
                <a:gd name="T43" fmla="*/ 161 h 161"/>
                <a:gd name="T44" fmla="*/ 0 w 220"/>
                <a:gd name="T45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0" h="161">
                  <a:moveTo>
                    <a:pt x="0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54" y="101"/>
                    <a:pt x="58" y="115"/>
                    <a:pt x="62" y="129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66" y="115"/>
                    <a:pt x="71" y="101"/>
                    <a:pt x="75" y="87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45" y="87"/>
                    <a:pt x="145" y="87"/>
                    <a:pt x="145" y="87"/>
                  </a:cubicBezTo>
                  <a:cubicBezTo>
                    <a:pt x="150" y="101"/>
                    <a:pt x="154" y="115"/>
                    <a:pt x="158" y="129"/>
                  </a:cubicBezTo>
                  <a:cubicBezTo>
                    <a:pt x="159" y="129"/>
                    <a:pt x="159" y="129"/>
                    <a:pt x="159" y="129"/>
                  </a:cubicBezTo>
                  <a:cubicBezTo>
                    <a:pt x="163" y="115"/>
                    <a:pt x="167" y="101"/>
                    <a:pt x="171" y="87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170" y="161"/>
                    <a:pt x="170" y="161"/>
                    <a:pt x="170" y="161"/>
                  </a:cubicBezTo>
                  <a:cubicBezTo>
                    <a:pt x="147" y="161"/>
                    <a:pt x="147" y="161"/>
                    <a:pt x="147" y="161"/>
                  </a:cubicBezTo>
                  <a:cubicBezTo>
                    <a:pt x="121" y="79"/>
                    <a:pt x="121" y="79"/>
                    <a:pt x="121" y="79"/>
                  </a:cubicBezTo>
                  <a:cubicBezTo>
                    <a:pt x="117" y="66"/>
                    <a:pt x="114" y="54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06" y="54"/>
                    <a:pt x="102" y="67"/>
                    <a:pt x="98" y="79"/>
                  </a:cubicBezTo>
                  <a:cubicBezTo>
                    <a:pt x="73" y="161"/>
                    <a:pt x="73" y="161"/>
                    <a:pt x="73" y="161"/>
                  </a:cubicBezTo>
                  <a:cubicBezTo>
                    <a:pt x="50" y="161"/>
                    <a:pt x="50" y="161"/>
                    <a:pt x="50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" name="Freeform 13">
              <a:extLst>
                <a:ext uri="{FF2B5EF4-FFF2-40B4-BE49-F238E27FC236}">
                  <a16:creationId xmlns:a16="http://schemas.microsoft.com/office/drawing/2014/main" id="{9703A661-DF9D-46EB-9410-1F7A083F338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490111" y="6268940"/>
              <a:ext cx="114727" cy="115907"/>
            </a:xfrm>
            <a:custGeom>
              <a:avLst/>
              <a:gdLst>
                <a:gd name="T0" fmla="*/ 82 w 164"/>
                <a:gd name="T1" fmla="*/ 0 h 165"/>
                <a:gd name="T2" fmla="*/ 164 w 164"/>
                <a:gd name="T3" fmla="*/ 82 h 165"/>
                <a:gd name="T4" fmla="*/ 82 w 164"/>
                <a:gd name="T5" fmla="*/ 165 h 165"/>
                <a:gd name="T6" fmla="*/ 0 w 164"/>
                <a:gd name="T7" fmla="*/ 82 h 165"/>
                <a:gd name="T8" fmla="*/ 82 w 164"/>
                <a:gd name="T9" fmla="*/ 0 h 165"/>
                <a:gd name="T10" fmla="*/ 82 w 164"/>
                <a:gd name="T11" fmla="*/ 146 h 165"/>
                <a:gd name="T12" fmla="*/ 143 w 164"/>
                <a:gd name="T13" fmla="*/ 82 h 165"/>
                <a:gd name="T14" fmla="*/ 82 w 164"/>
                <a:gd name="T15" fmla="*/ 19 h 165"/>
                <a:gd name="T16" fmla="*/ 22 w 164"/>
                <a:gd name="T17" fmla="*/ 82 h 165"/>
                <a:gd name="T18" fmla="*/ 82 w 164"/>
                <a:gd name="T19" fmla="*/ 146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5">
                  <a:moveTo>
                    <a:pt x="82" y="0"/>
                  </a:moveTo>
                  <a:cubicBezTo>
                    <a:pt x="129" y="0"/>
                    <a:pt x="164" y="36"/>
                    <a:pt x="164" y="82"/>
                  </a:cubicBezTo>
                  <a:cubicBezTo>
                    <a:pt x="164" y="129"/>
                    <a:pt x="129" y="165"/>
                    <a:pt x="82" y="165"/>
                  </a:cubicBezTo>
                  <a:cubicBezTo>
                    <a:pt x="36" y="165"/>
                    <a:pt x="0" y="129"/>
                    <a:pt x="0" y="82"/>
                  </a:cubicBezTo>
                  <a:cubicBezTo>
                    <a:pt x="0" y="36"/>
                    <a:pt x="36" y="0"/>
                    <a:pt x="82" y="0"/>
                  </a:cubicBezTo>
                  <a:close/>
                  <a:moveTo>
                    <a:pt x="82" y="146"/>
                  </a:moveTo>
                  <a:cubicBezTo>
                    <a:pt x="117" y="146"/>
                    <a:pt x="143" y="118"/>
                    <a:pt x="143" y="82"/>
                  </a:cubicBezTo>
                  <a:cubicBezTo>
                    <a:pt x="143" y="47"/>
                    <a:pt x="117" y="19"/>
                    <a:pt x="82" y="19"/>
                  </a:cubicBezTo>
                  <a:cubicBezTo>
                    <a:pt x="47" y="19"/>
                    <a:pt x="22" y="47"/>
                    <a:pt x="22" y="82"/>
                  </a:cubicBezTo>
                  <a:cubicBezTo>
                    <a:pt x="22" y="118"/>
                    <a:pt x="47" y="146"/>
                    <a:pt x="82" y="14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" name="Freeform 14">
              <a:extLst>
                <a:ext uri="{FF2B5EF4-FFF2-40B4-BE49-F238E27FC236}">
                  <a16:creationId xmlns:a16="http://schemas.microsoft.com/office/drawing/2014/main" id="{7E5E2063-914E-4654-B51A-C27F6846F0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631382" y="6270414"/>
              <a:ext cx="86119" cy="113253"/>
            </a:xfrm>
            <a:custGeom>
              <a:avLst/>
              <a:gdLst>
                <a:gd name="T0" fmla="*/ 0 w 123"/>
                <a:gd name="T1" fmla="*/ 0 h 161"/>
                <a:gd name="T2" fmla="*/ 43 w 123"/>
                <a:gd name="T3" fmla="*/ 0 h 161"/>
                <a:gd name="T4" fmla="*/ 88 w 123"/>
                <a:gd name="T5" fmla="*/ 8 h 161"/>
                <a:gd name="T6" fmla="*/ 111 w 123"/>
                <a:gd name="T7" fmla="*/ 46 h 161"/>
                <a:gd name="T8" fmla="*/ 90 w 123"/>
                <a:gd name="T9" fmla="*/ 83 h 161"/>
                <a:gd name="T10" fmla="*/ 71 w 123"/>
                <a:gd name="T11" fmla="*/ 90 h 161"/>
                <a:gd name="T12" fmla="*/ 123 w 123"/>
                <a:gd name="T13" fmla="*/ 161 h 161"/>
                <a:gd name="T14" fmla="*/ 97 w 123"/>
                <a:gd name="T15" fmla="*/ 161 h 161"/>
                <a:gd name="T16" fmla="*/ 48 w 123"/>
                <a:gd name="T17" fmla="*/ 92 h 161"/>
                <a:gd name="T18" fmla="*/ 21 w 123"/>
                <a:gd name="T19" fmla="*/ 92 h 161"/>
                <a:gd name="T20" fmla="*/ 21 w 123"/>
                <a:gd name="T21" fmla="*/ 161 h 161"/>
                <a:gd name="T22" fmla="*/ 0 w 123"/>
                <a:gd name="T23" fmla="*/ 161 h 161"/>
                <a:gd name="T24" fmla="*/ 0 w 123"/>
                <a:gd name="T25" fmla="*/ 0 h 161"/>
                <a:gd name="T26" fmla="*/ 48 w 123"/>
                <a:gd name="T27" fmla="*/ 75 h 161"/>
                <a:gd name="T28" fmla="*/ 80 w 123"/>
                <a:gd name="T29" fmla="*/ 67 h 161"/>
                <a:gd name="T30" fmla="*/ 89 w 123"/>
                <a:gd name="T31" fmla="*/ 47 h 161"/>
                <a:gd name="T32" fmla="*/ 76 w 123"/>
                <a:gd name="T33" fmla="*/ 25 h 161"/>
                <a:gd name="T34" fmla="*/ 42 w 123"/>
                <a:gd name="T35" fmla="*/ 19 h 161"/>
                <a:gd name="T36" fmla="*/ 21 w 123"/>
                <a:gd name="T37" fmla="*/ 19 h 161"/>
                <a:gd name="T38" fmla="*/ 21 w 123"/>
                <a:gd name="T39" fmla="*/ 75 h 161"/>
                <a:gd name="T40" fmla="*/ 48 w 123"/>
                <a:gd name="T41" fmla="*/ 75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3" h="161">
                  <a:moveTo>
                    <a:pt x="0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60" y="0"/>
                    <a:pt x="75" y="1"/>
                    <a:pt x="88" y="8"/>
                  </a:cubicBezTo>
                  <a:cubicBezTo>
                    <a:pt x="102" y="15"/>
                    <a:pt x="111" y="28"/>
                    <a:pt x="111" y="46"/>
                  </a:cubicBezTo>
                  <a:cubicBezTo>
                    <a:pt x="111" y="63"/>
                    <a:pt x="102" y="76"/>
                    <a:pt x="90" y="83"/>
                  </a:cubicBezTo>
                  <a:cubicBezTo>
                    <a:pt x="84" y="87"/>
                    <a:pt x="78" y="89"/>
                    <a:pt x="71" y="90"/>
                  </a:cubicBezTo>
                  <a:cubicBezTo>
                    <a:pt x="123" y="161"/>
                    <a:pt x="123" y="161"/>
                    <a:pt x="123" y="161"/>
                  </a:cubicBezTo>
                  <a:cubicBezTo>
                    <a:pt x="97" y="161"/>
                    <a:pt x="97" y="161"/>
                    <a:pt x="97" y="161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0" y="161"/>
                    <a:pt x="0" y="161"/>
                    <a:pt x="0" y="161"/>
                  </a:cubicBezTo>
                  <a:lnTo>
                    <a:pt x="0" y="0"/>
                  </a:lnTo>
                  <a:close/>
                  <a:moveTo>
                    <a:pt x="48" y="75"/>
                  </a:moveTo>
                  <a:cubicBezTo>
                    <a:pt x="63" y="75"/>
                    <a:pt x="73" y="73"/>
                    <a:pt x="80" y="67"/>
                  </a:cubicBezTo>
                  <a:cubicBezTo>
                    <a:pt x="86" y="63"/>
                    <a:pt x="89" y="56"/>
                    <a:pt x="89" y="47"/>
                  </a:cubicBezTo>
                  <a:cubicBezTo>
                    <a:pt x="89" y="37"/>
                    <a:pt x="85" y="29"/>
                    <a:pt x="76" y="25"/>
                  </a:cubicBezTo>
                  <a:cubicBezTo>
                    <a:pt x="68" y="20"/>
                    <a:pt x="57" y="19"/>
                    <a:pt x="42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75"/>
                    <a:pt x="21" y="75"/>
                    <a:pt x="21" y="75"/>
                  </a:cubicBezTo>
                  <a:lnTo>
                    <a:pt x="48" y="7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" name="Freeform 15">
              <a:extLst>
                <a:ext uri="{FF2B5EF4-FFF2-40B4-BE49-F238E27FC236}">
                  <a16:creationId xmlns:a16="http://schemas.microsoft.com/office/drawing/2014/main" id="{096ABFB1-000D-4EF9-AF51-C838608FED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44929" y="6270414"/>
              <a:ext cx="86709" cy="113253"/>
            </a:xfrm>
            <a:custGeom>
              <a:avLst/>
              <a:gdLst>
                <a:gd name="T0" fmla="*/ 0 w 294"/>
                <a:gd name="T1" fmla="*/ 0 h 384"/>
                <a:gd name="T2" fmla="*/ 49 w 294"/>
                <a:gd name="T3" fmla="*/ 0 h 384"/>
                <a:gd name="T4" fmla="*/ 49 w 294"/>
                <a:gd name="T5" fmla="*/ 174 h 384"/>
                <a:gd name="T6" fmla="*/ 49 w 294"/>
                <a:gd name="T7" fmla="*/ 174 h 384"/>
                <a:gd name="T8" fmla="*/ 216 w 294"/>
                <a:gd name="T9" fmla="*/ 0 h 384"/>
                <a:gd name="T10" fmla="*/ 280 w 294"/>
                <a:gd name="T11" fmla="*/ 0 h 384"/>
                <a:gd name="T12" fmla="*/ 106 w 294"/>
                <a:gd name="T13" fmla="*/ 179 h 384"/>
                <a:gd name="T14" fmla="*/ 294 w 294"/>
                <a:gd name="T15" fmla="*/ 384 h 384"/>
                <a:gd name="T16" fmla="*/ 227 w 294"/>
                <a:gd name="T17" fmla="*/ 384 h 384"/>
                <a:gd name="T18" fmla="*/ 49 w 294"/>
                <a:gd name="T19" fmla="*/ 186 h 384"/>
                <a:gd name="T20" fmla="*/ 49 w 294"/>
                <a:gd name="T21" fmla="*/ 186 h 384"/>
                <a:gd name="T22" fmla="*/ 49 w 294"/>
                <a:gd name="T23" fmla="*/ 384 h 384"/>
                <a:gd name="T24" fmla="*/ 0 w 294"/>
                <a:gd name="T25" fmla="*/ 384 h 384"/>
                <a:gd name="T26" fmla="*/ 0 w 294"/>
                <a:gd name="T27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384">
                  <a:moveTo>
                    <a:pt x="0" y="0"/>
                  </a:moveTo>
                  <a:lnTo>
                    <a:pt x="49" y="0"/>
                  </a:lnTo>
                  <a:lnTo>
                    <a:pt x="49" y="174"/>
                  </a:lnTo>
                  <a:lnTo>
                    <a:pt x="49" y="174"/>
                  </a:lnTo>
                  <a:lnTo>
                    <a:pt x="216" y="0"/>
                  </a:lnTo>
                  <a:lnTo>
                    <a:pt x="280" y="0"/>
                  </a:lnTo>
                  <a:lnTo>
                    <a:pt x="106" y="179"/>
                  </a:lnTo>
                  <a:lnTo>
                    <a:pt x="294" y="384"/>
                  </a:lnTo>
                  <a:lnTo>
                    <a:pt x="227" y="384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384"/>
                  </a:lnTo>
                  <a:lnTo>
                    <a:pt x="0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" name="Freeform 16">
              <a:extLst>
                <a:ext uri="{FF2B5EF4-FFF2-40B4-BE49-F238E27FC236}">
                  <a16:creationId xmlns:a16="http://schemas.microsoft.com/office/drawing/2014/main" id="{EAEBC4A3-2171-4610-B11B-E1763D8C65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67106" y="6424367"/>
              <a:ext cx="66359" cy="112958"/>
            </a:xfrm>
            <a:custGeom>
              <a:avLst/>
              <a:gdLst>
                <a:gd name="T0" fmla="*/ 0 w 225"/>
                <a:gd name="T1" fmla="*/ 0 h 383"/>
                <a:gd name="T2" fmla="*/ 225 w 225"/>
                <a:gd name="T3" fmla="*/ 0 h 383"/>
                <a:gd name="T4" fmla="*/ 225 w 225"/>
                <a:gd name="T5" fmla="*/ 45 h 383"/>
                <a:gd name="T6" fmla="*/ 49 w 225"/>
                <a:gd name="T7" fmla="*/ 45 h 383"/>
                <a:gd name="T8" fmla="*/ 49 w 225"/>
                <a:gd name="T9" fmla="*/ 169 h 383"/>
                <a:gd name="T10" fmla="*/ 204 w 225"/>
                <a:gd name="T11" fmla="*/ 169 h 383"/>
                <a:gd name="T12" fmla="*/ 204 w 225"/>
                <a:gd name="T13" fmla="*/ 214 h 383"/>
                <a:gd name="T14" fmla="*/ 49 w 225"/>
                <a:gd name="T15" fmla="*/ 214 h 383"/>
                <a:gd name="T16" fmla="*/ 49 w 225"/>
                <a:gd name="T17" fmla="*/ 383 h 383"/>
                <a:gd name="T18" fmla="*/ 0 w 225"/>
                <a:gd name="T19" fmla="*/ 383 h 383"/>
                <a:gd name="T20" fmla="*/ 0 w 225"/>
                <a:gd name="T21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5" h="383">
                  <a:moveTo>
                    <a:pt x="0" y="0"/>
                  </a:moveTo>
                  <a:lnTo>
                    <a:pt x="225" y="0"/>
                  </a:lnTo>
                  <a:lnTo>
                    <a:pt x="225" y="45"/>
                  </a:lnTo>
                  <a:lnTo>
                    <a:pt x="49" y="45"/>
                  </a:lnTo>
                  <a:lnTo>
                    <a:pt x="49" y="169"/>
                  </a:lnTo>
                  <a:lnTo>
                    <a:pt x="204" y="169"/>
                  </a:lnTo>
                  <a:lnTo>
                    <a:pt x="204" y="214"/>
                  </a:lnTo>
                  <a:lnTo>
                    <a:pt x="49" y="214"/>
                  </a:lnTo>
                  <a:lnTo>
                    <a:pt x="49" y="383"/>
                  </a:lnTo>
                  <a:lnTo>
                    <a:pt x="0" y="3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" name="Rectangle 17">
              <a:extLst>
                <a:ext uri="{FF2B5EF4-FFF2-40B4-BE49-F238E27FC236}">
                  <a16:creationId xmlns:a16="http://schemas.microsoft.com/office/drawing/2014/main" id="{AF0A0B90-7573-463E-9D9D-4BC4FC21780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565023" y="6424367"/>
              <a:ext cx="14746" cy="11295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" name="Freeform 18">
              <a:extLst>
                <a:ext uri="{FF2B5EF4-FFF2-40B4-BE49-F238E27FC236}">
                  <a16:creationId xmlns:a16="http://schemas.microsoft.com/office/drawing/2014/main" id="{39187812-ABFF-41D4-B84E-ED321FD2CD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15455" y="6424367"/>
              <a:ext cx="67834" cy="112958"/>
            </a:xfrm>
            <a:custGeom>
              <a:avLst/>
              <a:gdLst>
                <a:gd name="T0" fmla="*/ 0 w 230"/>
                <a:gd name="T1" fmla="*/ 0 h 383"/>
                <a:gd name="T2" fmla="*/ 49 w 230"/>
                <a:gd name="T3" fmla="*/ 0 h 383"/>
                <a:gd name="T4" fmla="*/ 49 w 230"/>
                <a:gd name="T5" fmla="*/ 338 h 383"/>
                <a:gd name="T6" fmla="*/ 230 w 230"/>
                <a:gd name="T7" fmla="*/ 338 h 383"/>
                <a:gd name="T8" fmla="*/ 230 w 230"/>
                <a:gd name="T9" fmla="*/ 383 h 383"/>
                <a:gd name="T10" fmla="*/ 0 w 230"/>
                <a:gd name="T11" fmla="*/ 383 h 383"/>
                <a:gd name="T12" fmla="*/ 0 w 230"/>
                <a:gd name="T13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0" h="383">
                  <a:moveTo>
                    <a:pt x="0" y="0"/>
                  </a:moveTo>
                  <a:lnTo>
                    <a:pt x="49" y="0"/>
                  </a:lnTo>
                  <a:lnTo>
                    <a:pt x="49" y="338"/>
                  </a:lnTo>
                  <a:lnTo>
                    <a:pt x="230" y="338"/>
                  </a:lnTo>
                  <a:lnTo>
                    <a:pt x="230" y="383"/>
                  </a:lnTo>
                  <a:lnTo>
                    <a:pt x="0" y="3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" name="Freeform 19">
              <a:extLst>
                <a:ext uri="{FF2B5EF4-FFF2-40B4-BE49-F238E27FC236}">
                  <a16:creationId xmlns:a16="http://schemas.microsoft.com/office/drawing/2014/main" id="{D065D3F7-EF7C-4441-AB78-2337EB2357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08358" y="6424367"/>
              <a:ext cx="108534" cy="112958"/>
            </a:xfrm>
            <a:custGeom>
              <a:avLst/>
              <a:gdLst>
                <a:gd name="T0" fmla="*/ 42 w 155"/>
                <a:gd name="T1" fmla="*/ 67 h 161"/>
                <a:gd name="T2" fmla="*/ 20 w 155"/>
                <a:gd name="T3" fmla="*/ 35 h 161"/>
                <a:gd name="T4" fmla="*/ 20 w 155"/>
                <a:gd name="T5" fmla="*/ 36 h 161"/>
                <a:gd name="T6" fmla="*/ 20 w 155"/>
                <a:gd name="T7" fmla="*/ 71 h 161"/>
                <a:gd name="T8" fmla="*/ 20 w 155"/>
                <a:gd name="T9" fmla="*/ 161 h 161"/>
                <a:gd name="T10" fmla="*/ 0 w 155"/>
                <a:gd name="T11" fmla="*/ 161 h 161"/>
                <a:gd name="T12" fmla="*/ 0 w 155"/>
                <a:gd name="T13" fmla="*/ 0 h 161"/>
                <a:gd name="T14" fmla="*/ 20 w 155"/>
                <a:gd name="T15" fmla="*/ 0 h 161"/>
                <a:gd name="T16" fmla="*/ 78 w 155"/>
                <a:gd name="T17" fmla="*/ 82 h 161"/>
                <a:gd name="T18" fmla="*/ 135 w 155"/>
                <a:gd name="T19" fmla="*/ 0 h 161"/>
                <a:gd name="T20" fmla="*/ 155 w 155"/>
                <a:gd name="T21" fmla="*/ 0 h 161"/>
                <a:gd name="T22" fmla="*/ 155 w 155"/>
                <a:gd name="T23" fmla="*/ 161 h 161"/>
                <a:gd name="T24" fmla="*/ 134 w 155"/>
                <a:gd name="T25" fmla="*/ 161 h 161"/>
                <a:gd name="T26" fmla="*/ 134 w 155"/>
                <a:gd name="T27" fmla="*/ 71 h 161"/>
                <a:gd name="T28" fmla="*/ 134 w 155"/>
                <a:gd name="T29" fmla="*/ 36 h 161"/>
                <a:gd name="T30" fmla="*/ 134 w 155"/>
                <a:gd name="T31" fmla="*/ 35 h 161"/>
                <a:gd name="T32" fmla="*/ 112 w 155"/>
                <a:gd name="T33" fmla="*/ 67 h 161"/>
                <a:gd name="T34" fmla="*/ 77 w 155"/>
                <a:gd name="T35" fmla="*/ 117 h 161"/>
                <a:gd name="T36" fmla="*/ 42 w 155"/>
                <a:gd name="T37" fmla="*/ 6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61">
                  <a:moveTo>
                    <a:pt x="42" y="67"/>
                  </a:moveTo>
                  <a:cubicBezTo>
                    <a:pt x="35" y="57"/>
                    <a:pt x="28" y="46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45"/>
                    <a:pt x="20" y="57"/>
                    <a:pt x="20" y="71"/>
                  </a:cubicBezTo>
                  <a:cubicBezTo>
                    <a:pt x="20" y="161"/>
                    <a:pt x="20" y="161"/>
                    <a:pt x="2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5" y="161"/>
                    <a:pt x="155" y="161"/>
                    <a:pt x="155" y="161"/>
                  </a:cubicBezTo>
                  <a:cubicBezTo>
                    <a:pt x="134" y="161"/>
                    <a:pt x="134" y="161"/>
                    <a:pt x="134" y="161"/>
                  </a:cubicBezTo>
                  <a:cubicBezTo>
                    <a:pt x="134" y="71"/>
                    <a:pt x="134" y="71"/>
                    <a:pt x="134" y="71"/>
                  </a:cubicBezTo>
                  <a:cubicBezTo>
                    <a:pt x="134" y="57"/>
                    <a:pt x="134" y="45"/>
                    <a:pt x="134" y="36"/>
                  </a:cubicBezTo>
                  <a:cubicBezTo>
                    <a:pt x="134" y="35"/>
                    <a:pt x="134" y="35"/>
                    <a:pt x="134" y="35"/>
                  </a:cubicBezTo>
                  <a:cubicBezTo>
                    <a:pt x="127" y="46"/>
                    <a:pt x="120" y="57"/>
                    <a:pt x="112" y="67"/>
                  </a:cubicBezTo>
                  <a:cubicBezTo>
                    <a:pt x="77" y="117"/>
                    <a:pt x="77" y="117"/>
                    <a:pt x="77" y="117"/>
                  </a:cubicBezTo>
                  <a:lnTo>
                    <a:pt x="42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" name="Freeform 20">
              <a:extLst>
                <a:ext uri="{FF2B5EF4-FFF2-40B4-BE49-F238E27FC236}">
                  <a16:creationId xmlns:a16="http://schemas.microsoft.com/office/drawing/2014/main" id="{C9F21C67-1735-49F4-985E-E331E05332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9018" y="6115872"/>
              <a:ext cx="510226" cy="421453"/>
            </a:xfrm>
            <a:custGeom>
              <a:avLst/>
              <a:gdLst>
                <a:gd name="T0" fmla="*/ 318 w 1730"/>
                <a:gd name="T1" fmla="*/ 1429 h 1429"/>
                <a:gd name="T2" fmla="*/ 0 w 1730"/>
                <a:gd name="T3" fmla="*/ 1429 h 1429"/>
                <a:gd name="T4" fmla="*/ 721 w 1730"/>
                <a:gd name="T5" fmla="*/ 0 h 1429"/>
                <a:gd name="T6" fmla="*/ 1008 w 1730"/>
                <a:gd name="T7" fmla="*/ 0 h 1429"/>
                <a:gd name="T8" fmla="*/ 1730 w 1730"/>
                <a:gd name="T9" fmla="*/ 1429 h 1429"/>
                <a:gd name="T10" fmla="*/ 1404 w 1730"/>
                <a:gd name="T11" fmla="*/ 1429 h 1429"/>
                <a:gd name="T12" fmla="*/ 861 w 1730"/>
                <a:gd name="T13" fmla="*/ 376 h 1429"/>
                <a:gd name="T14" fmla="*/ 318 w 1730"/>
                <a:gd name="T15" fmla="*/ 1429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0" h="1429">
                  <a:moveTo>
                    <a:pt x="318" y="1429"/>
                  </a:moveTo>
                  <a:lnTo>
                    <a:pt x="0" y="1429"/>
                  </a:lnTo>
                  <a:lnTo>
                    <a:pt x="721" y="0"/>
                  </a:lnTo>
                  <a:lnTo>
                    <a:pt x="1008" y="0"/>
                  </a:lnTo>
                  <a:lnTo>
                    <a:pt x="1730" y="1429"/>
                  </a:lnTo>
                  <a:lnTo>
                    <a:pt x="1404" y="1429"/>
                  </a:lnTo>
                  <a:lnTo>
                    <a:pt x="861" y="376"/>
                  </a:lnTo>
                  <a:lnTo>
                    <a:pt x="318" y="14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" name="Freeform 21">
              <a:extLst>
                <a:ext uri="{FF2B5EF4-FFF2-40B4-BE49-F238E27FC236}">
                  <a16:creationId xmlns:a16="http://schemas.microsoft.com/office/drawing/2014/main" id="{36D05745-9F6D-49B0-9678-5E6B0855142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82949" y="6118821"/>
              <a:ext cx="353914" cy="418504"/>
            </a:xfrm>
            <a:custGeom>
              <a:avLst/>
              <a:gdLst>
                <a:gd name="T0" fmla="*/ 0 w 506"/>
                <a:gd name="T1" fmla="*/ 596 h 596"/>
                <a:gd name="T2" fmla="*/ 74 w 506"/>
                <a:gd name="T3" fmla="*/ 596 h 596"/>
                <a:gd name="T4" fmla="*/ 127 w 506"/>
                <a:gd name="T5" fmla="*/ 596 h 596"/>
                <a:gd name="T6" fmla="*/ 283 w 506"/>
                <a:gd name="T7" fmla="*/ 596 h 596"/>
                <a:gd name="T8" fmla="*/ 506 w 506"/>
                <a:gd name="T9" fmla="*/ 433 h 596"/>
                <a:gd name="T10" fmla="*/ 395 w 506"/>
                <a:gd name="T11" fmla="*/ 285 h 596"/>
                <a:gd name="T12" fmla="*/ 473 w 506"/>
                <a:gd name="T13" fmla="*/ 156 h 596"/>
                <a:gd name="T14" fmla="*/ 432 w 506"/>
                <a:gd name="T15" fmla="*/ 53 h 596"/>
                <a:gd name="T16" fmla="*/ 276 w 506"/>
                <a:gd name="T17" fmla="*/ 0 h 596"/>
                <a:gd name="T18" fmla="*/ 0 w 506"/>
                <a:gd name="T19" fmla="*/ 0 h 596"/>
                <a:gd name="T20" fmla="*/ 0 w 506"/>
                <a:gd name="T21" fmla="*/ 115 h 596"/>
                <a:gd name="T22" fmla="*/ 257 w 506"/>
                <a:gd name="T23" fmla="*/ 115 h 596"/>
                <a:gd name="T24" fmla="*/ 343 w 506"/>
                <a:gd name="T25" fmla="*/ 177 h 596"/>
                <a:gd name="T26" fmla="*/ 248 w 506"/>
                <a:gd name="T27" fmla="*/ 241 h 596"/>
                <a:gd name="T28" fmla="*/ 0 w 506"/>
                <a:gd name="T29" fmla="*/ 241 h 596"/>
                <a:gd name="T30" fmla="*/ 0 w 506"/>
                <a:gd name="T31" fmla="*/ 596 h 596"/>
                <a:gd name="T32" fmla="*/ 283 w 506"/>
                <a:gd name="T33" fmla="*/ 481 h 596"/>
                <a:gd name="T34" fmla="*/ 127 w 506"/>
                <a:gd name="T35" fmla="*/ 481 h 596"/>
                <a:gd name="T36" fmla="*/ 127 w 506"/>
                <a:gd name="T37" fmla="*/ 350 h 596"/>
                <a:gd name="T38" fmla="*/ 279 w 506"/>
                <a:gd name="T39" fmla="*/ 350 h 596"/>
                <a:gd name="T40" fmla="*/ 376 w 506"/>
                <a:gd name="T41" fmla="*/ 415 h 596"/>
                <a:gd name="T42" fmla="*/ 283 w 506"/>
                <a:gd name="T43" fmla="*/ 481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06" h="596">
                  <a:moveTo>
                    <a:pt x="0" y="596"/>
                  </a:moveTo>
                  <a:cubicBezTo>
                    <a:pt x="74" y="596"/>
                    <a:pt x="74" y="596"/>
                    <a:pt x="74" y="596"/>
                  </a:cubicBezTo>
                  <a:cubicBezTo>
                    <a:pt x="127" y="596"/>
                    <a:pt x="127" y="596"/>
                    <a:pt x="127" y="596"/>
                  </a:cubicBezTo>
                  <a:cubicBezTo>
                    <a:pt x="283" y="596"/>
                    <a:pt x="283" y="596"/>
                    <a:pt x="283" y="596"/>
                  </a:cubicBezTo>
                  <a:cubicBezTo>
                    <a:pt x="418" y="596"/>
                    <a:pt x="506" y="542"/>
                    <a:pt x="506" y="433"/>
                  </a:cubicBezTo>
                  <a:cubicBezTo>
                    <a:pt x="506" y="351"/>
                    <a:pt x="464" y="311"/>
                    <a:pt x="395" y="285"/>
                  </a:cubicBezTo>
                  <a:cubicBezTo>
                    <a:pt x="437" y="261"/>
                    <a:pt x="473" y="223"/>
                    <a:pt x="473" y="156"/>
                  </a:cubicBezTo>
                  <a:cubicBezTo>
                    <a:pt x="473" y="114"/>
                    <a:pt x="459" y="80"/>
                    <a:pt x="432" y="53"/>
                  </a:cubicBezTo>
                  <a:cubicBezTo>
                    <a:pt x="398" y="19"/>
                    <a:pt x="344" y="0"/>
                    <a:pt x="27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257" y="115"/>
                    <a:pt x="257" y="115"/>
                    <a:pt x="257" y="115"/>
                  </a:cubicBezTo>
                  <a:cubicBezTo>
                    <a:pt x="312" y="115"/>
                    <a:pt x="343" y="137"/>
                    <a:pt x="343" y="177"/>
                  </a:cubicBezTo>
                  <a:cubicBezTo>
                    <a:pt x="343" y="222"/>
                    <a:pt x="306" y="241"/>
                    <a:pt x="248" y="241"/>
                  </a:cubicBezTo>
                  <a:cubicBezTo>
                    <a:pt x="0" y="241"/>
                    <a:pt x="0" y="241"/>
                    <a:pt x="0" y="241"/>
                  </a:cubicBezTo>
                  <a:lnTo>
                    <a:pt x="0" y="596"/>
                  </a:lnTo>
                  <a:close/>
                  <a:moveTo>
                    <a:pt x="283" y="481"/>
                  </a:moveTo>
                  <a:cubicBezTo>
                    <a:pt x="127" y="481"/>
                    <a:pt x="127" y="481"/>
                    <a:pt x="127" y="481"/>
                  </a:cubicBezTo>
                  <a:cubicBezTo>
                    <a:pt x="127" y="350"/>
                    <a:pt x="127" y="350"/>
                    <a:pt x="127" y="350"/>
                  </a:cubicBezTo>
                  <a:cubicBezTo>
                    <a:pt x="279" y="350"/>
                    <a:pt x="279" y="350"/>
                    <a:pt x="279" y="350"/>
                  </a:cubicBezTo>
                  <a:cubicBezTo>
                    <a:pt x="346" y="350"/>
                    <a:pt x="376" y="375"/>
                    <a:pt x="376" y="415"/>
                  </a:cubicBezTo>
                  <a:cubicBezTo>
                    <a:pt x="376" y="461"/>
                    <a:pt x="341" y="481"/>
                    <a:pt x="283" y="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4" name="object 3">
            <a:extLst>
              <a:ext uri="{FF2B5EF4-FFF2-40B4-BE49-F238E27FC236}">
                <a16:creationId xmlns:a16="http://schemas.microsoft.com/office/drawing/2014/main" id="{C8A8F324-BF72-42C2-A868-5F1BD7061EBF}"/>
              </a:ext>
            </a:extLst>
          </p:cNvPr>
          <p:cNvSpPr/>
          <p:nvPr userDrawn="1"/>
        </p:nvSpPr>
        <p:spPr>
          <a:xfrm>
            <a:off x="9204" y="4559"/>
            <a:ext cx="655813" cy="840582"/>
          </a:xfrm>
          <a:custGeom>
            <a:avLst/>
            <a:gdLst/>
            <a:ahLst/>
            <a:cxnLst/>
            <a:rect l="l" t="t" r="r" b="b"/>
            <a:pathLst>
              <a:path w="1005205" h="1288415">
                <a:moveTo>
                  <a:pt x="0" y="0"/>
                </a:moveTo>
                <a:lnTo>
                  <a:pt x="0" y="335068"/>
                </a:lnTo>
                <a:lnTo>
                  <a:pt x="609552" y="640462"/>
                </a:lnTo>
                <a:lnTo>
                  <a:pt x="0" y="952850"/>
                </a:lnTo>
                <a:lnTo>
                  <a:pt x="0" y="1287918"/>
                </a:lnTo>
                <a:lnTo>
                  <a:pt x="1005204" y="793253"/>
                </a:lnTo>
                <a:lnTo>
                  <a:pt x="1005204" y="49601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 anchor="ctr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38906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634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A Titelse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7332E98-2E79-4AB8-834A-078413608C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8856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7332E98-2E79-4AB8-834A-078413608C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2">
            <a:extLst>
              <a:ext uri="{FF2B5EF4-FFF2-40B4-BE49-F238E27FC236}">
                <a16:creationId xmlns:a16="http://schemas.microsoft.com/office/drawing/2014/main" id="{3CA01687-6449-4359-B6A7-6B0C6F8EE156}"/>
              </a:ext>
            </a:extLst>
          </p:cNvPr>
          <p:cNvSpPr/>
          <p:nvPr/>
        </p:nvSpPr>
        <p:spPr>
          <a:xfrm>
            <a:off x="0" y="1067635"/>
            <a:ext cx="12192000" cy="5790366"/>
          </a:xfrm>
          <a:custGeom>
            <a:avLst/>
            <a:gdLst/>
            <a:ahLst/>
            <a:cxnLst/>
            <a:rect l="l" t="t" r="r" b="b"/>
            <a:pathLst>
              <a:path w="20104100" h="9486900">
                <a:moveTo>
                  <a:pt x="20104099" y="0"/>
                </a:moveTo>
                <a:lnTo>
                  <a:pt x="0" y="0"/>
                </a:lnTo>
                <a:lnTo>
                  <a:pt x="0" y="9486622"/>
                </a:lnTo>
                <a:lnTo>
                  <a:pt x="20104099" y="9486622"/>
                </a:lnTo>
                <a:lnTo>
                  <a:pt x="20104099" y="0"/>
                </a:lnTo>
                <a:close/>
              </a:path>
            </a:pathLst>
          </a:custGeom>
          <a:solidFill>
            <a:srgbClr val="E6320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42">
            <a:extLst>
              <a:ext uri="{FF2B5EF4-FFF2-40B4-BE49-F238E27FC236}">
                <a16:creationId xmlns:a16="http://schemas.microsoft.com/office/drawing/2014/main" id="{FBC595D4-4F23-48D5-879E-BC30C15170B3}"/>
              </a:ext>
            </a:extLst>
          </p:cNvPr>
          <p:cNvSpPr/>
          <p:nvPr/>
        </p:nvSpPr>
        <p:spPr>
          <a:xfrm>
            <a:off x="2839937" y="4454862"/>
            <a:ext cx="3010261" cy="2402972"/>
          </a:xfrm>
          <a:custGeom>
            <a:avLst/>
            <a:gdLst/>
            <a:ahLst/>
            <a:cxnLst/>
            <a:rect l="l" t="t" r="r" b="b"/>
            <a:pathLst>
              <a:path w="4963795" h="3962400">
                <a:moveTo>
                  <a:pt x="2893252" y="0"/>
                </a:moveTo>
                <a:lnTo>
                  <a:pt x="2069936" y="0"/>
                </a:lnTo>
                <a:lnTo>
                  <a:pt x="0" y="3962392"/>
                </a:lnTo>
                <a:lnTo>
                  <a:pt x="910307" y="3962392"/>
                </a:lnTo>
                <a:lnTo>
                  <a:pt x="2470019" y="1039737"/>
                </a:lnTo>
                <a:lnTo>
                  <a:pt x="4029699" y="3962392"/>
                </a:lnTo>
                <a:lnTo>
                  <a:pt x="4963199" y="3962392"/>
                </a:lnTo>
                <a:lnTo>
                  <a:pt x="2893252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89862" y="1315327"/>
            <a:ext cx="5452601" cy="1099925"/>
          </a:xfrm>
          <a:prstGeom prst="rect">
            <a:avLst/>
          </a:prstGeom>
          <a:noFill/>
        </p:spPr>
        <p:txBody>
          <a:bodyPr vert="horz" anchor="b">
            <a:no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89862" y="2565345"/>
            <a:ext cx="5452601" cy="872257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spcBef>
                <a:spcPts val="600"/>
              </a:spcBef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929DC8-987C-4BF4-9A49-8F549F1F3D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90154" y="3587745"/>
            <a:ext cx="5453026" cy="619426"/>
          </a:xfrm>
        </p:spPr>
        <p:txBody>
          <a:bodyPr anchor="b"/>
          <a:lstStyle>
            <a:lvl1pPr>
              <a:spcBef>
                <a:spcPts val="600"/>
              </a:spcBef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15A6ABB2-F500-47E2-9DC7-0BB640B9A493}"/>
              </a:ext>
            </a:extLst>
          </p:cNvPr>
          <p:cNvGrpSpPr/>
          <p:nvPr userDrawn="1"/>
        </p:nvGrpSpPr>
        <p:grpSpPr>
          <a:xfrm>
            <a:off x="278910" y="159754"/>
            <a:ext cx="2178646" cy="747961"/>
            <a:chOff x="3138488" y="168275"/>
            <a:chExt cx="3074988" cy="1055688"/>
          </a:xfrm>
        </p:grpSpPr>
        <p:sp>
          <p:nvSpPr>
            <p:cNvPr id="59" name="AutoShape 3">
              <a:extLst>
                <a:ext uri="{FF2B5EF4-FFF2-40B4-BE49-F238E27FC236}">
                  <a16:creationId xmlns:a16="http://schemas.microsoft.com/office/drawing/2014/main" id="{4F5F4692-9A00-49E4-9621-A5FDE29EDBE7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3138488" y="168275"/>
              <a:ext cx="3073400" cy="10556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5">
              <a:extLst>
                <a:ext uri="{FF2B5EF4-FFF2-40B4-BE49-F238E27FC236}">
                  <a16:creationId xmlns:a16="http://schemas.microsoft.com/office/drawing/2014/main" id="{AFC503C3-7BE6-4000-89FC-259AD3DEEB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94226" y="171450"/>
              <a:ext cx="774700" cy="639763"/>
            </a:xfrm>
            <a:custGeom>
              <a:avLst/>
              <a:gdLst>
                <a:gd name="T0" fmla="*/ 90 w 488"/>
                <a:gd name="T1" fmla="*/ 403 h 403"/>
                <a:gd name="T2" fmla="*/ 0 w 488"/>
                <a:gd name="T3" fmla="*/ 403 h 403"/>
                <a:gd name="T4" fmla="*/ 203 w 488"/>
                <a:gd name="T5" fmla="*/ 0 h 403"/>
                <a:gd name="T6" fmla="*/ 285 w 488"/>
                <a:gd name="T7" fmla="*/ 0 h 403"/>
                <a:gd name="T8" fmla="*/ 488 w 488"/>
                <a:gd name="T9" fmla="*/ 403 h 403"/>
                <a:gd name="T10" fmla="*/ 396 w 488"/>
                <a:gd name="T11" fmla="*/ 403 h 403"/>
                <a:gd name="T12" fmla="*/ 243 w 488"/>
                <a:gd name="T13" fmla="*/ 106 h 403"/>
                <a:gd name="T14" fmla="*/ 90 w 488"/>
                <a:gd name="T15" fmla="*/ 403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8" h="403">
                  <a:moveTo>
                    <a:pt x="90" y="403"/>
                  </a:moveTo>
                  <a:lnTo>
                    <a:pt x="0" y="403"/>
                  </a:lnTo>
                  <a:lnTo>
                    <a:pt x="203" y="0"/>
                  </a:lnTo>
                  <a:lnTo>
                    <a:pt x="285" y="0"/>
                  </a:lnTo>
                  <a:lnTo>
                    <a:pt x="488" y="403"/>
                  </a:lnTo>
                  <a:lnTo>
                    <a:pt x="396" y="403"/>
                  </a:lnTo>
                  <a:lnTo>
                    <a:pt x="243" y="106"/>
                  </a:lnTo>
                  <a:lnTo>
                    <a:pt x="90" y="403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Rectangle 6">
              <a:extLst>
                <a:ext uri="{FF2B5EF4-FFF2-40B4-BE49-F238E27FC236}">
                  <a16:creationId xmlns:a16="http://schemas.microsoft.com/office/drawing/2014/main" id="{21250879-5A2A-447C-B8B9-BF80DCC0A3B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64163" y="171450"/>
              <a:ext cx="22225" cy="171450"/>
            </a:xfrm>
            <a:prstGeom prst="rect">
              <a:avLst/>
            </a:pr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Freeform 7">
              <a:extLst>
                <a:ext uri="{FF2B5EF4-FFF2-40B4-BE49-F238E27FC236}">
                  <a16:creationId xmlns:a16="http://schemas.microsoft.com/office/drawing/2014/main" id="{285860EA-F0E2-4152-87BE-730AD1E9C8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37188" y="171450"/>
              <a:ext cx="144463" cy="171450"/>
            </a:xfrm>
            <a:custGeom>
              <a:avLst/>
              <a:gdLst>
                <a:gd name="T0" fmla="*/ 0 w 135"/>
                <a:gd name="T1" fmla="*/ 161 h 161"/>
                <a:gd name="T2" fmla="*/ 0 w 135"/>
                <a:gd name="T3" fmla="*/ 0 h 161"/>
                <a:gd name="T4" fmla="*/ 20 w 135"/>
                <a:gd name="T5" fmla="*/ 0 h 161"/>
                <a:gd name="T6" fmla="*/ 87 w 135"/>
                <a:gd name="T7" fmla="*/ 90 h 161"/>
                <a:gd name="T8" fmla="*/ 115 w 135"/>
                <a:gd name="T9" fmla="*/ 127 h 161"/>
                <a:gd name="T10" fmla="*/ 115 w 135"/>
                <a:gd name="T11" fmla="*/ 127 h 161"/>
                <a:gd name="T12" fmla="*/ 115 w 135"/>
                <a:gd name="T13" fmla="*/ 81 h 161"/>
                <a:gd name="T14" fmla="*/ 115 w 135"/>
                <a:gd name="T15" fmla="*/ 0 h 161"/>
                <a:gd name="T16" fmla="*/ 135 w 135"/>
                <a:gd name="T17" fmla="*/ 0 h 161"/>
                <a:gd name="T18" fmla="*/ 135 w 135"/>
                <a:gd name="T19" fmla="*/ 161 h 161"/>
                <a:gd name="T20" fmla="*/ 115 w 135"/>
                <a:gd name="T21" fmla="*/ 161 h 161"/>
                <a:gd name="T22" fmla="*/ 48 w 135"/>
                <a:gd name="T23" fmla="*/ 72 h 161"/>
                <a:gd name="T24" fmla="*/ 20 w 135"/>
                <a:gd name="T25" fmla="*/ 34 h 161"/>
                <a:gd name="T26" fmla="*/ 20 w 135"/>
                <a:gd name="T27" fmla="*/ 35 h 161"/>
                <a:gd name="T28" fmla="*/ 20 w 135"/>
                <a:gd name="T29" fmla="*/ 80 h 161"/>
                <a:gd name="T30" fmla="*/ 20 w 135"/>
                <a:gd name="T31" fmla="*/ 161 h 161"/>
                <a:gd name="T32" fmla="*/ 0 w 135"/>
                <a:gd name="T33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61">
                  <a:moveTo>
                    <a:pt x="0" y="16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87" y="90"/>
                    <a:pt x="87" y="90"/>
                    <a:pt x="87" y="90"/>
                  </a:cubicBezTo>
                  <a:cubicBezTo>
                    <a:pt x="96" y="102"/>
                    <a:pt x="106" y="115"/>
                    <a:pt x="115" y="127"/>
                  </a:cubicBezTo>
                  <a:cubicBezTo>
                    <a:pt x="115" y="127"/>
                    <a:pt x="115" y="127"/>
                    <a:pt x="115" y="127"/>
                  </a:cubicBezTo>
                  <a:cubicBezTo>
                    <a:pt x="115" y="113"/>
                    <a:pt x="115" y="97"/>
                    <a:pt x="115" y="81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35" y="161"/>
                    <a:pt x="135" y="161"/>
                    <a:pt x="135" y="161"/>
                  </a:cubicBezTo>
                  <a:cubicBezTo>
                    <a:pt x="115" y="161"/>
                    <a:pt x="115" y="161"/>
                    <a:pt x="115" y="161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38" y="60"/>
                    <a:pt x="29" y="47"/>
                    <a:pt x="20" y="3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49"/>
                    <a:pt x="20" y="65"/>
                    <a:pt x="20" y="80"/>
                  </a:cubicBezTo>
                  <a:cubicBezTo>
                    <a:pt x="20" y="161"/>
                    <a:pt x="20" y="161"/>
                    <a:pt x="20" y="161"/>
                  </a:cubicBezTo>
                  <a:lnTo>
                    <a:pt x="0" y="161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8">
              <a:extLst>
                <a:ext uri="{FF2B5EF4-FFF2-40B4-BE49-F238E27FC236}">
                  <a16:creationId xmlns:a16="http://schemas.microsoft.com/office/drawing/2014/main" id="{CE531ECA-3D51-47B9-B622-71D7745209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13401" y="171450"/>
              <a:ext cx="155575" cy="171450"/>
            </a:xfrm>
            <a:custGeom>
              <a:avLst/>
              <a:gdLst>
                <a:gd name="T0" fmla="*/ 0 w 146"/>
                <a:gd name="T1" fmla="*/ 0 h 161"/>
                <a:gd name="T2" fmla="*/ 23 w 146"/>
                <a:gd name="T3" fmla="*/ 0 h 161"/>
                <a:gd name="T4" fmla="*/ 57 w 146"/>
                <a:gd name="T5" fmla="*/ 91 h 161"/>
                <a:gd name="T6" fmla="*/ 73 w 146"/>
                <a:gd name="T7" fmla="*/ 133 h 161"/>
                <a:gd name="T8" fmla="*/ 73 w 146"/>
                <a:gd name="T9" fmla="*/ 133 h 161"/>
                <a:gd name="T10" fmla="*/ 90 w 146"/>
                <a:gd name="T11" fmla="*/ 90 h 161"/>
                <a:gd name="T12" fmla="*/ 124 w 146"/>
                <a:gd name="T13" fmla="*/ 0 h 161"/>
                <a:gd name="T14" fmla="*/ 146 w 146"/>
                <a:gd name="T15" fmla="*/ 0 h 161"/>
                <a:gd name="T16" fmla="*/ 84 w 146"/>
                <a:gd name="T17" fmla="*/ 161 h 161"/>
                <a:gd name="T18" fmla="*/ 62 w 146"/>
                <a:gd name="T19" fmla="*/ 161 h 161"/>
                <a:gd name="T20" fmla="*/ 0 w 146"/>
                <a:gd name="T21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6" h="161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62" y="105"/>
                    <a:pt x="68" y="118"/>
                    <a:pt x="73" y="133"/>
                  </a:cubicBezTo>
                  <a:cubicBezTo>
                    <a:pt x="73" y="133"/>
                    <a:pt x="73" y="133"/>
                    <a:pt x="73" y="133"/>
                  </a:cubicBezTo>
                  <a:cubicBezTo>
                    <a:pt x="79" y="119"/>
                    <a:pt x="84" y="104"/>
                    <a:pt x="90" y="9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84" y="161"/>
                    <a:pt x="84" y="161"/>
                    <a:pt x="84" y="161"/>
                  </a:cubicBezTo>
                  <a:cubicBezTo>
                    <a:pt x="62" y="161"/>
                    <a:pt x="62" y="161"/>
                    <a:pt x="62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9">
              <a:extLst>
                <a:ext uri="{FF2B5EF4-FFF2-40B4-BE49-F238E27FC236}">
                  <a16:creationId xmlns:a16="http://schemas.microsoft.com/office/drawing/2014/main" id="{FBF65AFC-FBDA-47C5-B439-478D7B2EE3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00726" y="171450"/>
              <a:ext cx="100013" cy="171450"/>
            </a:xfrm>
            <a:custGeom>
              <a:avLst/>
              <a:gdLst>
                <a:gd name="T0" fmla="*/ 0 w 63"/>
                <a:gd name="T1" fmla="*/ 0 h 108"/>
                <a:gd name="T2" fmla="*/ 62 w 63"/>
                <a:gd name="T3" fmla="*/ 0 h 108"/>
                <a:gd name="T4" fmla="*/ 62 w 63"/>
                <a:gd name="T5" fmla="*/ 13 h 108"/>
                <a:gd name="T6" fmla="*/ 14 w 63"/>
                <a:gd name="T7" fmla="*/ 13 h 108"/>
                <a:gd name="T8" fmla="*/ 14 w 63"/>
                <a:gd name="T9" fmla="*/ 46 h 108"/>
                <a:gd name="T10" fmla="*/ 56 w 63"/>
                <a:gd name="T11" fmla="*/ 46 h 108"/>
                <a:gd name="T12" fmla="*/ 56 w 63"/>
                <a:gd name="T13" fmla="*/ 58 h 108"/>
                <a:gd name="T14" fmla="*/ 14 w 63"/>
                <a:gd name="T15" fmla="*/ 58 h 108"/>
                <a:gd name="T16" fmla="*/ 14 w 63"/>
                <a:gd name="T17" fmla="*/ 95 h 108"/>
                <a:gd name="T18" fmla="*/ 63 w 63"/>
                <a:gd name="T19" fmla="*/ 95 h 108"/>
                <a:gd name="T20" fmla="*/ 63 w 63"/>
                <a:gd name="T21" fmla="*/ 108 h 108"/>
                <a:gd name="T22" fmla="*/ 0 w 63"/>
                <a:gd name="T23" fmla="*/ 108 h 108"/>
                <a:gd name="T24" fmla="*/ 0 w 63"/>
                <a:gd name="T25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108">
                  <a:moveTo>
                    <a:pt x="0" y="0"/>
                  </a:moveTo>
                  <a:lnTo>
                    <a:pt x="62" y="0"/>
                  </a:lnTo>
                  <a:lnTo>
                    <a:pt x="62" y="13"/>
                  </a:lnTo>
                  <a:lnTo>
                    <a:pt x="14" y="13"/>
                  </a:lnTo>
                  <a:lnTo>
                    <a:pt x="14" y="46"/>
                  </a:lnTo>
                  <a:lnTo>
                    <a:pt x="56" y="46"/>
                  </a:lnTo>
                  <a:lnTo>
                    <a:pt x="56" y="58"/>
                  </a:lnTo>
                  <a:lnTo>
                    <a:pt x="14" y="58"/>
                  </a:lnTo>
                  <a:lnTo>
                    <a:pt x="14" y="95"/>
                  </a:lnTo>
                  <a:lnTo>
                    <a:pt x="63" y="95"/>
                  </a:lnTo>
                  <a:lnTo>
                    <a:pt x="63" y="108"/>
                  </a:lnTo>
                  <a:lnTo>
                    <a:pt x="0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10">
              <a:extLst>
                <a:ext uri="{FF2B5EF4-FFF2-40B4-BE49-F238E27FC236}">
                  <a16:creationId xmlns:a16="http://schemas.microsoft.com/office/drawing/2014/main" id="{A46F922E-3CD2-4375-8049-8F19383CC6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37251" y="169863"/>
              <a:ext cx="112713" cy="176213"/>
            </a:xfrm>
            <a:custGeom>
              <a:avLst/>
              <a:gdLst>
                <a:gd name="T0" fmla="*/ 4 w 106"/>
                <a:gd name="T1" fmla="*/ 130 h 166"/>
                <a:gd name="T2" fmla="*/ 52 w 106"/>
                <a:gd name="T3" fmla="*/ 146 h 166"/>
                <a:gd name="T4" fmla="*/ 85 w 106"/>
                <a:gd name="T5" fmla="*/ 120 h 166"/>
                <a:gd name="T6" fmla="*/ 45 w 106"/>
                <a:gd name="T7" fmla="*/ 90 h 166"/>
                <a:gd name="T8" fmla="*/ 0 w 106"/>
                <a:gd name="T9" fmla="*/ 45 h 166"/>
                <a:gd name="T10" fmla="*/ 52 w 106"/>
                <a:gd name="T11" fmla="*/ 0 h 166"/>
                <a:gd name="T12" fmla="*/ 99 w 106"/>
                <a:gd name="T13" fmla="*/ 12 h 166"/>
                <a:gd name="T14" fmla="*/ 99 w 106"/>
                <a:gd name="T15" fmla="*/ 34 h 166"/>
                <a:gd name="T16" fmla="*/ 52 w 106"/>
                <a:gd name="T17" fmla="*/ 19 h 166"/>
                <a:gd name="T18" fmla="*/ 21 w 106"/>
                <a:gd name="T19" fmla="*/ 43 h 166"/>
                <a:gd name="T20" fmla="*/ 60 w 106"/>
                <a:gd name="T21" fmla="*/ 72 h 166"/>
                <a:gd name="T22" fmla="*/ 106 w 106"/>
                <a:gd name="T23" fmla="*/ 119 h 166"/>
                <a:gd name="T24" fmla="*/ 52 w 106"/>
                <a:gd name="T25" fmla="*/ 166 h 166"/>
                <a:gd name="T26" fmla="*/ 4 w 106"/>
                <a:gd name="T27" fmla="*/ 153 h 166"/>
                <a:gd name="T28" fmla="*/ 4 w 106"/>
                <a:gd name="T29" fmla="*/ 13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6" h="166">
                  <a:moveTo>
                    <a:pt x="4" y="130"/>
                  </a:moveTo>
                  <a:cubicBezTo>
                    <a:pt x="19" y="141"/>
                    <a:pt x="38" y="146"/>
                    <a:pt x="52" y="146"/>
                  </a:cubicBezTo>
                  <a:cubicBezTo>
                    <a:pt x="72" y="146"/>
                    <a:pt x="85" y="138"/>
                    <a:pt x="85" y="120"/>
                  </a:cubicBezTo>
                  <a:cubicBezTo>
                    <a:pt x="85" y="99"/>
                    <a:pt x="66" y="96"/>
                    <a:pt x="45" y="90"/>
                  </a:cubicBezTo>
                  <a:cubicBezTo>
                    <a:pt x="22" y="83"/>
                    <a:pt x="0" y="74"/>
                    <a:pt x="0" y="45"/>
                  </a:cubicBezTo>
                  <a:cubicBezTo>
                    <a:pt x="0" y="16"/>
                    <a:pt x="21" y="0"/>
                    <a:pt x="52" y="0"/>
                  </a:cubicBezTo>
                  <a:cubicBezTo>
                    <a:pt x="68" y="0"/>
                    <a:pt x="86" y="4"/>
                    <a:pt x="99" y="12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84" y="24"/>
                    <a:pt x="66" y="19"/>
                    <a:pt x="52" y="19"/>
                  </a:cubicBezTo>
                  <a:cubicBezTo>
                    <a:pt x="34" y="19"/>
                    <a:pt x="21" y="27"/>
                    <a:pt x="21" y="43"/>
                  </a:cubicBezTo>
                  <a:cubicBezTo>
                    <a:pt x="21" y="63"/>
                    <a:pt x="40" y="67"/>
                    <a:pt x="60" y="72"/>
                  </a:cubicBezTo>
                  <a:cubicBezTo>
                    <a:pt x="83" y="79"/>
                    <a:pt x="106" y="88"/>
                    <a:pt x="106" y="119"/>
                  </a:cubicBezTo>
                  <a:cubicBezTo>
                    <a:pt x="106" y="148"/>
                    <a:pt x="84" y="166"/>
                    <a:pt x="52" y="166"/>
                  </a:cubicBezTo>
                  <a:cubicBezTo>
                    <a:pt x="37" y="166"/>
                    <a:pt x="18" y="161"/>
                    <a:pt x="4" y="153"/>
                  </a:cubicBezTo>
                  <a:lnTo>
                    <a:pt x="4" y="13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11">
              <a:extLst>
                <a:ext uri="{FF2B5EF4-FFF2-40B4-BE49-F238E27FC236}">
                  <a16:creationId xmlns:a16="http://schemas.microsoft.com/office/drawing/2014/main" id="{DE3CC004-BDC4-4520-AA41-7BB0AF7F18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7426" y="171450"/>
              <a:ext cx="136525" cy="171450"/>
            </a:xfrm>
            <a:custGeom>
              <a:avLst/>
              <a:gdLst>
                <a:gd name="T0" fmla="*/ 36 w 86"/>
                <a:gd name="T1" fmla="*/ 13 h 108"/>
                <a:gd name="T2" fmla="*/ 0 w 86"/>
                <a:gd name="T3" fmla="*/ 13 h 108"/>
                <a:gd name="T4" fmla="*/ 0 w 86"/>
                <a:gd name="T5" fmla="*/ 0 h 108"/>
                <a:gd name="T6" fmla="*/ 86 w 86"/>
                <a:gd name="T7" fmla="*/ 0 h 108"/>
                <a:gd name="T8" fmla="*/ 86 w 86"/>
                <a:gd name="T9" fmla="*/ 13 h 108"/>
                <a:gd name="T10" fmla="*/ 51 w 86"/>
                <a:gd name="T11" fmla="*/ 13 h 108"/>
                <a:gd name="T12" fmla="*/ 51 w 86"/>
                <a:gd name="T13" fmla="*/ 108 h 108"/>
                <a:gd name="T14" fmla="*/ 36 w 86"/>
                <a:gd name="T15" fmla="*/ 108 h 108"/>
                <a:gd name="T16" fmla="*/ 36 w 86"/>
                <a:gd name="T17" fmla="*/ 1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108">
                  <a:moveTo>
                    <a:pt x="36" y="13"/>
                  </a:moveTo>
                  <a:lnTo>
                    <a:pt x="0" y="13"/>
                  </a:lnTo>
                  <a:lnTo>
                    <a:pt x="0" y="0"/>
                  </a:lnTo>
                  <a:lnTo>
                    <a:pt x="86" y="0"/>
                  </a:lnTo>
                  <a:lnTo>
                    <a:pt x="86" y="13"/>
                  </a:lnTo>
                  <a:lnTo>
                    <a:pt x="51" y="13"/>
                  </a:lnTo>
                  <a:lnTo>
                    <a:pt x="51" y="108"/>
                  </a:lnTo>
                  <a:lnTo>
                    <a:pt x="36" y="108"/>
                  </a:lnTo>
                  <a:lnTo>
                    <a:pt x="36" y="13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12">
              <a:extLst>
                <a:ext uri="{FF2B5EF4-FFF2-40B4-BE49-F238E27FC236}">
                  <a16:creationId xmlns:a16="http://schemas.microsoft.com/office/drawing/2014/main" id="{D76FF390-B281-4D23-925D-CD83DFD21B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41951" y="406400"/>
              <a:ext cx="233363" cy="171450"/>
            </a:xfrm>
            <a:custGeom>
              <a:avLst/>
              <a:gdLst>
                <a:gd name="T0" fmla="*/ 0 w 220"/>
                <a:gd name="T1" fmla="*/ 0 h 161"/>
                <a:gd name="T2" fmla="*/ 22 w 220"/>
                <a:gd name="T3" fmla="*/ 0 h 161"/>
                <a:gd name="T4" fmla="*/ 49 w 220"/>
                <a:gd name="T5" fmla="*/ 87 h 161"/>
                <a:gd name="T6" fmla="*/ 62 w 220"/>
                <a:gd name="T7" fmla="*/ 129 h 161"/>
                <a:gd name="T8" fmla="*/ 62 w 220"/>
                <a:gd name="T9" fmla="*/ 129 h 161"/>
                <a:gd name="T10" fmla="*/ 75 w 220"/>
                <a:gd name="T11" fmla="*/ 87 h 161"/>
                <a:gd name="T12" fmla="*/ 103 w 220"/>
                <a:gd name="T13" fmla="*/ 0 h 161"/>
                <a:gd name="T14" fmla="*/ 118 w 220"/>
                <a:gd name="T15" fmla="*/ 0 h 161"/>
                <a:gd name="T16" fmla="*/ 146 w 220"/>
                <a:gd name="T17" fmla="*/ 87 h 161"/>
                <a:gd name="T18" fmla="*/ 158 w 220"/>
                <a:gd name="T19" fmla="*/ 129 h 161"/>
                <a:gd name="T20" fmla="*/ 159 w 220"/>
                <a:gd name="T21" fmla="*/ 129 h 161"/>
                <a:gd name="T22" fmla="*/ 172 w 220"/>
                <a:gd name="T23" fmla="*/ 87 h 161"/>
                <a:gd name="T24" fmla="*/ 198 w 220"/>
                <a:gd name="T25" fmla="*/ 0 h 161"/>
                <a:gd name="T26" fmla="*/ 220 w 220"/>
                <a:gd name="T27" fmla="*/ 0 h 161"/>
                <a:gd name="T28" fmla="*/ 170 w 220"/>
                <a:gd name="T29" fmla="*/ 161 h 161"/>
                <a:gd name="T30" fmla="*/ 147 w 220"/>
                <a:gd name="T31" fmla="*/ 161 h 161"/>
                <a:gd name="T32" fmla="*/ 122 w 220"/>
                <a:gd name="T33" fmla="*/ 79 h 161"/>
                <a:gd name="T34" fmla="*/ 110 w 220"/>
                <a:gd name="T35" fmla="*/ 42 h 161"/>
                <a:gd name="T36" fmla="*/ 110 w 220"/>
                <a:gd name="T37" fmla="*/ 42 h 161"/>
                <a:gd name="T38" fmla="*/ 98 w 220"/>
                <a:gd name="T39" fmla="*/ 79 h 161"/>
                <a:gd name="T40" fmla="*/ 73 w 220"/>
                <a:gd name="T41" fmla="*/ 161 h 161"/>
                <a:gd name="T42" fmla="*/ 50 w 220"/>
                <a:gd name="T43" fmla="*/ 161 h 161"/>
                <a:gd name="T44" fmla="*/ 0 w 220"/>
                <a:gd name="T45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0" h="161">
                  <a:moveTo>
                    <a:pt x="0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54" y="101"/>
                    <a:pt x="58" y="115"/>
                    <a:pt x="62" y="129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66" y="115"/>
                    <a:pt x="71" y="101"/>
                    <a:pt x="75" y="87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46" y="87"/>
                    <a:pt x="146" y="87"/>
                    <a:pt x="146" y="87"/>
                  </a:cubicBezTo>
                  <a:cubicBezTo>
                    <a:pt x="150" y="101"/>
                    <a:pt x="154" y="115"/>
                    <a:pt x="158" y="129"/>
                  </a:cubicBezTo>
                  <a:cubicBezTo>
                    <a:pt x="159" y="129"/>
                    <a:pt x="159" y="129"/>
                    <a:pt x="159" y="129"/>
                  </a:cubicBezTo>
                  <a:cubicBezTo>
                    <a:pt x="163" y="115"/>
                    <a:pt x="167" y="101"/>
                    <a:pt x="172" y="87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170" y="161"/>
                    <a:pt x="170" y="161"/>
                    <a:pt x="170" y="161"/>
                  </a:cubicBezTo>
                  <a:cubicBezTo>
                    <a:pt x="147" y="161"/>
                    <a:pt x="147" y="161"/>
                    <a:pt x="147" y="161"/>
                  </a:cubicBezTo>
                  <a:cubicBezTo>
                    <a:pt x="122" y="79"/>
                    <a:pt x="122" y="79"/>
                    <a:pt x="122" y="79"/>
                  </a:cubicBezTo>
                  <a:cubicBezTo>
                    <a:pt x="118" y="67"/>
                    <a:pt x="114" y="54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06" y="54"/>
                    <a:pt x="102" y="67"/>
                    <a:pt x="98" y="79"/>
                  </a:cubicBezTo>
                  <a:cubicBezTo>
                    <a:pt x="73" y="161"/>
                    <a:pt x="73" y="161"/>
                    <a:pt x="73" y="161"/>
                  </a:cubicBezTo>
                  <a:cubicBezTo>
                    <a:pt x="50" y="161"/>
                    <a:pt x="50" y="161"/>
                    <a:pt x="50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13">
              <a:extLst>
                <a:ext uri="{FF2B5EF4-FFF2-40B4-BE49-F238E27FC236}">
                  <a16:creationId xmlns:a16="http://schemas.microsoft.com/office/drawing/2014/main" id="{EDE494AB-0DB2-4EB8-80EB-ACEFAC6668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694363" y="403225"/>
              <a:ext cx="174625" cy="176213"/>
            </a:xfrm>
            <a:custGeom>
              <a:avLst/>
              <a:gdLst>
                <a:gd name="T0" fmla="*/ 81 w 163"/>
                <a:gd name="T1" fmla="*/ 0 h 165"/>
                <a:gd name="T2" fmla="*/ 163 w 163"/>
                <a:gd name="T3" fmla="*/ 83 h 165"/>
                <a:gd name="T4" fmla="*/ 81 w 163"/>
                <a:gd name="T5" fmla="*/ 165 h 165"/>
                <a:gd name="T6" fmla="*/ 0 w 163"/>
                <a:gd name="T7" fmla="*/ 83 h 165"/>
                <a:gd name="T8" fmla="*/ 81 w 163"/>
                <a:gd name="T9" fmla="*/ 0 h 165"/>
                <a:gd name="T10" fmla="*/ 81 w 163"/>
                <a:gd name="T11" fmla="*/ 146 h 165"/>
                <a:gd name="T12" fmla="*/ 142 w 163"/>
                <a:gd name="T13" fmla="*/ 83 h 165"/>
                <a:gd name="T14" fmla="*/ 81 w 163"/>
                <a:gd name="T15" fmla="*/ 19 h 165"/>
                <a:gd name="T16" fmla="*/ 21 w 163"/>
                <a:gd name="T17" fmla="*/ 83 h 165"/>
                <a:gd name="T18" fmla="*/ 81 w 163"/>
                <a:gd name="T19" fmla="*/ 146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3" h="165">
                  <a:moveTo>
                    <a:pt x="81" y="0"/>
                  </a:moveTo>
                  <a:cubicBezTo>
                    <a:pt x="128" y="0"/>
                    <a:pt x="163" y="36"/>
                    <a:pt x="163" y="83"/>
                  </a:cubicBezTo>
                  <a:cubicBezTo>
                    <a:pt x="163" y="129"/>
                    <a:pt x="128" y="165"/>
                    <a:pt x="81" y="165"/>
                  </a:cubicBezTo>
                  <a:cubicBezTo>
                    <a:pt x="35" y="165"/>
                    <a:pt x="0" y="129"/>
                    <a:pt x="0" y="83"/>
                  </a:cubicBezTo>
                  <a:cubicBezTo>
                    <a:pt x="0" y="36"/>
                    <a:pt x="35" y="0"/>
                    <a:pt x="81" y="0"/>
                  </a:cubicBezTo>
                  <a:close/>
                  <a:moveTo>
                    <a:pt x="81" y="146"/>
                  </a:moveTo>
                  <a:cubicBezTo>
                    <a:pt x="116" y="146"/>
                    <a:pt x="142" y="118"/>
                    <a:pt x="142" y="83"/>
                  </a:cubicBezTo>
                  <a:cubicBezTo>
                    <a:pt x="142" y="47"/>
                    <a:pt x="116" y="19"/>
                    <a:pt x="81" y="19"/>
                  </a:cubicBezTo>
                  <a:cubicBezTo>
                    <a:pt x="46" y="19"/>
                    <a:pt x="21" y="47"/>
                    <a:pt x="21" y="83"/>
                  </a:cubicBezTo>
                  <a:cubicBezTo>
                    <a:pt x="21" y="118"/>
                    <a:pt x="46" y="146"/>
                    <a:pt x="81" y="146"/>
                  </a:cubicBez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id="{C79D77CB-0202-4218-8FB6-8607652D35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908676" y="406400"/>
              <a:ext cx="130175" cy="171450"/>
            </a:xfrm>
            <a:custGeom>
              <a:avLst/>
              <a:gdLst>
                <a:gd name="T0" fmla="*/ 0 w 123"/>
                <a:gd name="T1" fmla="*/ 0 h 161"/>
                <a:gd name="T2" fmla="*/ 44 w 123"/>
                <a:gd name="T3" fmla="*/ 0 h 161"/>
                <a:gd name="T4" fmla="*/ 88 w 123"/>
                <a:gd name="T5" fmla="*/ 8 h 161"/>
                <a:gd name="T6" fmla="*/ 111 w 123"/>
                <a:gd name="T7" fmla="*/ 46 h 161"/>
                <a:gd name="T8" fmla="*/ 90 w 123"/>
                <a:gd name="T9" fmla="*/ 83 h 161"/>
                <a:gd name="T10" fmla="*/ 72 w 123"/>
                <a:gd name="T11" fmla="*/ 90 h 161"/>
                <a:gd name="T12" fmla="*/ 123 w 123"/>
                <a:gd name="T13" fmla="*/ 161 h 161"/>
                <a:gd name="T14" fmla="*/ 98 w 123"/>
                <a:gd name="T15" fmla="*/ 161 h 161"/>
                <a:gd name="T16" fmla="*/ 48 w 123"/>
                <a:gd name="T17" fmla="*/ 92 h 161"/>
                <a:gd name="T18" fmla="*/ 21 w 123"/>
                <a:gd name="T19" fmla="*/ 92 h 161"/>
                <a:gd name="T20" fmla="*/ 21 w 123"/>
                <a:gd name="T21" fmla="*/ 161 h 161"/>
                <a:gd name="T22" fmla="*/ 0 w 123"/>
                <a:gd name="T23" fmla="*/ 161 h 161"/>
                <a:gd name="T24" fmla="*/ 0 w 123"/>
                <a:gd name="T25" fmla="*/ 0 h 161"/>
                <a:gd name="T26" fmla="*/ 48 w 123"/>
                <a:gd name="T27" fmla="*/ 75 h 161"/>
                <a:gd name="T28" fmla="*/ 80 w 123"/>
                <a:gd name="T29" fmla="*/ 67 h 161"/>
                <a:gd name="T30" fmla="*/ 90 w 123"/>
                <a:gd name="T31" fmla="*/ 47 h 161"/>
                <a:gd name="T32" fmla="*/ 76 w 123"/>
                <a:gd name="T33" fmla="*/ 25 h 161"/>
                <a:gd name="T34" fmla="*/ 42 w 123"/>
                <a:gd name="T35" fmla="*/ 19 h 161"/>
                <a:gd name="T36" fmla="*/ 21 w 123"/>
                <a:gd name="T37" fmla="*/ 19 h 161"/>
                <a:gd name="T38" fmla="*/ 21 w 123"/>
                <a:gd name="T39" fmla="*/ 75 h 161"/>
                <a:gd name="T40" fmla="*/ 48 w 123"/>
                <a:gd name="T41" fmla="*/ 75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3" h="161">
                  <a:moveTo>
                    <a:pt x="0" y="0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60" y="0"/>
                    <a:pt x="75" y="1"/>
                    <a:pt x="88" y="8"/>
                  </a:cubicBezTo>
                  <a:cubicBezTo>
                    <a:pt x="102" y="15"/>
                    <a:pt x="111" y="28"/>
                    <a:pt x="111" y="46"/>
                  </a:cubicBezTo>
                  <a:cubicBezTo>
                    <a:pt x="111" y="63"/>
                    <a:pt x="102" y="76"/>
                    <a:pt x="90" y="83"/>
                  </a:cubicBezTo>
                  <a:cubicBezTo>
                    <a:pt x="84" y="87"/>
                    <a:pt x="78" y="89"/>
                    <a:pt x="72" y="90"/>
                  </a:cubicBezTo>
                  <a:cubicBezTo>
                    <a:pt x="123" y="161"/>
                    <a:pt x="123" y="161"/>
                    <a:pt x="123" y="161"/>
                  </a:cubicBezTo>
                  <a:cubicBezTo>
                    <a:pt x="98" y="161"/>
                    <a:pt x="98" y="161"/>
                    <a:pt x="98" y="161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0" y="161"/>
                    <a:pt x="0" y="161"/>
                    <a:pt x="0" y="161"/>
                  </a:cubicBezTo>
                  <a:lnTo>
                    <a:pt x="0" y="0"/>
                  </a:lnTo>
                  <a:close/>
                  <a:moveTo>
                    <a:pt x="48" y="75"/>
                  </a:moveTo>
                  <a:cubicBezTo>
                    <a:pt x="63" y="75"/>
                    <a:pt x="73" y="73"/>
                    <a:pt x="80" y="67"/>
                  </a:cubicBezTo>
                  <a:cubicBezTo>
                    <a:pt x="86" y="63"/>
                    <a:pt x="90" y="56"/>
                    <a:pt x="90" y="47"/>
                  </a:cubicBezTo>
                  <a:cubicBezTo>
                    <a:pt x="90" y="37"/>
                    <a:pt x="85" y="29"/>
                    <a:pt x="76" y="25"/>
                  </a:cubicBezTo>
                  <a:cubicBezTo>
                    <a:pt x="68" y="20"/>
                    <a:pt x="58" y="19"/>
                    <a:pt x="42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75"/>
                    <a:pt x="21" y="75"/>
                    <a:pt x="21" y="75"/>
                  </a:cubicBezTo>
                  <a:lnTo>
                    <a:pt x="48" y="75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id="{D707E65B-9C32-441A-8682-09F35150E2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81713" y="406400"/>
              <a:ext cx="131763" cy="171450"/>
            </a:xfrm>
            <a:custGeom>
              <a:avLst/>
              <a:gdLst>
                <a:gd name="T0" fmla="*/ 0 w 83"/>
                <a:gd name="T1" fmla="*/ 0 h 108"/>
                <a:gd name="T2" fmla="*/ 14 w 83"/>
                <a:gd name="T3" fmla="*/ 0 h 108"/>
                <a:gd name="T4" fmla="*/ 14 w 83"/>
                <a:gd name="T5" fmla="*/ 49 h 108"/>
                <a:gd name="T6" fmla="*/ 14 w 83"/>
                <a:gd name="T7" fmla="*/ 49 h 108"/>
                <a:gd name="T8" fmla="*/ 61 w 83"/>
                <a:gd name="T9" fmla="*/ 0 h 108"/>
                <a:gd name="T10" fmla="*/ 79 w 83"/>
                <a:gd name="T11" fmla="*/ 0 h 108"/>
                <a:gd name="T12" fmla="*/ 30 w 83"/>
                <a:gd name="T13" fmla="*/ 50 h 108"/>
                <a:gd name="T14" fmla="*/ 83 w 83"/>
                <a:gd name="T15" fmla="*/ 108 h 108"/>
                <a:gd name="T16" fmla="*/ 64 w 83"/>
                <a:gd name="T17" fmla="*/ 108 h 108"/>
                <a:gd name="T18" fmla="*/ 14 w 83"/>
                <a:gd name="T19" fmla="*/ 52 h 108"/>
                <a:gd name="T20" fmla="*/ 14 w 83"/>
                <a:gd name="T21" fmla="*/ 52 h 108"/>
                <a:gd name="T22" fmla="*/ 14 w 83"/>
                <a:gd name="T23" fmla="*/ 108 h 108"/>
                <a:gd name="T24" fmla="*/ 0 w 83"/>
                <a:gd name="T25" fmla="*/ 108 h 108"/>
                <a:gd name="T26" fmla="*/ 0 w 83"/>
                <a:gd name="T27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3" h="108">
                  <a:moveTo>
                    <a:pt x="0" y="0"/>
                  </a:moveTo>
                  <a:lnTo>
                    <a:pt x="14" y="0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61" y="0"/>
                  </a:lnTo>
                  <a:lnTo>
                    <a:pt x="79" y="0"/>
                  </a:lnTo>
                  <a:lnTo>
                    <a:pt x="30" y="50"/>
                  </a:lnTo>
                  <a:lnTo>
                    <a:pt x="83" y="108"/>
                  </a:lnTo>
                  <a:lnTo>
                    <a:pt x="64" y="108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108"/>
                  </a:lnTo>
                  <a:lnTo>
                    <a:pt x="0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id="{B61E5A0B-666F-4EFF-9BB0-94AAAF440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59438" y="639763"/>
              <a:ext cx="100013" cy="171450"/>
            </a:xfrm>
            <a:custGeom>
              <a:avLst/>
              <a:gdLst>
                <a:gd name="T0" fmla="*/ 0 w 63"/>
                <a:gd name="T1" fmla="*/ 0 h 108"/>
                <a:gd name="T2" fmla="*/ 63 w 63"/>
                <a:gd name="T3" fmla="*/ 0 h 108"/>
                <a:gd name="T4" fmla="*/ 63 w 63"/>
                <a:gd name="T5" fmla="*/ 13 h 108"/>
                <a:gd name="T6" fmla="*/ 14 w 63"/>
                <a:gd name="T7" fmla="*/ 13 h 108"/>
                <a:gd name="T8" fmla="*/ 14 w 63"/>
                <a:gd name="T9" fmla="*/ 48 h 108"/>
                <a:gd name="T10" fmla="*/ 58 w 63"/>
                <a:gd name="T11" fmla="*/ 48 h 108"/>
                <a:gd name="T12" fmla="*/ 58 w 63"/>
                <a:gd name="T13" fmla="*/ 60 h 108"/>
                <a:gd name="T14" fmla="*/ 14 w 63"/>
                <a:gd name="T15" fmla="*/ 60 h 108"/>
                <a:gd name="T16" fmla="*/ 14 w 63"/>
                <a:gd name="T17" fmla="*/ 108 h 108"/>
                <a:gd name="T18" fmla="*/ 0 w 63"/>
                <a:gd name="T19" fmla="*/ 108 h 108"/>
                <a:gd name="T20" fmla="*/ 0 w 63"/>
                <a:gd name="T21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3" h="108">
                  <a:moveTo>
                    <a:pt x="0" y="0"/>
                  </a:moveTo>
                  <a:lnTo>
                    <a:pt x="63" y="0"/>
                  </a:lnTo>
                  <a:lnTo>
                    <a:pt x="63" y="13"/>
                  </a:lnTo>
                  <a:lnTo>
                    <a:pt x="14" y="13"/>
                  </a:lnTo>
                  <a:lnTo>
                    <a:pt x="14" y="48"/>
                  </a:lnTo>
                  <a:lnTo>
                    <a:pt x="58" y="48"/>
                  </a:lnTo>
                  <a:lnTo>
                    <a:pt x="58" y="60"/>
                  </a:lnTo>
                  <a:lnTo>
                    <a:pt x="14" y="60"/>
                  </a:lnTo>
                  <a:lnTo>
                    <a:pt x="14" y="108"/>
                  </a:lnTo>
                  <a:lnTo>
                    <a:pt x="0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Rectangle 17">
              <a:extLst>
                <a:ext uri="{FF2B5EF4-FFF2-40B4-BE49-F238E27FC236}">
                  <a16:creationId xmlns:a16="http://schemas.microsoft.com/office/drawing/2014/main" id="{22AFE816-98DC-4E43-9B3B-F3C53F86B29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807076" y="639763"/>
              <a:ext cx="22225" cy="171450"/>
            </a:xfrm>
            <a:prstGeom prst="rect">
              <a:avLst/>
            </a:pr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id="{85C855E3-4ECC-4A29-832A-0295B7E77A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84863" y="639763"/>
              <a:ext cx="103188" cy="171450"/>
            </a:xfrm>
            <a:custGeom>
              <a:avLst/>
              <a:gdLst>
                <a:gd name="T0" fmla="*/ 0 w 65"/>
                <a:gd name="T1" fmla="*/ 0 h 108"/>
                <a:gd name="T2" fmla="*/ 14 w 65"/>
                <a:gd name="T3" fmla="*/ 0 h 108"/>
                <a:gd name="T4" fmla="*/ 14 w 65"/>
                <a:gd name="T5" fmla="*/ 95 h 108"/>
                <a:gd name="T6" fmla="*/ 65 w 65"/>
                <a:gd name="T7" fmla="*/ 95 h 108"/>
                <a:gd name="T8" fmla="*/ 65 w 65"/>
                <a:gd name="T9" fmla="*/ 108 h 108"/>
                <a:gd name="T10" fmla="*/ 0 w 65"/>
                <a:gd name="T11" fmla="*/ 108 h 108"/>
                <a:gd name="T12" fmla="*/ 0 w 65"/>
                <a:gd name="T13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108">
                  <a:moveTo>
                    <a:pt x="0" y="0"/>
                  </a:moveTo>
                  <a:lnTo>
                    <a:pt x="14" y="0"/>
                  </a:lnTo>
                  <a:lnTo>
                    <a:pt x="14" y="95"/>
                  </a:lnTo>
                  <a:lnTo>
                    <a:pt x="65" y="95"/>
                  </a:lnTo>
                  <a:lnTo>
                    <a:pt x="65" y="108"/>
                  </a:lnTo>
                  <a:lnTo>
                    <a:pt x="0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id="{3463165B-F8AA-4158-BA7B-7334A89A89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26151" y="639763"/>
              <a:ext cx="165100" cy="171450"/>
            </a:xfrm>
            <a:custGeom>
              <a:avLst/>
              <a:gdLst>
                <a:gd name="T0" fmla="*/ 42 w 155"/>
                <a:gd name="T1" fmla="*/ 67 h 161"/>
                <a:gd name="T2" fmla="*/ 21 w 155"/>
                <a:gd name="T3" fmla="*/ 36 h 161"/>
                <a:gd name="T4" fmla="*/ 20 w 155"/>
                <a:gd name="T5" fmla="*/ 36 h 161"/>
                <a:gd name="T6" fmla="*/ 21 w 155"/>
                <a:gd name="T7" fmla="*/ 71 h 161"/>
                <a:gd name="T8" fmla="*/ 21 w 155"/>
                <a:gd name="T9" fmla="*/ 161 h 161"/>
                <a:gd name="T10" fmla="*/ 0 w 155"/>
                <a:gd name="T11" fmla="*/ 161 h 161"/>
                <a:gd name="T12" fmla="*/ 0 w 155"/>
                <a:gd name="T13" fmla="*/ 0 h 161"/>
                <a:gd name="T14" fmla="*/ 21 w 155"/>
                <a:gd name="T15" fmla="*/ 0 h 161"/>
                <a:gd name="T16" fmla="*/ 78 w 155"/>
                <a:gd name="T17" fmla="*/ 82 h 161"/>
                <a:gd name="T18" fmla="*/ 135 w 155"/>
                <a:gd name="T19" fmla="*/ 0 h 161"/>
                <a:gd name="T20" fmla="*/ 155 w 155"/>
                <a:gd name="T21" fmla="*/ 0 h 161"/>
                <a:gd name="T22" fmla="*/ 155 w 155"/>
                <a:gd name="T23" fmla="*/ 161 h 161"/>
                <a:gd name="T24" fmla="*/ 134 w 155"/>
                <a:gd name="T25" fmla="*/ 161 h 161"/>
                <a:gd name="T26" fmla="*/ 134 w 155"/>
                <a:gd name="T27" fmla="*/ 71 h 161"/>
                <a:gd name="T28" fmla="*/ 134 w 155"/>
                <a:gd name="T29" fmla="*/ 36 h 161"/>
                <a:gd name="T30" fmla="*/ 134 w 155"/>
                <a:gd name="T31" fmla="*/ 36 h 161"/>
                <a:gd name="T32" fmla="*/ 112 w 155"/>
                <a:gd name="T33" fmla="*/ 67 h 161"/>
                <a:gd name="T34" fmla="*/ 77 w 155"/>
                <a:gd name="T35" fmla="*/ 117 h 161"/>
                <a:gd name="T36" fmla="*/ 42 w 155"/>
                <a:gd name="T37" fmla="*/ 6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61">
                  <a:moveTo>
                    <a:pt x="42" y="67"/>
                  </a:moveTo>
                  <a:cubicBezTo>
                    <a:pt x="35" y="57"/>
                    <a:pt x="28" y="46"/>
                    <a:pt x="21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45"/>
                    <a:pt x="21" y="58"/>
                    <a:pt x="21" y="71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5" y="161"/>
                    <a:pt x="155" y="161"/>
                    <a:pt x="155" y="161"/>
                  </a:cubicBezTo>
                  <a:cubicBezTo>
                    <a:pt x="134" y="161"/>
                    <a:pt x="134" y="161"/>
                    <a:pt x="134" y="161"/>
                  </a:cubicBezTo>
                  <a:cubicBezTo>
                    <a:pt x="134" y="71"/>
                    <a:pt x="134" y="71"/>
                    <a:pt x="134" y="71"/>
                  </a:cubicBezTo>
                  <a:cubicBezTo>
                    <a:pt x="134" y="58"/>
                    <a:pt x="134" y="45"/>
                    <a:pt x="134" y="36"/>
                  </a:cubicBezTo>
                  <a:cubicBezTo>
                    <a:pt x="134" y="36"/>
                    <a:pt x="134" y="36"/>
                    <a:pt x="134" y="36"/>
                  </a:cubicBezTo>
                  <a:cubicBezTo>
                    <a:pt x="127" y="46"/>
                    <a:pt x="120" y="57"/>
                    <a:pt x="112" y="67"/>
                  </a:cubicBezTo>
                  <a:cubicBezTo>
                    <a:pt x="77" y="117"/>
                    <a:pt x="77" y="117"/>
                    <a:pt x="77" y="117"/>
                  </a:cubicBezTo>
                  <a:lnTo>
                    <a:pt x="42" y="67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20">
              <a:extLst>
                <a:ext uri="{FF2B5EF4-FFF2-40B4-BE49-F238E27FC236}">
                  <a16:creationId xmlns:a16="http://schemas.microsoft.com/office/drawing/2014/main" id="{C4215318-4CE4-4477-B635-1FA44F1FF6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38488" y="171450"/>
              <a:ext cx="776288" cy="639763"/>
            </a:xfrm>
            <a:custGeom>
              <a:avLst/>
              <a:gdLst>
                <a:gd name="T0" fmla="*/ 90 w 489"/>
                <a:gd name="T1" fmla="*/ 403 h 403"/>
                <a:gd name="T2" fmla="*/ 0 w 489"/>
                <a:gd name="T3" fmla="*/ 403 h 403"/>
                <a:gd name="T4" fmla="*/ 204 w 489"/>
                <a:gd name="T5" fmla="*/ 0 h 403"/>
                <a:gd name="T6" fmla="*/ 285 w 489"/>
                <a:gd name="T7" fmla="*/ 0 h 403"/>
                <a:gd name="T8" fmla="*/ 489 w 489"/>
                <a:gd name="T9" fmla="*/ 403 h 403"/>
                <a:gd name="T10" fmla="*/ 397 w 489"/>
                <a:gd name="T11" fmla="*/ 403 h 403"/>
                <a:gd name="T12" fmla="*/ 243 w 489"/>
                <a:gd name="T13" fmla="*/ 106 h 403"/>
                <a:gd name="T14" fmla="*/ 90 w 489"/>
                <a:gd name="T15" fmla="*/ 403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9" h="403">
                  <a:moveTo>
                    <a:pt x="90" y="403"/>
                  </a:moveTo>
                  <a:lnTo>
                    <a:pt x="0" y="403"/>
                  </a:lnTo>
                  <a:lnTo>
                    <a:pt x="204" y="0"/>
                  </a:lnTo>
                  <a:lnTo>
                    <a:pt x="285" y="0"/>
                  </a:lnTo>
                  <a:lnTo>
                    <a:pt x="489" y="403"/>
                  </a:lnTo>
                  <a:lnTo>
                    <a:pt x="397" y="403"/>
                  </a:lnTo>
                  <a:lnTo>
                    <a:pt x="243" y="106"/>
                  </a:lnTo>
                  <a:lnTo>
                    <a:pt x="90" y="403"/>
                  </a:ln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21">
              <a:extLst>
                <a:ext uri="{FF2B5EF4-FFF2-40B4-BE49-F238E27FC236}">
                  <a16:creationId xmlns:a16="http://schemas.microsoft.com/office/drawing/2014/main" id="{FDFB0C5F-94BB-4D8D-A686-B6B93542A7C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11613" y="176213"/>
              <a:ext cx="538163" cy="635000"/>
            </a:xfrm>
            <a:custGeom>
              <a:avLst/>
              <a:gdLst>
                <a:gd name="T0" fmla="*/ 0 w 506"/>
                <a:gd name="T1" fmla="*/ 596 h 596"/>
                <a:gd name="T2" fmla="*/ 75 w 506"/>
                <a:gd name="T3" fmla="*/ 596 h 596"/>
                <a:gd name="T4" fmla="*/ 127 w 506"/>
                <a:gd name="T5" fmla="*/ 596 h 596"/>
                <a:gd name="T6" fmla="*/ 283 w 506"/>
                <a:gd name="T7" fmla="*/ 596 h 596"/>
                <a:gd name="T8" fmla="*/ 506 w 506"/>
                <a:gd name="T9" fmla="*/ 433 h 596"/>
                <a:gd name="T10" fmla="*/ 395 w 506"/>
                <a:gd name="T11" fmla="*/ 285 h 596"/>
                <a:gd name="T12" fmla="*/ 473 w 506"/>
                <a:gd name="T13" fmla="*/ 156 h 596"/>
                <a:gd name="T14" fmla="*/ 432 w 506"/>
                <a:gd name="T15" fmla="*/ 53 h 596"/>
                <a:gd name="T16" fmla="*/ 276 w 506"/>
                <a:gd name="T17" fmla="*/ 0 h 596"/>
                <a:gd name="T18" fmla="*/ 0 w 506"/>
                <a:gd name="T19" fmla="*/ 0 h 596"/>
                <a:gd name="T20" fmla="*/ 0 w 506"/>
                <a:gd name="T21" fmla="*/ 115 h 596"/>
                <a:gd name="T22" fmla="*/ 257 w 506"/>
                <a:gd name="T23" fmla="*/ 115 h 596"/>
                <a:gd name="T24" fmla="*/ 343 w 506"/>
                <a:gd name="T25" fmla="*/ 177 h 596"/>
                <a:gd name="T26" fmla="*/ 248 w 506"/>
                <a:gd name="T27" fmla="*/ 241 h 596"/>
                <a:gd name="T28" fmla="*/ 0 w 506"/>
                <a:gd name="T29" fmla="*/ 241 h 596"/>
                <a:gd name="T30" fmla="*/ 0 w 506"/>
                <a:gd name="T31" fmla="*/ 596 h 596"/>
                <a:gd name="T32" fmla="*/ 283 w 506"/>
                <a:gd name="T33" fmla="*/ 481 h 596"/>
                <a:gd name="T34" fmla="*/ 127 w 506"/>
                <a:gd name="T35" fmla="*/ 481 h 596"/>
                <a:gd name="T36" fmla="*/ 127 w 506"/>
                <a:gd name="T37" fmla="*/ 350 h 596"/>
                <a:gd name="T38" fmla="*/ 279 w 506"/>
                <a:gd name="T39" fmla="*/ 350 h 596"/>
                <a:gd name="T40" fmla="*/ 376 w 506"/>
                <a:gd name="T41" fmla="*/ 415 h 596"/>
                <a:gd name="T42" fmla="*/ 283 w 506"/>
                <a:gd name="T43" fmla="*/ 481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06" h="596">
                  <a:moveTo>
                    <a:pt x="0" y="596"/>
                  </a:moveTo>
                  <a:cubicBezTo>
                    <a:pt x="75" y="596"/>
                    <a:pt x="75" y="596"/>
                    <a:pt x="75" y="596"/>
                  </a:cubicBezTo>
                  <a:cubicBezTo>
                    <a:pt x="127" y="596"/>
                    <a:pt x="127" y="596"/>
                    <a:pt x="127" y="596"/>
                  </a:cubicBezTo>
                  <a:cubicBezTo>
                    <a:pt x="283" y="596"/>
                    <a:pt x="283" y="596"/>
                    <a:pt x="283" y="596"/>
                  </a:cubicBezTo>
                  <a:cubicBezTo>
                    <a:pt x="418" y="596"/>
                    <a:pt x="506" y="542"/>
                    <a:pt x="506" y="433"/>
                  </a:cubicBezTo>
                  <a:cubicBezTo>
                    <a:pt x="506" y="351"/>
                    <a:pt x="464" y="311"/>
                    <a:pt x="395" y="285"/>
                  </a:cubicBezTo>
                  <a:cubicBezTo>
                    <a:pt x="437" y="261"/>
                    <a:pt x="473" y="223"/>
                    <a:pt x="473" y="156"/>
                  </a:cubicBezTo>
                  <a:cubicBezTo>
                    <a:pt x="473" y="114"/>
                    <a:pt x="459" y="80"/>
                    <a:pt x="432" y="53"/>
                  </a:cubicBezTo>
                  <a:cubicBezTo>
                    <a:pt x="398" y="19"/>
                    <a:pt x="345" y="0"/>
                    <a:pt x="27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257" y="115"/>
                    <a:pt x="257" y="115"/>
                    <a:pt x="257" y="115"/>
                  </a:cubicBezTo>
                  <a:cubicBezTo>
                    <a:pt x="312" y="115"/>
                    <a:pt x="343" y="137"/>
                    <a:pt x="343" y="177"/>
                  </a:cubicBezTo>
                  <a:cubicBezTo>
                    <a:pt x="343" y="223"/>
                    <a:pt x="306" y="241"/>
                    <a:pt x="248" y="241"/>
                  </a:cubicBezTo>
                  <a:cubicBezTo>
                    <a:pt x="0" y="241"/>
                    <a:pt x="0" y="241"/>
                    <a:pt x="0" y="241"/>
                  </a:cubicBezTo>
                  <a:lnTo>
                    <a:pt x="0" y="596"/>
                  </a:lnTo>
                  <a:close/>
                  <a:moveTo>
                    <a:pt x="283" y="481"/>
                  </a:moveTo>
                  <a:cubicBezTo>
                    <a:pt x="127" y="481"/>
                    <a:pt x="127" y="481"/>
                    <a:pt x="127" y="481"/>
                  </a:cubicBezTo>
                  <a:cubicBezTo>
                    <a:pt x="127" y="350"/>
                    <a:pt x="127" y="350"/>
                    <a:pt x="127" y="350"/>
                  </a:cubicBezTo>
                  <a:cubicBezTo>
                    <a:pt x="279" y="350"/>
                    <a:pt x="279" y="350"/>
                    <a:pt x="279" y="350"/>
                  </a:cubicBezTo>
                  <a:cubicBezTo>
                    <a:pt x="346" y="350"/>
                    <a:pt x="376" y="375"/>
                    <a:pt x="376" y="415"/>
                  </a:cubicBezTo>
                  <a:cubicBezTo>
                    <a:pt x="376" y="461"/>
                    <a:pt x="341" y="481"/>
                    <a:pt x="283" y="481"/>
                  </a:cubicBezTo>
                  <a:close/>
                </a:path>
              </a:pathLst>
            </a:custGeom>
            <a:solidFill>
              <a:srgbClr val="E635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22">
              <a:extLst>
                <a:ext uri="{FF2B5EF4-FFF2-40B4-BE49-F238E27FC236}">
                  <a16:creationId xmlns:a16="http://schemas.microsoft.com/office/drawing/2014/main" id="{37B80D1E-1378-453F-8D10-6ADB679471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41663" y="1006475"/>
              <a:ext cx="138113" cy="160338"/>
            </a:xfrm>
            <a:custGeom>
              <a:avLst/>
              <a:gdLst>
                <a:gd name="T0" fmla="*/ 52 w 87"/>
                <a:gd name="T1" fmla="*/ 101 h 101"/>
                <a:gd name="T2" fmla="*/ 34 w 87"/>
                <a:gd name="T3" fmla="*/ 101 h 101"/>
                <a:gd name="T4" fmla="*/ 34 w 87"/>
                <a:gd name="T5" fmla="*/ 62 h 101"/>
                <a:gd name="T6" fmla="*/ 0 w 87"/>
                <a:gd name="T7" fmla="*/ 0 h 101"/>
                <a:gd name="T8" fmla="*/ 19 w 87"/>
                <a:gd name="T9" fmla="*/ 0 h 101"/>
                <a:gd name="T10" fmla="*/ 44 w 87"/>
                <a:gd name="T11" fmla="*/ 45 h 101"/>
                <a:gd name="T12" fmla="*/ 68 w 87"/>
                <a:gd name="T13" fmla="*/ 0 h 101"/>
                <a:gd name="T14" fmla="*/ 87 w 87"/>
                <a:gd name="T15" fmla="*/ 0 h 101"/>
                <a:gd name="T16" fmla="*/ 52 w 87"/>
                <a:gd name="T17" fmla="*/ 62 h 101"/>
                <a:gd name="T18" fmla="*/ 52 w 87"/>
                <a:gd name="T1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101">
                  <a:moveTo>
                    <a:pt x="52" y="101"/>
                  </a:moveTo>
                  <a:lnTo>
                    <a:pt x="34" y="101"/>
                  </a:lnTo>
                  <a:lnTo>
                    <a:pt x="34" y="62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4" y="45"/>
                  </a:lnTo>
                  <a:lnTo>
                    <a:pt x="68" y="0"/>
                  </a:lnTo>
                  <a:lnTo>
                    <a:pt x="87" y="0"/>
                  </a:lnTo>
                  <a:lnTo>
                    <a:pt x="52" y="62"/>
                  </a:lnTo>
                  <a:lnTo>
                    <a:pt x="52" y="101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23">
              <a:extLst>
                <a:ext uri="{FF2B5EF4-FFF2-40B4-BE49-F238E27FC236}">
                  <a16:creationId xmlns:a16="http://schemas.microsoft.com/office/drawing/2014/main" id="{0EA9BDD0-666E-46A9-A329-58C04B8509D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67076" y="1055688"/>
              <a:ext cx="115888" cy="114300"/>
            </a:xfrm>
            <a:custGeom>
              <a:avLst/>
              <a:gdLst>
                <a:gd name="T0" fmla="*/ 76 w 109"/>
                <a:gd name="T1" fmla="*/ 4 h 108"/>
                <a:gd name="T2" fmla="*/ 93 w 109"/>
                <a:gd name="T3" fmla="*/ 16 h 108"/>
                <a:gd name="T4" fmla="*/ 105 w 109"/>
                <a:gd name="T5" fmla="*/ 33 h 108"/>
                <a:gd name="T6" fmla="*/ 109 w 109"/>
                <a:gd name="T7" fmla="*/ 54 h 108"/>
                <a:gd name="T8" fmla="*/ 105 w 109"/>
                <a:gd name="T9" fmla="*/ 75 h 108"/>
                <a:gd name="T10" fmla="*/ 93 w 109"/>
                <a:gd name="T11" fmla="*/ 92 h 108"/>
                <a:gd name="T12" fmla="*/ 76 w 109"/>
                <a:gd name="T13" fmla="*/ 104 h 108"/>
                <a:gd name="T14" fmla="*/ 54 w 109"/>
                <a:gd name="T15" fmla="*/ 108 h 108"/>
                <a:gd name="T16" fmla="*/ 33 w 109"/>
                <a:gd name="T17" fmla="*/ 104 h 108"/>
                <a:gd name="T18" fmla="*/ 15 w 109"/>
                <a:gd name="T19" fmla="*/ 92 h 108"/>
                <a:gd name="T20" fmla="*/ 4 w 109"/>
                <a:gd name="T21" fmla="*/ 75 h 108"/>
                <a:gd name="T22" fmla="*/ 0 w 109"/>
                <a:gd name="T23" fmla="*/ 54 h 108"/>
                <a:gd name="T24" fmla="*/ 4 w 109"/>
                <a:gd name="T25" fmla="*/ 33 h 108"/>
                <a:gd name="T26" fmla="*/ 15 w 109"/>
                <a:gd name="T27" fmla="*/ 16 h 108"/>
                <a:gd name="T28" fmla="*/ 33 w 109"/>
                <a:gd name="T29" fmla="*/ 4 h 108"/>
                <a:gd name="T30" fmla="*/ 54 w 109"/>
                <a:gd name="T31" fmla="*/ 0 h 108"/>
                <a:gd name="T32" fmla="*/ 76 w 109"/>
                <a:gd name="T33" fmla="*/ 4 h 108"/>
                <a:gd name="T34" fmla="*/ 66 w 109"/>
                <a:gd name="T35" fmla="*/ 81 h 108"/>
                <a:gd name="T36" fmla="*/ 75 w 109"/>
                <a:gd name="T37" fmla="*/ 75 h 108"/>
                <a:gd name="T38" fmla="*/ 81 w 109"/>
                <a:gd name="T39" fmla="*/ 65 h 108"/>
                <a:gd name="T40" fmla="*/ 83 w 109"/>
                <a:gd name="T41" fmla="*/ 54 h 108"/>
                <a:gd name="T42" fmla="*/ 81 w 109"/>
                <a:gd name="T43" fmla="*/ 42 h 108"/>
                <a:gd name="T44" fmla="*/ 75 w 109"/>
                <a:gd name="T45" fmla="*/ 33 h 108"/>
                <a:gd name="T46" fmla="*/ 66 w 109"/>
                <a:gd name="T47" fmla="*/ 27 h 108"/>
                <a:gd name="T48" fmla="*/ 54 w 109"/>
                <a:gd name="T49" fmla="*/ 24 h 108"/>
                <a:gd name="T50" fmla="*/ 43 w 109"/>
                <a:gd name="T51" fmla="*/ 27 h 108"/>
                <a:gd name="T52" fmla="*/ 34 w 109"/>
                <a:gd name="T53" fmla="*/ 33 h 108"/>
                <a:gd name="T54" fmla="*/ 28 w 109"/>
                <a:gd name="T55" fmla="*/ 42 h 108"/>
                <a:gd name="T56" fmla="*/ 26 w 109"/>
                <a:gd name="T57" fmla="*/ 54 h 108"/>
                <a:gd name="T58" fmla="*/ 28 w 109"/>
                <a:gd name="T59" fmla="*/ 65 h 108"/>
                <a:gd name="T60" fmla="*/ 34 w 109"/>
                <a:gd name="T61" fmla="*/ 75 h 108"/>
                <a:gd name="T62" fmla="*/ 43 w 109"/>
                <a:gd name="T63" fmla="*/ 81 h 108"/>
                <a:gd name="T64" fmla="*/ 54 w 109"/>
                <a:gd name="T65" fmla="*/ 84 h 108"/>
                <a:gd name="T66" fmla="*/ 66 w 109"/>
                <a:gd name="T67" fmla="*/ 8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" h="108">
                  <a:moveTo>
                    <a:pt x="76" y="4"/>
                  </a:moveTo>
                  <a:cubicBezTo>
                    <a:pt x="82" y="7"/>
                    <a:pt x="88" y="11"/>
                    <a:pt x="93" y="16"/>
                  </a:cubicBezTo>
                  <a:cubicBezTo>
                    <a:pt x="98" y="21"/>
                    <a:pt x="102" y="26"/>
                    <a:pt x="105" y="33"/>
                  </a:cubicBezTo>
                  <a:cubicBezTo>
                    <a:pt x="108" y="39"/>
                    <a:pt x="109" y="46"/>
                    <a:pt x="109" y="54"/>
                  </a:cubicBezTo>
                  <a:cubicBezTo>
                    <a:pt x="109" y="61"/>
                    <a:pt x="108" y="69"/>
                    <a:pt x="105" y="75"/>
                  </a:cubicBezTo>
                  <a:cubicBezTo>
                    <a:pt x="102" y="82"/>
                    <a:pt x="98" y="87"/>
                    <a:pt x="93" y="92"/>
                  </a:cubicBezTo>
                  <a:cubicBezTo>
                    <a:pt x="88" y="97"/>
                    <a:pt x="82" y="101"/>
                    <a:pt x="76" y="104"/>
                  </a:cubicBezTo>
                  <a:cubicBezTo>
                    <a:pt x="69" y="106"/>
                    <a:pt x="62" y="108"/>
                    <a:pt x="54" y="108"/>
                  </a:cubicBezTo>
                  <a:cubicBezTo>
                    <a:pt x="47" y="108"/>
                    <a:pt x="40" y="106"/>
                    <a:pt x="33" y="104"/>
                  </a:cubicBezTo>
                  <a:cubicBezTo>
                    <a:pt x="26" y="101"/>
                    <a:pt x="20" y="97"/>
                    <a:pt x="15" y="92"/>
                  </a:cubicBezTo>
                  <a:cubicBezTo>
                    <a:pt x="11" y="87"/>
                    <a:pt x="7" y="82"/>
                    <a:pt x="4" y="75"/>
                  </a:cubicBezTo>
                  <a:cubicBezTo>
                    <a:pt x="1" y="69"/>
                    <a:pt x="0" y="61"/>
                    <a:pt x="0" y="54"/>
                  </a:cubicBezTo>
                  <a:cubicBezTo>
                    <a:pt x="0" y="46"/>
                    <a:pt x="1" y="39"/>
                    <a:pt x="4" y="33"/>
                  </a:cubicBezTo>
                  <a:cubicBezTo>
                    <a:pt x="7" y="26"/>
                    <a:pt x="11" y="21"/>
                    <a:pt x="15" y="16"/>
                  </a:cubicBezTo>
                  <a:cubicBezTo>
                    <a:pt x="20" y="11"/>
                    <a:pt x="26" y="7"/>
                    <a:pt x="33" y="4"/>
                  </a:cubicBezTo>
                  <a:cubicBezTo>
                    <a:pt x="40" y="1"/>
                    <a:pt x="47" y="0"/>
                    <a:pt x="54" y="0"/>
                  </a:cubicBezTo>
                  <a:cubicBezTo>
                    <a:pt x="62" y="0"/>
                    <a:pt x="69" y="1"/>
                    <a:pt x="76" y="4"/>
                  </a:cubicBezTo>
                  <a:close/>
                  <a:moveTo>
                    <a:pt x="66" y="81"/>
                  </a:moveTo>
                  <a:cubicBezTo>
                    <a:pt x="70" y="80"/>
                    <a:pt x="73" y="77"/>
                    <a:pt x="75" y="75"/>
                  </a:cubicBezTo>
                  <a:cubicBezTo>
                    <a:pt x="78" y="72"/>
                    <a:pt x="79" y="69"/>
                    <a:pt x="81" y="65"/>
                  </a:cubicBezTo>
                  <a:cubicBezTo>
                    <a:pt x="82" y="62"/>
                    <a:pt x="83" y="58"/>
                    <a:pt x="83" y="54"/>
                  </a:cubicBezTo>
                  <a:cubicBezTo>
                    <a:pt x="83" y="50"/>
                    <a:pt x="82" y="46"/>
                    <a:pt x="81" y="42"/>
                  </a:cubicBezTo>
                  <a:cubicBezTo>
                    <a:pt x="79" y="39"/>
                    <a:pt x="78" y="36"/>
                    <a:pt x="75" y="33"/>
                  </a:cubicBezTo>
                  <a:cubicBezTo>
                    <a:pt x="73" y="30"/>
                    <a:pt x="70" y="28"/>
                    <a:pt x="66" y="27"/>
                  </a:cubicBezTo>
                  <a:cubicBezTo>
                    <a:pt x="63" y="25"/>
                    <a:pt x="59" y="24"/>
                    <a:pt x="54" y="24"/>
                  </a:cubicBezTo>
                  <a:cubicBezTo>
                    <a:pt x="50" y="24"/>
                    <a:pt x="46" y="25"/>
                    <a:pt x="43" y="27"/>
                  </a:cubicBezTo>
                  <a:cubicBezTo>
                    <a:pt x="39" y="28"/>
                    <a:pt x="36" y="30"/>
                    <a:pt x="34" y="33"/>
                  </a:cubicBezTo>
                  <a:cubicBezTo>
                    <a:pt x="31" y="36"/>
                    <a:pt x="29" y="39"/>
                    <a:pt x="28" y="42"/>
                  </a:cubicBezTo>
                  <a:cubicBezTo>
                    <a:pt x="27" y="46"/>
                    <a:pt x="26" y="50"/>
                    <a:pt x="26" y="54"/>
                  </a:cubicBezTo>
                  <a:cubicBezTo>
                    <a:pt x="26" y="58"/>
                    <a:pt x="27" y="62"/>
                    <a:pt x="28" y="65"/>
                  </a:cubicBezTo>
                  <a:cubicBezTo>
                    <a:pt x="29" y="69"/>
                    <a:pt x="31" y="72"/>
                    <a:pt x="34" y="75"/>
                  </a:cubicBezTo>
                  <a:cubicBezTo>
                    <a:pt x="36" y="77"/>
                    <a:pt x="39" y="80"/>
                    <a:pt x="43" y="81"/>
                  </a:cubicBezTo>
                  <a:cubicBezTo>
                    <a:pt x="46" y="83"/>
                    <a:pt x="50" y="84"/>
                    <a:pt x="54" y="84"/>
                  </a:cubicBezTo>
                  <a:cubicBezTo>
                    <a:pt x="59" y="84"/>
                    <a:pt x="63" y="83"/>
                    <a:pt x="66" y="81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Freeform 24">
              <a:extLst>
                <a:ext uri="{FF2B5EF4-FFF2-40B4-BE49-F238E27FC236}">
                  <a16:creationId xmlns:a16="http://schemas.microsoft.com/office/drawing/2014/main" id="{B27EF9B8-CE88-4E8B-9FC6-9C68A802F8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14713" y="1058863"/>
              <a:ext cx="98425" cy="111125"/>
            </a:xfrm>
            <a:custGeom>
              <a:avLst/>
              <a:gdLst>
                <a:gd name="T0" fmla="*/ 24 w 93"/>
                <a:gd name="T1" fmla="*/ 102 h 105"/>
                <a:gd name="T2" fmla="*/ 12 w 93"/>
                <a:gd name="T3" fmla="*/ 95 h 105"/>
                <a:gd name="T4" fmla="*/ 3 w 93"/>
                <a:gd name="T5" fmla="*/ 83 h 105"/>
                <a:gd name="T6" fmla="*/ 0 w 93"/>
                <a:gd name="T7" fmla="*/ 66 h 105"/>
                <a:gd name="T8" fmla="*/ 0 w 93"/>
                <a:gd name="T9" fmla="*/ 0 h 105"/>
                <a:gd name="T10" fmla="*/ 26 w 93"/>
                <a:gd name="T11" fmla="*/ 0 h 105"/>
                <a:gd name="T12" fmla="*/ 26 w 93"/>
                <a:gd name="T13" fmla="*/ 59 h 105"/>
                <a:gd name="T14" fmla="*/ 31 w 93"/>
                <a:gd name="T15" fmla="*/ 76 h 105"/>
                <a:gd name="T16" fmla="*/ 47 w 93"/>
                <a:gd name="T17" fmla="*/ 81 h 105"/>
                <a:gd name="T18" fmla="*/ 55 w 93"/>
                <a:gd name="T19" fmla="*/ 79 h 105"/>
                <a:gd name="T20" fmla="*/ 62 w 93"/>
                <a:gd name="T21" fmla="*/ 74 h 105"/>
                <a:gd name="T22" fmla="*/ 67 w 93"/>
                <a:gd name="T23" fmla="*/ 68 h 105"/>
                <a:gd name="T24" fmla="*/ 67 w 93"/>
                <a:gd name="T25" fmla="*/ 0 h 105"/>
                <a:gd name="T26" fmla="*/ 93 w 93"/>
                <a:gd name="T27" fmla="*/ 0 h 105"/>
                <a:gd name="T28" fmla="*/ 93 w 93"/>
                <a:gd name="T29" fmla="*/ 102 h 105"/>
                <a:gd name="T30" fmla="*/ 69 w 93"/>
                <a:gd name="T31" fmla="*/ 102 h 105"/>
                <a:gd name="T32" fmla="*/ 69 w 93"/>
                <a:gd name="T33" fmla="*/ 87 h 105"/>
                <a:gd name="T34" fmla="*/ 61 w 93"/>
                <a:gd name="T35" fmla="*/ 96 h 105"/>
                <a:gd name="T36" fmla="*/ 52 w 93"/>
                <a:gd name="T37" fmla="*/ 102 h 105"/>
                <a:gd name="T38" fmla="*/ 38 w 93"/>
                <a:gd name="T39" fmla="*/ 105 h 105"/>
                <a:gd name="T40" fmla="*/ 24 w 93"/>
                <a:gd name="T41" fmla="*/ 102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" h="105">
                  <a:moveTo>
                    <a:pt x="24" y="102"/>
                  </a:moveTo>
                  <a:cubicBezTo>
                    <a:pt x="19" y="101"/>
                    <a:pt x="15" y="98"/>
                    <a:pt x="12" y="95"/>
                  </a:cubicBezTo>
                  <a:cubicBezTo>
                    <a:pt x="8" y="91"/>
                    <a:pt x="5" y="87"/>
                    <a:pt x="3" y="83"/>
                  </a:cubicBezTo>
                  <a:cubicBezTo>
                    <a:pt x="1" y="78"/>
                    <a:pt x="0" y="72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7"/>
                    <a:pt x="28" y="72"/>
                    <a:pt x="31" y="76"/>
                  </a:cubicBezTo>
                  <a:cubicBezTo>
                    <a:pt x="35" y="79"/>
                    <a:pt x="40" y="81"/>
                    <a:pt x="47" y="81"/>
                  </a:cubicBezTo>
                  <a:cubicBezTo>
                    <a:pt x="50" y="81"/>
                    <a:pt x="53" y="80"/>
                    <a:pt x="55" y="79"/>
                  </a:cubicBezTo>
                  <a:cubicBezTo>
                    <a:pt x="58" y="77"/>
                    <a:pt x="60" y="76"/>
                    <a:pt x="62" y="74"/>
                  </a:cubicBezTo>
                  <a:cubicBezTo>
                    <a:pt x="64" y="72"/>
                    <a:pt x="65" y="70"/>
                    <a:pt x="67" y="68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69" y="102"/>
                    <a:pt x="69" y="102"/>
                    <a:pt x="69" y="102"/>
                  </a:cubicBezTo>
                  <a:cubicBezTo>
                    <a:pt x="69" y="87"/>
                    <a:pt x="69" y="87"/>
                    <a:pt x="69" y="87"/>
                  </a:cubicBezTo>
                  <a:cubicBezTo>
                    <a:pt x="67" y="91"/>
                    <a:pt x="64" y="94"/>
                    <a:pt x="61" y="96"/>
                  </a:cubicBezTo>
                  <a:cubicBezTo>
                    <a:pt x="59" y="98"/>
                    <a:pt x="55" y="100"/>
                    <a:pt x="52" y="102"/>
                  </a:cubicBezTo>
                  <a:cubicBezTo>
                    <a:pt x="48" y="104"/>
                    <a:pt x="43" y="105"/>
                    <a:pt x="38" y="105"/>
                  </a:cubicBezTo>
                  <a:cubicBezTo>
                    <a:pt x="33" y="105"/>
                    <a:pt x="28" y="104"/>
                    <a:pt x="24" y="102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25">
              <a:extLst>
                <a:ext uri="{FF2B5EF4-FFF2-40B4-BE49-F238E27FC236}">
                  <a16:creationId xmlns:a16="http://schemas.microsoft.com/office/drawing/2014/main" id="{BB44DDD1-3950-4C71-A6FC-647B4122E0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2826" y="1055688"/>
              <a:ext cx="74613" cy="111125"/>
            </a:xfrm>
            <a:custGeom>
              <a:avLst/>
              <a:gdLst>
                <a:gd name="T0" fmla="*/ 59 w 70"/>
                <a:gd name="T1" fmla="*/ 1 h 105"/>
                <a:gd name="T2" fmla="*/ 65 w 70"/>
                <a:gd name="T3" fmla="*/ 2 h 105"/>
                <a:gd name="T4" fmla="*/ 70 w 70"/>
                <a:gd name="T5" fmla="*/ 3 h 105"/>
                <a:gd name="T6" fmla="*/ 61 w 70"/>
                <a:gd name="T7" fmla="*/ 27 h 105"/>
                <a:gd name="T8" fmla="*/ 58 w 70"/>
                <a:gd name="T9" fmla="*/ 25 h 105"/>
                <a:gd name="T10" fmla="*/ 54 w 70"/>
                <a:gd name="T11" fmla="*/ 25 h 105"/>
                <a:gd name="T12" fmla="*/ 49 w 70"/>
                <a:gd name="T13" fmla="*/ 24 h 105"/>
                <a:gd name="T14" fmla="*/ 39 w 70"/>
                <a:gd name="T15" fmla="*/ 26 h 105"/>
                <a:gd name="T16" fmla="*/ 32 w 70"/>
                <a:gd name="T17" fmla="*/ 31 h 105"/>
                <a:gd name="T18" fmla="*/ 26 w 70"/>
                <a:gd name="T19" fmla="*/ 38 h 105"/>
                <a:gd name="T20" fmla="*/ 26 w 70"/>
                <a:gd name="T21" fmla="*/ 105 h 105"/>
                <a:gd name="T22" fmla="*/ 0 w 70"/>
                <a:gd name="T23" fmla="*/ 105 h 105"/>
                <a:gd name="T24" fmla="*/ 0 w 70"/>
                <a:gd name="T25" fmla="*/ 3 h 105"/>
                <a:gd name="T26" fmla="*/ 25 w 70"/>
                <a:gd name="T27" fmla="*/ 3 h 105"/>
                <a:gd name="T28" fmla="*/ 25 w 70"/>
                <a:gd name="T29" fmla="*/ 18 h 105"/>
                <a:gd name="T30" fmla="*/ 32 w 70"/>
                <a:gd name="T31" fmla="*/ 9 h 105"/>
                <a:gd name="T32" fmla="*/ 40 w 70"/>
                <a:gd name="T33" fmla="*/ 3 h 105"/>
                <a:gd name="T34" fmla="*/ 53 w 70"/>
                <a:gd name="T35" fmla="*/ 0 h 105"/>
                <a:gd name="T36" fmla="*/ 59 w 70"/>
                <a:gd name="T37" fmla="*/ 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0" h="105">
                  <a:moveTo>
                    <a:pt x="59" y="1"/>
                  </a:moveTo>
                  <a:cubicBezTo>
                    <a:pt x="62" y="1"/>
                    <a:pt x="63" y="1"/>
                    <a:pt x="65" y="2"/>
                  </a:cubicBezTo>
                  <a:cubicBezTo>
                    <a:pt x="67" y="2"/>
                    <a:pt x="69" y="3"/>
                    <a:pt x="70" y="3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0" y="26"/>
                    <a:pt x="59" y="26"/>
                    <a:pt x="58" y="25"/>
                  </a:cubicBezTo>
                  <a:cubicBezTo>
                    <a:pt x="57" y="25"/>
                    <a:pt x="56" y="25"/>
                    <a:pt x="54" y="25"/>
                  </a:cubicBezTo>
                  <a:cubicBezTo>
                    <a:pt x="53" y="24"/>
                    <a:pt x="51" y="24"/>
                    <a:pt x="49" y="24"/>
                  </a:cubicBezTo>
                  <a:cubicBezTo>
                    <a:pt x="45" y="24"/>
                    <a:pt x="42" y="25"/>
                    <a:pt x="39" y="26"/>
                  </a:cubicBezTo>
                  <a:cubicBezTo>
                    <a:pt x="36" y="28"/>
                    <a:pt x="33" y="29"/>
                    <a:pt x="32" y="31"/>
                  </a:cubicBezTo>
                  <a:cubicBezTo>
                    <a:pt x="29" y="33"/>
                    <a:pt x="27" y="36"/>
                    <a:pt x="26" y="38"/>
                  </a:cubicBezTo>
                  <a:cubicBezTo>
                    <a:pt x="26" y="105"/>
                    <a:pt x="26" y="105"/>
                    <a:pt x="26" y="105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7" y="14"/>
                    <a:pt x="29" y="11"/>
                    <a:pt x="32" y="9"/>
                  </a:cubicBezTo>
                  <a:cubicBezTo>
                    <a:pt x="34" y="7"/>
                    <a:pt x="37" y="5"/>
                    <a:pt x="40" y="3"/>
                  </a:cubicBezTo>
                  <a:cubicBezTo>
                    <a:pt x="44" y="1"/>
                    <a:pt x="48" y="0"/>
                    <a:pt x="53" y="0"/>
                  </a:cubicBezTo>
                  <a:cubicBezTo>
                    <a:pt x="55" y="0"/>
                    <a:pt x="57" y="0"/>
                    <a:pt x="59" y="1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26">
              <a:extLst>
                <a:ext uri="{FF2B5EF4-FFF2-40B4-BE49-F238E27FC236}">
                  <a16:creationId xmlns:a16="http://schemas.microsoft.com/office/drawing/2014/main" id="{B2C90030-8520-4F4B-AFF3-BE6420760C4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94113" y="1055688"/>
              <a:ext cx="111125" cy="114300"/>
            </a:xfrm>
            <a:custGeom>
              <a:avLst/>
              <a:gdLst>
                <a:gd name="T0" fmla="*/ 72 w 104"/>
                <a:gd name="T1" fmla="*/ 4 h 108"/>
                <a:gd name="T2" fmla="*/ 88 w 104"/>
                <a:gd name="T3" fmla="*/ 15 h 108"/>
                <a:gd name="T4" fmla="*/ 99 w 104"/>
                <a:gd name="T5" fmla="*/ 32 h 108"/>
                <a:gd name="T6" fmla="*/ 104 w 104"/>
                <a:gd name="T7" fmla="*/ 54 h 108"/>
                <a:gd name="T8" fmla="*/ 104 w 104"/>
                <a:gd name="T9" fmla="*/ 58 h 108"/>
                <a:gd name="T10" fmla="*/ 103 w 104"/>
                <a:gd name="T11" fmla="*/ 63 h 108"/>
                <a:gd name="T12" fmla="*/ 27 w 104"/>
                <a:gd name="T13" fmla="*/ 63 h 108"/>
                <a:gd name="T14" fmla="*/ 30 w 104"/>
                <a:gd name="T15" fmla="*/ 70 h 108"/>
                <a:gd name="T16" fmla="*/ 36 w 104"/>
                <a:gd name="T17" fmla="*/ 77 h 108"/>
                <a:gd name="T18" fmla="*/ 44 w 104"/>
                <a:gd name="T19" fmla="*/ 82 h 108"/>
                <a:gd name="T20" fmla="*/ 55 w 104"/>
                <a:gd name="T21" fmla="*/ 84 h 108"/>
                <a:gd name="T22" fmla="*/ 67 w 104"/>
                <a:gd name="T23" fmla="*/ 82 h 108"/>
                <a:gd name="T24" fmla="*/ 76 w 104"/>
                <a:gd name="T25" fmla="*/ 79 h 108"/>
                <a:gd name="T26" fmla="*/ 84 w 104"/>
                <a:gd name="T27" fmla="*/ 74 h 108"/>
                <a:gd name="T28" fmla="*/ 97 w 104"/>
                <a:gd name="T29" fmla="*/ 93 h 108"/>
                <a:gd name="T30" fmla="*/ 85 w 104"/>
                <a:gd name="T31" fmla="*/ 101 h 108"/>
                <a:gd name="T32" fmla="*/ 72 w 104"/>
                <a:gd name="T33" fmla="*/ 106 h 108"/>
                <a:gd name="T34" fmla="*/ 55 w 104"/>
                <a:gd name="T35" fmla="*/ 108 h 108"/>
                <a:gd name="T36" fmla="*/ 34 w 104"/>
                <a:gd name="T37" fmla="*/ 104 h 108"/>
                <a:gd name="T38" fmla="*/ 16 w 104"/>
                <a:gd name="T39" fmla="*/ 92 h 108"/>
                <a:gd name="T40" fmla="*/ 4 w 104"/>
                <a:gd name="T41" fmla="*/ 75 h 108"/>
                <a:gd name="T42" fmla="*/ 0 w 104"/>
                <a:gd name="T43" fmla="*/ 54 h 108"/>
                <a:gd name="T44" fmla="*/ 4 w 104"/>
                <a:gd name="T45" fmla="*/ 33 h 108"/>
                <a:gd name="T46" fmla="*/ 15 w 104"/>
                <a:gd name="T47" fmla="*/ 16 h 108"/>
                <a:gd name="T48" fmla="*/ 31 w 104"/>
                <a:gd name="T49" fmla="*/ 4 h 108"/>
                <a:gd name="T50" fmla="*/ 52 w 104"/>
                <a:gd name="T51" fmla="*/ 0 h 108"/>
                <a:gd name="T52" fmla="*/ 72 w 104"/>
                <a:gd name="T53" fmla="*/ 4 h 108"/>
                <a:gd name="T54" fmla="*/ 78 w 104"/>
                <a:gd name="T55" fmla="*/ 44 h 108"/>
                <a:gd name="T56" fmla="*/ 76 w 104"/>
                <a:gd name="T57" fmla="*/ 38 h 108"/>
                <a:gd name="T58" fmla="*/ 71 w 104"/>
                <a:gd name="T59" fmla="*/ 31 h 108"/>
                <a:gd name="T60" fmla="*/ 63 w 104"/>
                <a:gd name="T61" fmla="*/ 26 h 108"/>
                <a:gd name="T62" fmla="*/ 52 w 104"/>
                <a:gd name="T63" fmla="*/ 24 h 108"/>
                <a:gd name="T64" fmla="*/ 41 w 104"/>
                <a:gd name="T65" fmla="*/ 26 h 108"/>
                <a:gd name="T66" fmla="*/ 33 w 104"/>
                <a:gd name="T67" fmla="*/ 31 h 108"/>
                <a:gd name="T68" fmla="*/ 29 w 104"/>
                <a:gd name="T69" fmla="*/ 37 h 108"/>
                <a:gd name="T70" fmla="*/ 27 w 104"/>
                <a:gd name="T71" fmla="*/ 44 h 108"/>
                <a:gd name="T72" fmla="*/ 78 w 104"/>
                <a:gd name="T73" fmla="*/ 4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4" h="108">
                  <a:moveTo>
                    <a:pt x="72" y="4"/>
                  </a:moveTo>
                  <a:cubicBezTo>
                    <a:pt x="78" y="7"/>
                    <a:pt x="84" y="10"/>
                    <a:pt x="88" y="15"/>
                  </a:cubicBezTo>
                  <a:cubicBezTo>
                    <a:pt x="93" y="20"/>
                    <a:pt x="97" y="25"/>
                    <a:pt x="99" y="32"/>
                  </a:cubicBezTo>
                  <a:cubicBezTo>
                    <a:pt x="102" y="38"/>
                    <a:pt x="104" y="46"/>
                    <a:pt x="104" y="54"/>
                  </a:cubicBezTo>
                  <a:cubicBezTo>
                    <a:pt x="104" y="55"/>
                    <a:pt x="104" y="56"/>
                    <a:pt x="104" y="58"/>
                  </a:cubicBezTo>
                  <a:cubicBezTo>
                    <a:pt x="104" y="59"/>
                    <a:pt x="103" y="61"/>
                    <a:pt x="103" y="63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7" y="66"/>
                    <a:pt x="28" y="68"/>
                    <a:pt x="30" y="70"/>
                  </a:cubicBezTo>
                  <a:cubicBezTo>
                    <a:pt x="31" y="73"/>
                    <a:pt x="33" y="75"/>
                    <a:pt x="36" y="77"/>
                  </a:cubicBezTo>
                  <a:cubicBezTo>
                    <a:pt x="38" y="79"/>
                    <a:pt x="41" y="81"/>
                    <a:pt x="44" y="82"/>
                  </a:cubicBezTo>
                  <a:cubicBezTo>
                    <a:pt x="48" y="83"/>
                    <a:pt x="51" y="84"/>
                    <a:pt x="55" y="84"/>
                  </a:cubicBezTo>
                  <a:cubicBezTo>
                    <a:pt x="60" y="84"/>
                    <a:pt x="64" y="84"/>
                    <a:pt x="67" y="82"/>
                  </a:cubicBezTo>
                  <a:cubicBezTo>
                    <a:pt x="71" y="81"/>
                    <a:pt x="74" y="80"/>
                    <a:pt x="76" y="79"/>
                  </a:cubicBezTo>
                  <a:cubicBezTo>
                    <a:pt x="79" y="77"/>
                    <a:pt x="82" y="76"/>
                    <a:pt x="84" y="74"/>
                  </a:cubicBezTo>
                  <a:cubicBezTo>
                    <a:pt x="97" y="93"/>
                    <a:pt x="97" y="93"/>
                    <a:pt x="97" y="93"/>
                  </a:cubicBezTo>
                  <a:cubicBezTo>
                    <a:pt x="93" y="96"/>
                    <a:pt x="90" y="98"/>
                    <a:pt x="85" y="101"/>
                  </a:cubicBezTo>
                  <a:cubicBezTo>
                    <a:pt x="82" y="102"/>
                    <a:pt x="77" y="104"/>
                    <a:pt x="72" y="106"/>
                  </a:cubicBezTo>
                  <a:cubicBezTo>
                    <a:pt x="67" y="107"/>
                    <a:pt x="62" y="108"/>
                    <a:pt x="55" y="108"/>
                  </a:cubicBezTo>
                  <a:cubicBezTo>
                    <a:pt x="48" y="108"/>
                    <a:pt x="40" y="106"/>
                    <a:pt x="34" y="104"/>
                  </a:cubicBezTo>
                  <a:cubicBezTo>
                    <a:pt x="27" y="101"/>
                    <a:pt x="21" y="97"/>
                    <a:pt x="16" y="92"/>
                  </a:cubicBezTo>
                  <a:cubicBezTo>
                    <a:pt x="11" y="87"/>
                    <a:pt x="7" y="82"/>
                    <a:pt x="4" y="75"/>
                  </a:cubicBezTo>
                  <a:cubicBezTo>
                    <a:pt x="2" y="69"/>
                    <a:pt x="0" y="61"/>
                    <a:pt x="0" y="54"/>
                  </a:cubicBezTo>
                  <a:cubicBezTo>
                    <a:pt x="0" y="46"/>
                    <a:pt x="2" y="39"/>
                    <a:pt x="4" y="33"/>
                  </a:cubicBezTo>
                  <a:cubicBezTo>
                    <a:pt x="7" y="26"/>
                    <a:pt x="10" y="21"/>
                    <a:pt x="15" y="16"/>
                  </a:cubicBezTo>
                  <a:cubicBezTo>
                    <a:pt x="19" y="11"/>
                    <a:pt x="25" y="7"/>
                    <a:pt x="31" y="4"/>
                  </a:cubicBezTo>
                  <a:cubicBezTo>
                    <a:pt x="38" y="1"/>
                    <a:pt x="44" y="0"/>
                    <a:pt x="52" y="0"/>
                  </a:cubicBezTo>
                  <a:cubicBezTo>
                    <a:pt x="59" y="0"/>
                    <a:pt x="66" y="1"/>
                    <a:pt x="72" y="4"/>
                  </a:cubicBezTo>
                  <a:close/>
                  <a:moveTo>
                    <a:pt x="78" y="44"/>
                  </a:moveTo>
                  <a:cubicBezTo>
                    <a:pt x="77" y="42"/>
                    <a:pt x="77" y="40"/>
                    <a:pt x="76" y="38"/>
                  </a:cubicBezTo>
                  <a:cubicBezTo>
                    <a:pt x="75" y="35"/>
                    <a:pt x="73" y="33"/>
                    <a:pt x="71" y="31"/>
                  </a:cubicBezTo>
                  <a:cubicBezTo>
                    <a:pt x="69" y="29"/>
                    <a:pt x="66" y="27"/>
                    <a:pt x="63" y="26"/>
                  </a:cubicBezTo>
                  <a:cubicBezTo>
                    <a:pt x="60" y="24"/>
                    <a:pt x="56" y="24"/>
                    <a:pt x="52" y="24"/>
                  </a:cubicBezTo>
                  <a:cubicBezTo>
                    <a:pt x="48" y="24"/>
                    <a:pt x="44" y="24"/>
                    <a:pt x="41" y="26"/>
                  </a:cubicBezTo>
                  <a:cubicBezTo>
                    <a:pt x="38" y="27"/>
                    <a:pt x="35" y="29"/>
                    <a:pt x="33" y="31"/>
                  </a:cubicBezTo>
                  <a:cubicBezTo>
                    <a:pt x="31" y="33"/>
                    <a:pt x="30" y="35"/>
                    <a:pt x="29" y="37"/>
                  </a:cubicBezTo>
                  <a:cubicBezTo>
                    <a:pt x="28" y="40"/>
                    <a:pt x="27" y="42"/>
                    <a:pt x="27" y="44"/>
                  </a:cubicBezTo>
                  <a:lnTo>
                    <a:pt x="78" y="44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27">
              <a:extLst>
                <a:ext uri="{FF2B5EF4-FFF2-40B4-BE49-F238E27FC236}">
                  <a16:creationId xmlns:a16="http://schemas.microsoft.com/office/drawing/2014/main" id="{50988FCC-C277-48E2-B04E-7FB14BDD10B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830638" y="1055688"/>
              <a:ext cx="100013" cy="114300"/>
            </a:xfrm>
            <a:custGeom>
              <a:avLst/>
              <a:gdLst>
                <a:gd name="T0" fmla="*/ 83 w 95"/>
                <a:gd name="T1" fmla="*/ 10 h 108"/>
                <a:gd name="T2" fmla="*/ 95 w 95"/>
                <a:gd name="T3" fmla="*/ 38 h 108"/>
                <a:gd name="T4" fmla="*/ 95 w 95"/>
                <a:gd name="T5" fmla="*/ 105 h 108"/>
                <a:gd name="T6" fmla="*/ 71 w 95"/>
                <a:gd name="T7" fmla="*/ 105 h 108"/>
                <a:gd name="T8" fmla="*/ 71 w 95"/>
                <a:gd name="T9" fmla="*/ 92 h 108"/>
                <a:gd name="T10" fmla="*/ 63 w 95"/>
                <a:gd name="T11" fmla="*/ 100 h 108"/>
                <a:gd name="T12" fmla="*/ 52 w 95"/>
                <a:gd name="T13" fmla="*/ 106 h 108"/>
                <a:gd name="T14" fmla="*/ 37 w 95"/>
                <a:gd name="T15" fmla="*/ 108 h 108"/>
                <a:gd name="T16" fmla="*/ 23 w 95"/>
                <a:gd name="T17" fmla="*/ 106 h 108"/>
                <a:gd name="T18" fmla="*/ 11 w 95"/>
                <a:gd name="T19" fmla="*/ 99 h 108"/>
                <a:gd name="T20" fmla="*/ 3 w 95"/>
                <a:gd name="T21" fmla="*/ 88 h 108"/>
                <a:gd name="T22" fmla="*/ 0 w 95"/>
                <a:gd name="T23" fmla="*/ 73 h 108"/>
                <a:gd name="T24" fmla="*/ 3 w 95"/>
                <a:gd name="T25" fmla="*/ 60 h 108"/>
                <a:gd name="T26" fmla="*/ 12 w 95"/>
                <a:gd name="T27" fmla="*/ 49 h 108"/>
                <a:gd name="T28" fmla="*/ 25 w 95"/>
                <a:gd name="T29" fmla="*/ 42 h 108"/>
                <a:gd name="T30" fmla="*/ 40 w 95"/>
                <a:gd name="T31" fmla="*/ 39 h 108"/>
                <a:gd name="T32" fmla="*/ 53 w 95"/>
                <a:gd name="T33" fmla="*/ 41 h 108"/>
                <a:gd name="T34" fmla="*/ 62 w 95"/>
                <a:gd name="T35" fmla="*/ 43 h 108"/>
                <a:gd name="T36" fmla="*/ 69 w 95"/>
                <a:gd name="T37" fmla="*/ 47 h 108"/>
                <a:gd name="T38" fmla="*/ 69 w 95"/>
                <a:gd name="T39" fmla="*/ 41 h 108"/>
                <a:gd name="T40" fmla="*/ 67 w 95"/>
                <a:gd name="T41" fmla="*/ 33 h 108"/>
                <a:gd name="T42" fmla="*/ 61 w 95"/>
                <a:gd name="T43" fmla="*/ 27 h 108"/>
                <a:gd name="T44" fmla="*/ 54 w 95"/>
                <a:gd name="T45" fmla="*/ 24 h 108"/>
                <a:gd name="T46" fmla="*/ 47 w 95"/>
                <a:gd name="T47" fmla="*/ 23 h 108"/>
                <a:gd name="T48" fmla="*/ 36 w 95"/>
                <a:gd name="T49" fmla="*/ 24 h 108"/>
                <a:gd name="T50" fmla="*/ 26 w 95"/>
                <a:gd name="T51" fmla="*/ 27 h 108"/>
                <a:gd name="T52" fmla="*/ 16 w 95"/>
                <a:gd name="T53" fmla="*/ 31 h 108"/>
                <a:gd name="T54" fmla="*/ 8 w 95"/>
                <a:gd name="T55" fmla="*/ 9 h 108"/>
                <a:gd name="T56" fmla="*/ 20 w 95"/>
                <a:gd name="T57" fmla="*/ 5 h 108"/>
                <a:gd name="T58" fmla="*/ 33 w 95"/>
                <a:gd name="T59" fmla="*/ 1 h 108"/>
                <a:gd name="T60" fmla="*/ 48 w 95"/>
                <a:gd name="T61" fmla="*/ 0 h 108"/>
                <a:gd name="T62" fmla="*/ 83 w 95"/>
                <a:gd name="T63" fmla="*/ 10 h 108"/>
                <a:gd name="T64" fmla="*/ 55 w 95"/>
                <a:gd name="T65" fmla="*/ 84 h 108"/>
                <a:gd name="T66" fmla="*/ 63 w 95"/>
                <a:gd name="T67" fmla="*/ 80 h 108"/>
                <a:gd name="T68" fmla="*/ 69 w 95"/>
                <a:gd name="T69" fmla="*/ 74 h 108"/>
                <a:gd name="T70" fmla="*/ 69 w 95"/>
                <a:gd name="T71" fmla="*/ 64 h 108"/>
                <a:gd name="T72" fmla="*/ 62 w 95"/>
                <a:gd name="T73" fmla="*/ 61 h 108"/>
                <a:gd name="T74" fmla="*/ 55 w 95"/>
                <a:gd name="T75" fmla="*/ 59 h 108"/>
                <a:gd name="T76" fmla="*/ 45 w 95"/>
                <a:gd name="T77" fmla="*/ 59 h 108"/>
                <a:gd name="T78" fmla="*/ 39 w 95"/>
                <a:gd name="T79" fmla="*/ 59 h 108"/>
                <a:gd name="T80" fmla="*/ 33 w 95"/>
                <a:gd name="T81" fmla="*/ 62 h 108"/>
                <a:gd name="T82" fmla="*/ 28 w 95"/>
                <a:gd name="T83" fmla="*/ 66 h 108"/>
                <a:gd name="T84" fmla="*/ 26 w 95"/>
                <a:gd name="T85" fmla="*/ 73 h 108"/>
                <a:gd name="T86" fmla="*/ 28 w 95"/>
                <a:gd name="T87" fmla="*/ 80 h 108"/>
                <a:gd name="T88" fmla="*/ 33 w 95"/>
                <a:gd name="T89" fmla="*/ 84 h 108"/>
                <a:gd name="T90" fmla="*/ 39 w 95"/>
                <a:gd name="T91" fmla="*/ 86 h 108"/>
                <a:gd name="T92" fmla="*/ 45 w 95"/>
                <a:gd name="T93" fmla="*/ 86 h 108"/>
                <a:gd name="T94" fmla="*/ 55 w 95"/>
                <a:gd name="T95" fmla="*/ 8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5" h="108">
                  <a:moveTo>
                    <a:pt x="83" y="10"/>
                  </a:moveTo>
                  <a:cubicBezTo>
                    <a:pt x="91" y="17"/>
                    <a:pt x="95" y="27"/>
                    <a:pt x="95" y="38"/>
                  </a:cubicBezTo>
                  <a:cubicBezTo>
                    <a:pt x="95" y="105"/>
                    <a:pt x="95" y="105"/>
                    <a:pt x="95" y="105"/>
                  </a:cubicBezTo>
                  <a:cubicBezTo>
                    <a:pt x="71" y="105"/>
                    <a:pt x="71" y="105"/>
                    <a:pt x="71" y="105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9" y="95"/>
                    <a:pt x="66" y="98"/>
                    <a:pt x="63" y="100"/>
                  </a:cubicBezTo>
                  <a:cubicBezTo>
                    <a:pt x="60" y="102"/>
                    <a:pt x="56" y="104"/>
                    <a:pt x="52" y="106"/>
                  </a:cubicBezTo>
                  <a:cubicBezTo>
                    <a:pt x="48" y="107"/>
                    <a:pt x="43" y="108"/>
                    <a:pt x="37" y="108"/>
                  </a:cubicBezTo>
                  <a:cubicBezTo>
                    <a:pt x="32" y="108"/>
                    <a:pt x="28" y="107"/>
                    <a:pt x="23" y="106"/>
                  </a:cubicBezTo>
                  <a:cubicBezTo>
                    <a:pt x="19" y="104"/>
                    <a:pt x="15" y="102"/>
                    <a:pt x="11" y="99"/>
                  </a:cubicBezTo>
                  <a:cubicBezTo>
                    <a:pt x="8" y="96"/>
                    <a:pt x="5" y="92"/>
                    <a:pt x="3" y="88"/>
                  </a:cubicBezTo>
                  <a:cubicBezTo>
                    <a:pt x="1" y="84"/>
                    <a:pt x="0" y="79"/>
                    <a:pt x="0" y="73"/>
                  </a:cubicBezTo>
                  <a:cubicBezTo>
                    <a:pt x="0" y="69"/>
                    <a:pt x="1" y="64"/>
                    <a:pt x="3" y="60"/>
                  </a:cubicBezTo>
                  <a:cubicBezTo>
                    <a:pt x="5" y="56"/>
                    <a:pt x="8" y="52"/>
                    <a:pt x="12" y="49"/>
                  </a:cubicBezTo>
                  <a:cubicBezTo>
                    <a:pt x="15" y="46"/>
                    <a:pt x="20" y="44"/>
                    <a:pt x="25" y="42"/>
                  </a:cubicBezTo>
                  <a:cubicBezTo>
                    <a:pt x="29" y="40"/>
                    <a:pt x="35" y="39"/>
                    <a:pt x="40" y="39"/>
                  </a:cubicBezTo>
                  <a:cubicBezTo>
                    <a:pt x="45" y="39"/>
                    <a:pt x="49" y="40"/>
                    <a:pt x="53" y="41"/>
                  </a:cubicBezTo>
                  <a:cubicBezTo>
                    <a:pt x="56" y="41"/>
                    <a:pt x="59" y="42"/>
                    <a:pt x="62" y="43"/>
                  </a:cubicBezTo>
                  <a:cubicBezTo>
                    <a:pt x="64" y="44"/>
                    <a:pt x="67" y="45"/>
                    <a:pt x="69" y="47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38"/>
                    <a:pt x="68" y="35"/>
                    <a:pt x="67" y="33"/>
                  </a:cubicBezTo>
                  <a:cubicBezTo>
                    <a:pt x="65" y="30"/>
                    <a:pt x="63" y="28"/>
                    <a:pt x="61" y="27"/>
                  </a:cubicBezTo>
                  <a:cubicBezTo>
                    <a:pt x="59" y="26"/>
                    <a:pt x="57" y="25"/>
                    <a:pt x="54" y="24"/>
                  </a:cubicBezTo>
                  <a:cubicBezTo>
                    <a:pt x="52" y="23"/>
                    <a:pt x="49" y="23"/>
                    <a:pt x="47" y="23"/>
                  </a:cubicBezTo>
                  <a:cubicBezTo>
                    <a:pt x="43" y="23"/>
                    <a:pt x="39" y="24"/>
                    <a:pt x="36" y="24"/>
                  </a:cubicBezTo>
                  <a:cubicBezTo>
                    <a:pt x="32" y="25"/>
                    <a:pt x="29" y="26"/>
                    <a:pt x="26" y="27"/>
                  </a:cubicBezTo>
                  <a:cubicBezTo>
                    <a:pt x="22" y="28"/>
                    <a:pt x="19" y="29"/>
                    <a:pt x="16" y="31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1" y="8"/>
                    <a:pt x="15" y="6"/>
                    <a:pt x="20" y="5"/>
                  </a:cubicBezTo>
                  <a:cubicBezTo>
                    <a:pt x="23" y="3"/>
                    <a:pt x="28" y="2"/>
                    <a:pt x="33" y="1"/>
                  </a:cubicBezTo>
                  <a:cubicBezTo>
                    <a:pt x="38" y="1"/>
                    <a:pt x="43" y="0"/>
                    <a:pt x="48" y="0"/>
                  </a:cubicBezTo>
                  <a:cubicBezTo>
                    <a:pt x="63" y="0"/>
                    <a:pt x="74" y="3"/>
                    <a:pt x="83" y="10"/>
                  </a:cubicBezTo>
                  <a:close/>
                  <a:moveTo>
                    <a:pt x="55" y="84"/>
                  </a:moveTo>
                  <a:cubicBezTo>
                    <a:pt x="58" y="83"/>
                    <a:pt x="61" y="82"/>
                    <a:pt x="63" y="80"/>
                  </a:cubicBezTo>
                  <a:cubicBezTo>
                    <a:pt x="65" y="78"/>
                    <a:pt x="67" y="76"/>
                    <a:pt x="69" y="7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7" y="63"/>
                    <a:pt x="65" y="62"/>
                    <a:pt x="62" y="61"/>
                  </a:cubicBezTo>
                  <a:cubicBezTo>
                    <a:pt x="60" y="60"/>
                    <a:pt x="58" y="60"/>
                    <a:pt x="55" y="59"/>
                  </a:cubicBezTo>
                  <a:cubicBezTo>
                    <a:pt x="52" y="59"/>
                    <a:pt x="49" y="59"/>
                    <a:pt x="45" y="59"/>
                  </a:cubicBezTo>
                  <a:cubicBezTo>
                    <a:pt x="43" y="59"/>
                    <a:pt x="41" y="59"/>
                    <a:pt x="39" y="59"/>
                  </a:cubicBezTo>
                  <a:cubicBezTo>
                    <a:pt x="37" y="60"/>
                    <a:pt x="35" y="61"/>
                    <a:pt x="33" y="62"/>
                  </a:cubicBezTo>
                  <a:cubicBezTo>
                    <a:pt x="31" y="63"/>
                    <a:pt x="29" y="64"/>
                    <a:pt x="28" y="66"/>
                  </a:cubicBezTo>
                  <a:cubicBezTo>
                    <a:pt x="27" y="68"/>
                    <a:pt x="26" y="70"/>
                    <a:pt x="26" y="73"/>
                  </a:cubicBezTo>
                  <a:cubicBezTo>
                    <a:pt x="26" y="76"/>
                    <a:pt x="27" y="78"/>
                    <a:pt x="28" y="80"/>
                  </a:cubicBezTo>
                  <a:cubicBezTo>
                    <a:pt x="29" y="81"/>
                    <a:pt x="31" y="83"/>
                    <a:pt x="33" y="84"/>
                  </a:cubicBezTo>
                  <a:cubicBezTo>
                    <a:pt x="35" y="85"/>
                    <a:pt x="37" y="85"/>
                    <a:pt x="39" y="86"/>
                  </a:cubicBezTo>
                  <a:cubicBezTo>
                    <a:pt x="41" y="86"/>
                    <a:pt x="43" y="86"/>
                    <a:pt x="45" y="86"/>
                  </a:cubicBezTo>
                  <a:cubicBezTo>
                    <a:pt x="49" y="86"/>
                    <a:pt x="52" y="86"/>
                    <a:pt x="55" y="84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28">
              <a:extLst>
                <a:ext uri="{FF2B5EF4-FFF2-40B4-BE49-F238E27FC236}">
                  <a16:creationId xmlns:a16="http://schemas.microsoft.com/office/drawing/2014/main" id="{1D999085-7E95-4A15-82FA-6AD6D0AA56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60813" y="1055688"/>
              <a:ext cx="96838" cy="114300"/>
            </a:xfrm>
            <a:custGeom>
              <a:avLst/>
              <a:gdLst>
                <a:gd name="T0" fmla="*/ 15 w 91"/>
                <a:gd name="T1" fmla="*/ 70 h 108"/>
                <a:gd name="T2" fmla="*/ 24 w 91"/>
                <a:gd name="T3" fmla="*/ 78 h 108"/>
                <a:gd name="T4" fmla="*/ 33 w 91"/>
                <a:gd name="T5" fmla="*/ 83 h 108"/>
                <a:gd name="T6" fmla="*/ 46 w 91"/>
                <a:gd name="T7" fmla="*/ 85 h 108"/>
                <a:gd name="T8" fmla="*/ 59 w 91"/>
                <a:gd name="T9" fmla="*/ 83 h 108"/>
                <a:gd name="T10" fmla="*/ 65 w 91"/>
                <a:gd name="T11" fmla="*/ 76 h 108"/>
                <a:gd name="T12" fmla="*/ 61 w 91"/>
                <a:gd name="T13" fmla="*/ 69 h 108"/>
                <a:gd name="T14" fmla="*/ 45 w 91"/>
                <a:gd name="T15" fmla="*/ 65 h 108"/>
                <a:gd name="T16" fmla="*/ 30 w 91"/>
                <a:gd name="T17" fmla="*/ 60 h 108"/>
                <a:gd name="T18" fmla="*/ 18 w 91"/>
                <a:gd name="T19" fmla="*/ 54 h 108"/>
                <a:gd name="T20" fmla="*/ 10 w 91"/>
                <a:gd name="T21" fmla="*/ 45 h 108"/>
                <a:gd name="T22" fmla="*/ 7 w 91"/>
                <a:gd name="T23" fmla="*/ 32 h 108"/>
                <a:gd name="T24" fmla="*/ 9 w 91"/>
                <a:gd name="T25" fmla="*/ 20 h 108"/>
                <a:gd name="T26" fmla="*/ 18 w 91"/>
                <a:gd name="T27" fmla="*/ 10 h 108"/>
                <a:gd name="T28" fmla="*/ 32 w 91"/>
                <a:gd name="T29" fmla="*/ 3 h 108"/>
                <a:gd name="T30" fmla="*/ 51 w 91"/>
                <a:gd name="T31" fmla="*/ 0 h 108"/>
                <a:gd name="T32" fmla="*/ 67 w 91"/>
                <a:gd name="T33" fmla="*/ 2 h 108"/>
                <a:gd name="T34" fmla="*/ 79 w 91"/>
                <a:gd name="T35" fmla="*/ 6 h 108"/>
                <a:gd name="T36" fmla="*/ 89 w 91"/>
                <a:gd name="T37" fmla="*/ 13 h 108"/>
                <a:gd name="T38" fmla="*/ 76 w 91"/>
                <a:gd name="T39" fmla="*/ 32 h 108"/>
                <a:gd name="T40" fmla="*/ 69 w 91"/>
                <a:gd name="T41" fmla="*/ 27 h 108"/>
                <a:gd name="T42" fmla="*/ 61 w 91"/>
                <a:gd name="T43" fmla="*/ 24 h 108"/>
                <a:gd name="T44" fmla="*/ 51 w 91"/>
                <a:gd name="T45" fmla="*/ 23 h 108"/>
                <a:gd name="T46" fmla="*/ 38 w 91"/>
                <a:gd name="T47" fmla="*/ 25 h 108"/>
                <a:gd name="T48" fmla="*/ 32 w 91"/>
                <a:gd name="T49" fmla="*/ 33 h 108"/>
                <a:gd name="T50" fmla="*/ 38 w 91"/>
                <a:gd name="T51" fmla="*/ 39 h 108"/>
                <a:gd name="T52" fmla="*/ 56 w 91"/>
                <a:gd name="T53" fmla="*/ 44 h 108"/>
                <a:gd name="T54" fmla="*/ 70 w 91"/>
                <a:gd name="T55" fmla="*/ 48 h 108"/>
                <a:gd name="T56" fmla="*/ 81 w 91"/>
                <a:gd name="T57" fmla="*/ 54 h 108"/>
                <a:gd name="T58" fmla="*/ 89 w 91"/>
                <a:gd name="T59" fmla="*/ 63 h 108"/>
                <a:gd name="T60" fmla="*/ 91 w 91"/>
                <a:gd name="T61" fmla="*/ 76 h 108"/>
                <a:gd name="T62" fmla="*/ 88 w 91"/>
                <a:gd name="T63" fmla="*/ 89 h 108"/>
                <a:gd name="T64" fmla="*/ 79 w 91"/>
                <a:gd name="T65" fmla="*/ 99 h 108"/>
                <a:gd name="T66" fmla="*/ 64 w 91"/>
                <a:gd name="T67" fmla="*/ 105 h 108"/>
                <a:gd name="T68" fmla="*/ 46 w 91"/>
                <a:gd name="T69" fmla="*/ 108 h 108"/>
                <a:gd name="T70" fmla="*/ 26 w 91"/>
                <a:gd name="T71" fmla="*/ 105 h 108"/>
                <a:gd name="T72" fmla="*/ 12 w 91"/>
                <a:gd name="T73" fmla="*/ 99 h 108"/>
                <a:gd name="T74" fmla="*/ 0 w 91"/>
                <a:gd name="T75" fmla="*/ 89 h 108"/>
                <a:gd name="T76" fmla="*/ 15 w 91"/>
                <a:gd name="T77" fmla="*/ 7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1" h="108">
                  <a:moveTo>
                    <a:pt x="15" y="70"/>
                  </a:moveTo>
                  <a:cubicBezTo>
                    <a:pt x="17" y="73"/>
                    <a:pt x="20" y="76"/>
                    <a:pt x="24" y="78"/>
                  </a:cubicBezTo>
                  <a:cubicBezTo>
                    <a:pt x="26" y="80"/>
                    <a:pt x="30" y="81"/>
                    <a:pt x="33" y="83"/>
                  </a:cubicBezTo>
                  <a:cubicBezTo>
                    <a:pt x="37" y="84"/>
                    <a:pt x="41" y="85"/>
                    <a:pt x="46" y="85"/>
                  </a:cubicBezTo>
                  <a:cubicBezTo>
                    <a:pt x="51" y="85"/>
                    <a:pt x="55" y="84"/>
                    <a:pt x="59" y="83"/>
                  </a:cubicBezTo>
                  <a:cubicBezTo>
                    <a:pt x="63" y="81"/>
                    <a:pt x="65" y="79"/>
                    <a:pt x="65" y="76"/>
                  </a:cubicBezTo>
                  <a:cubicBezTo>
                    <a:pt x="65" y="73"/>
                    <a:pt x="64" y="70"/>
                    <a:pt x="61" y="69"/>
                  </a:cubicBezTo>
                  <a:cubicBezTo>
                    <a:pt x="58" y="68"/>
                    <a:pt x="52" y="66"/>
                    <a:pt x="45" y="65"/>
                  </a:cubicBezTo>
                  <a:cubicBezTo>
                    <a:pt x="40" y="63"/>
                    <a:pt x="35" y="62"/>
                    <a:pt x="30" y="60"/>
                  </a:cubicBezTo>
                  <a:cubicBezTo>
                    <a:pt x="26" y="59"/>
                    <a:pt x="21" y="57"/>
                    <a:pt x="18" y="54"/>
                  </a:cubicBezTo>
                  <a:cubicBezTo>
                    <a:pt x="15" y="51"/>
                    <a:pt x="12" y="48"/>
                    <a:pt x="10" y="45"/>
                  </a:cubicBezTo>
                  <a:cubicBezTo>
                    <a:pt x="8" y="41"/>
                    <a:pt x="7" y="37"/>
                    <a:pt x="7" y="32"/>
                  </a:cubicBezTo>
                  <a:cubicBezTo>
                    <a:pt x="7" y="28"/>
                    <a:pt x="8" y="24"/>
                    <a:pt x="9" y="20"/>
                  </a:cubicBezTo>
                  <a:cubicBezTo>
                    <a:pt x="11" y="16"/>
                    <a:pt x="14" y="13"/>
                    <a:pt x="18" y="10"/>
                  </a:cubicBezTo>
                  <a:cubicBezTo>
                    <a:pt x="22" y="7"/>
                    <a:pt x="26" y="5"/>
                    <a:pt x="32" y="3"/>
                  </a:cubicBezTo>
                  <a:cubicBezTo>
                    <a:pt x="37" y="1"/>
                    <a:pt x="44" y="0"/>
                    <a:pt x="51" y="0"/>
                  </a:cubicBezTo>
                  <a:cubicBezTo>
                    <a:pt x="57" y="0"/>
                    <a:pt x="62" y="1"/>
                    <a:pt x="67" y="2"/>
                  </a:cubicBezTo>
                  <a:cubicBezTo>
                    <a:pt x="71" y="3"/>
                    <a:pt x="75" y="5"/>
                    <a:pt x="79" y="6"/>
                  </a:cubicBezTo>
                  <a:cubicBezTo>
                    <a:pt x="83" y="8"/>
                    <a:pt x="86" y="10"/>
                    <a:pt x="89" y="13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74" y="30"/>
                    <a:pt x="71" y="29"/>
                    <a:pt x="69" y="27"/>
                  </a:cubicBezTo>
                  <a:cubicBezTo>
                    <a:pt x="66" y="26"/>
                    <a:pt x="64" y="25"/>
                    <a:pt x="61" y="24"/>
                  </a:cubicBezTo>
                  <a:cubicBezTo>
                    <a:pt x="57" y="23"/>
                    <a:pt x="54" y="23"/>
                    <a:pt x="51" y="23"/>
                  </a:cubicBezTo>
                  <a:cubicBezTo>
                    <a:pt x="46" y="23"/>
                    <a:pt x="41" y="24"/>
                    <a:pt x="38" y="25"/>
                  </a:cubicBezTo>
                  <a:cubicBezTo>
                    <a:pt x="34" y="27"/>
                    <a:pt x="32" y="29"/>
                    <a:pt x="32" y="33"/>
                  </a:cubicBezTo>
                  <a:cubicBezTo>
                    <a:pt x="32" y="36"/>
                    <a:pt x="34" y="38"/>
                    <a:pt x="38" y="39"/>
                  </a:cubicBezTo>
                  <a:cubicBezTo>
                    <a:pt x="41" y="41"/>
                    <a:pt x="48" y="42"/>
                    <a:pt x="56" y="44"/>
                  </a:cubicBezTo>
                  <a:cubicBezTo>
                    <a:pt x="61" y="45"/>
                    <a:pt x="66" y="46"/>
                    <a:pt x="70" y="48"/>
                  </a:cubicBezTo>
                  <a:cubicBezTo>
                    <a:pt x="75" y="49"/>
                    <a:pt x="78" y="51"/>
                    <a:pt x="81" y="54"/>
                  </a:cubicBezTo>
                  <a:cubicBezTo>
                    <a:pt x="84" y="56"/>
                    <a:pt x="87" y="59"/>
                    <a:pt x="89" y="63"/>
                  </a:cubicBezTo>
                  <a:cubicBezTo>
                    <a:pt x="90" y="66"/>
                    <a:pt x="91" y="71"/>
                    <a:pt x="91" y="76"/>
                  </a:cubicBezTo>
                  <a:cubicBezTo>
                    <a:pt x="91" y="81"/>
                    <a:pt x="90" y="85"/>
                    <a:pt x="88" y="89"/>
                  </a:cubicBezTo>
                  <a:cubicBezTo>
                    <a:pt x="86" y="93"/>
                    <a:pt x="83" y="96"/>
                    <a:pt x="79" y="99"/>
                  </a:cubicBezTo>
                  <a:cubicBezTo>
                    <a:pt x="75" y="101"/>
                    <a:pt x="70" y="104"/>
                    <a:pt x="64" y="105"/>
                  </a:cubicBezTo>
                  <a:cubicBezTo>
                    <a:pt x="59" y="107"/>
                    <a:pt x="53" y="108"/>
                    <a:pt x="46" y="108"/>
                  </a:cubicBezTo>
                  <a:cubicBezTo>
                    <a:pt x="39" y="108"/>
                    <a:pt x="32" y="107"/>
                    <a:pt x="26" y="105"/>
                  </a:cubicBezTo>
                  <a:cubicBezTo>
                    <a:pt x="21" y="103"/>
                    <a:pt x="16" y="101"/>
                    <a:pt x="12" y="99"/>
                  </a:cubicBezTo>
                  <a:cubicBezTo>
                    <a:pt x="7" y="96"/>
                    <a:pt x="3" y="93"/>
                    <a:pt x="0" y="89"/>
                  </a:cubicBezTo>
                  <a:lnTo>
                    <a:pt x="15" y="70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29">
              <a:extLst>
                <a:ext uri="{FF2B5EF4-FFF2-40B4-BE49-F238E27FC236}">
                  <a16:creationId xmlns:a16="http://schemas.microsoft.com/office/drawing/2014/main" id="{9372C604-68AB-4477-AE72-677FF516C6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78288" y="1058863"/>
              <a:ext cx="125413" cy="165100"/>
            </a:xfrm>
            <a:custGeom>
              <a:avLst/>
              <a:gdLst>
                <a:gd name="T0" fmla="*/ 15 w 118"/>
                <a:gd name="T1" fmla="*/ 124 h 155"/>
                <a:gd name="T2" fmla="*/ 19 w 118"/>
                <a:gd name="T3" fmla="*/ 127 h 155"/>
                <a:gd name="T4" fmla="*/ 23 w 118"/>
                <a:gd name="T5" fmla="*/ 129 h 155"/>
                <a:gd name="T6" fmla="*/ 28 w 118"/>
                <a:gd name="T7" fmla="*/ 130 h 155"/>
                <a:gd name="T8" fmla="*/ 34 w 118"/>
                <a:gd name="T9" fmla="*/ 130 h 155"/>
                <a:gd name="T10" fmla="*/ 38 w 118"/>
                <a:gd name="T11" fmla="*/ 128 h 155"/>
                <a:gd name="T12" fmla="*/ 42 w 118"/>
                <a:gd name="T13" fmla="*/ 123 h 155"/>
                <a:gd name="T14" fmla="*/ 46 w 118"/>
                <a:gd name="T15" fmla="*/ 115 h 155"/>
                <a:gd name="T16" fmla="*/ 50 w 118"/>
                <a:gd name="T17" fmla="*/ 105 h 155"/>
                <a:gd name="T18" fmla="*/ 0 w 118"/>
                <a:gd name="T19" fmla="*/ 0 h 155"/>
                <a:gd name="T20" fmla="*/ 29 w 118"/>
                <a:gd name="T21" fmla="*/ 0 h 155"/>
                <a:gd name="T22" fmla="*/ 63 w 118"/>
                <a:gd name="T23" fmla="*/ 75 h 155"/>
                <a:gd name="T24" fmla="*/ 90 w 118"/>
                <a:gd name="T25" fmla="*/ 0 h 155"/>
                <a:gd name="T26" fmla="*/ 118 w 118"/>
                <a:gd name="T27" fmla="*/ 0 h 155"/>
                <a:gd name="T28" fmla="*/ 69 w 118"/>
                <a:gd name="T29" fmla="*/ 125 h 155"/>
                <a:gd name="T30" fmla="*/ 52 w 118"/>
                <a:gd name="T31" fmla="*/ 148 h 155"/>
                <a:gd name="T32" fmla="*/ 30 w 118"/>
                <a:gd name="T33" fmla="*/ 155 h 155"/>
                <a:gd name="T34" fmla="*/ 19 w 118"/>
                <a:gd name="T35" fmla="*/ 153 h 155"/>
                <a:gd name="T36" fmla="*/ 11 w 118"/>
                <a:gd name="T37" fmla="*/ 149 h 155"/>
                <a:gd name="T38" fmla="*/ 2 w 118"/>
                <a:gd name="T39" fmla="*/ 144 h 155"/>
                <a:gd name="T40" fmla="*/ 15 w 118"/>
                <a:gd name="T41" fmla="*/ 124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8" h="155">
                  <a:moveTo>
                    <a:pt x="15" y="124"/>
                  </a:moveTo>
                  <a:cubicBezTo>
                    <a:pt x="16" y="125"/>
                    <a:pt x="17" y="126"/>
                    <a:pt x="19" y="127"/>
                  </a:cubicBezTo>
                  <a:cubicBezTo>
                    <a:pt x="20" y="128"/>
                    <a:pt x="22" y="129"/>
                    <a:pt x="23" y="129"/>
                  </a:cubicBezTo>
                  <a:cubicBezTo>
                    <a:pt x="25" y="130"/>
                    <a:pt x="27" y="130"/>
                    <a:pt x="28" y="130"/>
                  </a:cubicBezTo>
                  <a:cubicBezTo>
                    <a:pt x="30" y="130"/>
                    <a:pt x="32" y="130"/>
                    <a:pt x="34" y="130"/>
                  </a:cubicBezTo>
                  <a:cubicBezTo>
                    <a:pt x="36" y="129"/>
                    <a:pt x="37" y="129"/>
                    <a:pt x="38" y="128"/>
                  </a:cubicBezTo>
                  <a:cubicBezTo>
                    <a:pt x="40" y="126"/>
                    <a:pt x="41" y="125"/>
                    <a:pt x="42" y="123"/>
                  </a:cubicBezTo>
                  <a:cubicBezTo>
                    <a:pt x="43" y="121"/>
                    <a:pt x="45" y="118"/>
                    <a:pt x="46" y="11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4" y="137"/>
                    <a:pt x="58" y="144"/>
                    <a:pt x="52" y="148"/>
                  </a:cubicBezTo>
                  <a:cubicBezTo>
                    <a:pt x="45" y="153"/>
                    <a:pt x="38" y="155"/>
                    <a:pt x="30" y="155"/>
                  </a:cubicBezTo>
                  <a:cubicBezTo>
                    <a:pt x="26" y="155"/>
                    <a:pt x="22" y="154"/>
                    <a:pt x="19" y="153"/>
                  </a:cubicBezTo>
                  <a:cubicBezTo>
                    <a:pt x="16" y="152"/>
                    <a:pt x="13" y="151"/>
                    <a:pt x="11" y="149"/>
                  </a:cubicBezTo>
                  <a:cubicBezTo>
                    <a:pt x="7" y="148"/>
                    <a:pt x="5" y="146"/>
                    <a:pt x="2" y="144"/>
                  </a:cubicBezTo>
                  <a:lnTo>
                    <a:pt x="15" y="124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30">
              <a:extLst>
                <a:ext uri="{FF2B5EF4-FFF2-40B4-BE49-F238E27FC236}">
                  <a16:creationId xmlns:a16="http://schemas.microsoft.com/office/drawing/2014/main" id="{74D356EF-EA71-4FE4-B96B-27938F5F22F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278313" y="1055688"/>
              <a:ext cx="100013" cy="114300"/>
            </a:xfrm>
            <a:custGeom>
              <a:avLst/>
              <a:gdLst>
                <a:gd name="T0" fmla="*/ 83 w 95"/>
                <a:gd name="T1" fmla="*/ 10 h 108"/>
                <a:gd name="T2" fmla="*/ 95 w 95"/>
                <a:gd name="T3" fmla="*/ 38 h 108"/>
                <a:gd name="T4" fmla="*/ 95 w 95"/>
                <a:gd name="T5" fmla="*/ 105 h 108"/>
                <a:gd name="T6" fmla="*/ 71 w 95"/>
                <a:gd name="T7" fmla="*/ 105 h 108"/>
                <a:gd name="T8" fmla="*/ 71 w 95"/>
                <a:gd name="T9" fmla="*/ 92 h 108"/>
                <a:gd name="T10" fmla="*/ 63 w 95"/>
                <a:gd name="T11" fmla="*/ 100 h 108"/>
                <a:gd name="T12" fmla="*/ 53 w 95"/>
                <a:gd name="T13" fmla="*/ 106 h 108"/>
                <a:gd name="T14" fmla="*/ 37 w 95"/>
                <a:gd name="T15" fmla="*/ 108 h 108"/>
                <a:gd name="T16" fmla="*/ 24 w 95"/>
                <a:gd name="T17" fmla="*/ 106 h 108"/>
                <a:gd name="T18" fmla="*/ 12 w 95"/>
                <a:gd name="T19" fmla="*/ 99 h 108"/>
                <a:gd name="T20" fmla="*/ 3 w 95"/>
                <a:gd name="T21" fmla="*/ 88 h 108"/>
                <a:gd name="T22" fmla="*/ 0 w 95"/>
                <a:gd name="T23" fmla="*/ 73 h 108"/>
                <a:gd name="T24" fmla="*/ 4 w 95"/>
                <a:gd name="T25" fmla="*/ 60 h 108"/>
                <a:gd name="T26" fmla="*/ 12 w 95"/>
                <a:gd name="T27" fmla="*/ 49 h 108"/>
                <a:gd name="T28" fmla="*/ 25 w 95"/>
                <a:gd name="T29" fmla="*/ 42 h 108"/>
                <a:gd name="T30" fmla="*/ 41 w 95"/>
                <a:gd name="T31" fmla="*/ 39 h 108"/>
                <a:gd name="T32" fmla="*/ 53 w 95"/>
                <a:gd name="T33" fmla="*/ 41 h 108"/>
                <a:gd name="T34" fmla="*/ 62 w 95"/>
                <a:gd name="T35" fmla="*/ 43 h 108"/>
                <a:gd name="T36" fmla="*/ 69 w 95"/>
                <a:gd name="T37" fmla="*/ 47 h 108"/>
                <a:gd name="T38" fmla="*/ 69 w 95"/>
                <a:gd name="T39" fmla="*/ 41 h 108"/>
                <a:gd name="T40" fmla="*/ 67 w 95"/>
                <a:gd name="T41" fmla="*/ 33 h 108"/>
                <a:gd name="T42" fmla="*/ 62 w 95"/>
                <a:gd name="T43" fmla="*/ 27 h 108"/>
                <a:gd name="T44" fmla="*/ 55 w 95"/>
                <a:gd name="T45" fmla="*/ 24 h 108"/>
                <a:gd name="T46" fmla="*/ 47 w 95"/>
                <a:gd name="T47" fmla="*/ 23 h 108"/>
                <a:gd name="T48" fmla="*/ 36 w 95"/>
                <a:gd name="T49" fmla="*/ 24 h 108"/>
                <a:gd name="T50" fmla="*/ 26 w 95"/>
                <a:gd name="T51" fmla="*/ 27 h 108"/>
                <a:gd name="T52" fmla="*/ 16 w 95"/>
                <a:gd name="T53" fmla="*/ 31 h 108"/>
                <a:gd name="T54" fmla="*/ 8 w 95"/>
                <a:gd name="T55" fmla="*/ 9 h 108"/>
                <a:gd name="T56" fmla="*/ 20 w 95"/>
                <a:gd name="T57" fmla="*/ 5 h 108"/>
                <a:gd name="T58" fmla="*/ 33 w 95"/>
                <a:gd name="T59" fmla="*/ 1 h 108"/>
                <a:gd name="T60" fmla="*/ 48 w 95"/>
                <a:gd name="T61" fmla="*/ 0 h 108"/>
                <a:gd name="T62" fmla="*/ 83 w 95"/>
                <a:gd name="T63" fmla="*/ 10 h 108"/>
                <a:gd name="T64" fmla="*/ 56 w 95"/>
                <a:gd name="T65" fmla="*/ 84 h 108"/>
                <a:gd name="T66" fmla="*/ 63 w 95"/>
                <a:gd name="T67" fmla="*/ 80 h 108"/>
                <a:gd name="T68" fmla="*/ 69 w 95"/>
                <a:gd name="T69" fmla="*/ 74 h 108"/>
                <a:gd name="T70" fmla="*/ 69 w 95"/>
                <a:gd name="T71" fmla="*/ 64 h 108"/>
                <a:gd name="T72" fmla="*/ 63 w 95"/>
                <a:gd name="T73" fmla="*/ 61 h 108"/>
                <a:gd name="T74" fmla="*/ 55 w 95"/>
                <a:gd name="T75" fmla="*/ 59 h 108"/>
                <a:gd name="T76" fmla="*/ 46 w 95"/>
                <a:gd name="T77" fmla="*/ 59 h 108"/>
                <a:gd name="T78" fmla="*/ 39 w 95"/>
                <a:gd name="T79" fmla="*/ 59 h 108"/>
                <a:gd name="T80" fmla="*/ 33 w 95"/>
                <a:gd name="T81" fmla="*/ 62 h 108"/>
                <a:gd name="T82" fmla="*/ 29 w 95"/>
                <a:gd name="T83" fmla="*/ 66 h 108"/>
                <a:gd name="T84" fmla="*/ 27 w 95"/>
                <a:gd name="T85" fmla="*/ 73 h 108"/>
                <a:gd name="T86" fmla="*/ 29 w 95"/>
                <a:gd name="T87" fmla="*/ 80 h 108"/>
                <a:gd name="T88" fmla="*/ 33 w 95"/>
                <a:gd name="T89" fmla="*/ 84 h 108"/>
                <a:gd name="T90" fmla="*/ 39 w 95"/>
                <a:gd name="T91" fmla="*/ 86 h 108"/>
                <a:gd name="T92" fmla="*/ 45 w 95"/>
                <a:gd name="T93" fmla="*/ 86 h 108"/>
                <a:gd name="T94" fmla="*/ 56 w 95"/>
                <a:gd name="T95" fmla="*/ 8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5" h="108">
                  <a:moveTo>
                    <a:pt x="83" y="10"/>
                  </a:moveTo>
                  <a:cubicBezTo>
                    <a:pt x="91" y="17"/>
                    <a:pt x="95" y="27"/>
                    <a:pt x="95" y="38"/>
                  </a:cubicBezTo>
                  <a:cubicBezTo>
                    <a:pt x="95" y="105"/>
                    <a:pt x="95" y="105"/>
                    <a:pt x="95" y="105"/>
                  </a:cubicBezTo>
                  <a:cubicBezTo>
                    <a:pt x="71" y="105"/>
                    <a:pt x="71" y="105"/>
                    <a:pt x="71" y="105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9" y="95"/>
                    <a:pt x="66" y="98"/>
                    <a:pt x="63" y="100"/>
                  </a:cubicBezTo>
                  <a:cubicBezTo>
                    <a:pt x="60" y="102"/>
                    <a:pt x="57" y="104"/>
                    <a:pt x="53" y="106"/>
                  </a:cubicBezTo>
                  <a:cubicBezTo>
                    <a:pt x="48" y="107"/>
                    <a:pt x="43" y="108"/>
                    <a:pt x="37" y="108"/>
                  </a:cubicBezTo>
                  <a:cubicBezTo>
                    <a:pt x="33" y="108"/>
                    <a:pt x="28" y="107"/>
                    <a:pt x="24" y="106"/>
                  </a:cubicBezTo>
                  <a:cubicBezTo>
                    <a:pt x="19" y="104"/>
                    <a:pt x="15" y="102"/>
                    <a:pt x="12" y="99"/>
                  </a:cubicBezTo>
                  <a:cubicBezTo>
                    <a:pt x="8" y="96"/>
                    <a:pt x="5" y="92"/>
                    <a:pt x="3" y="88"/>
                  </a:cubicBezTo>
                  <a:cubicBezTo>
                    <a:pt x="1" y="84"/>
                    <a:pt x="0" y="79"/>
                    <a:pt x="0" y="73"/>
                  </a:cubicBezTo>
                  <a:cubicBezTo>
                    <a:pt x="0" y="69"/>
                    <a:pt x="1" y="64"/>
                    <a:pt x="4" y="60"/>
                  </a:cubicBezTo>
                  <a:cubicBezTo>
                    <a:pt x="6" y="56"/>
                    <a:pt x="8" y="52"/>
                    <a:pt x="12" y="49"/>
                  </a:cubicBezTo>
                  <a:cubicBezTo>
                    <a:pt x="16" y="46"/>
                    <a:pt x="20" y="44"/>
                    <a:pt x="25" y="42"/>
                  </a:cubicBezTo>
                  <a:cubicBezTo>
                    <a:pt x="30" y="40"/>
                    <a:pt x="35" y="39"/>
                    <a:pt x="41" y="39"/>
                  </a:cubicBezTo>
                  <a:cubicBezTo>
                    <a:pt x="45" y="39"/>
                    <a:pt x="50" y="40"/>
                    <a:pt x="53" y="41"/>
                  </a:cubicBezTo>
                  <a:cubicBezTo>
                    <a:pt x="57" y="41"/>
                    <a:pt x="60" y="42"/>
                    <a:pt x="62" y="43"/>
                  </a:cubicBezTo>
                  <a:cubicBezTo>
                    <a:pt x="65" y="44"/>
                    <a:pt x="67" y="45"/>
                    <a:pt x="69" y="47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38"/>
                    <a:pt x="69" y="35"/>
                    <a:pt x="67" y="33"/>
                  </a:cubicBezTo>
                  <a:cubicBezTo>
                    <a:pt x="66" y="30"/>
                    <a:pt x="64" y="28"/>
                    <a:pt x="62" y="27"/>
                  </a:cubicBezTo>
                  <a:cubicBezTo>
                    <a:pt x="59" y="26"/>
                    <a:pt x="57" y="25"/>
                    <a:pt x="55" y="24"/>
                  </a:cubicBezTo>
                  <a:cubicBezTo>
                    <a:pt x="52" y="23"/>
                    <a:pt x="49" y="23"/>
                    <a:pt x="47" y="23"/>
                  </a:cubicBezTo>
                  <a:cubicBezTo>
                    <a:pt x="43" y="23"/>
                    <a:pt x="40" y="24"/>
                    <a:pt x="36" y="24"/>
                  </a:cubicBezTo>
                  <a:cubicBezTo>
                    <a:pt x="32" y="25"/>
                    <a:pt x="29" y="26"/>
                    <a:pt x="26" y="27"/>
                  </a:cubicBezTo>
                  <a:cubicBezTo>
                    <a:pt x="23" y="28"/>
                    <a:pt x="19" y="29"/>
                    <a:pt x="16" y="31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2" y="8"/>
                    <a:pt x="16" y="6"/>
                    <a:pt x="20" y="5"/>
                  </a:cubicBezTo>
                  <a:cubicBezTo>
                    <a:pt x="24" y="3"/>
                    <a:pt x="28" y="2"/>
                    <a:pt x="33" y="1"/>
                  </a:cubicBezTo>
                  <a:cubicBezTo>
                    <a:pt x="38" y="1"/>
                    <a:pt x="43" y="0"/>
                    <a:pt x="48" y="0"/>
                  </a:cubicBezTo>
                  <a:cubicBezTo>
                    <a:pt x="63" y="0"/>
                    <a:pt x="75" y="3"/>
                    <a:pt x="83" y="10"/>
                  </a:cubicBezTo>
                  <a:close/>
                  <a:moveTo>
                    <a:pt x="56" y="84"/>
                  </a:moveTo>
                  <a:cubicBezTo>
                    <a:pt x="59" y="83"/>
                    <a:pt x="61" y="82"/>
                    <a:pt x="63" y="80"/>
                  </a:cubicBezTo>
                  <a:cubicBezTo>
                    <a:pt x="65" y="78"/>
                    <a:pt x="68" y="76"/>
                    <a:pt x="69" y="7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7" y="63"/>
                    <a:pt x="65" y="62"/>
                    <a:pt x="63" y="61"/>
                  </a:cubicBezTo>
                  <a:cubicBezTo>
                    <a:pt x="61" y="60"/>
                    <a:pt x="58" y="60"/>
                    <a:pt x="55" y="59"/>
                  </a:cubicBezTo>
                  <a:cubicBezTo>
                    <a:pt x="53" y="59"/>
                    <a:pt x="49" y="59"/>
                    <a:pt x="46" y="59"/>
                  </a:cubicBezTo>
                  <a:cubicBezTo>
                    <a:pt x="44" y="59"/>
                    <a:pt x="42" y="59"/>
                    <a:pt x="39" y="59"/>
                  </a:cubicBezTo>
                  <a:cubicBezTo>
                    <a:pt x="37" y="60"/>
                    <a:pt x="35" y="61"/>
                    <a:pt x="33" y="62"/>
                  </a:cubicBezTo>
                  <a:cubicBezTo>
                    <a:pt x="31" y="63"/>
                    <a:pt x="30" y="64"/>
                    <a:pt x="29" y="66"/>
                  </a:cubicBezTo>
                  <a:cubicBezTo>
                    <a:pt x="27" y="68"/>
                    <a:pt x="27" y="70"/>
                    <a:pt x="27" y="73"/>
                  </a:cubicBezTo>
                  <a:cubicBezTo>
                    <a:pt x="27" y="76"/>
                    <a:pt x="27" y="78"/>
                    <a:pt x="29" y="80"/>
                  </a:cubicBezTo>
                  <a:cubicBezTo>
                    <a:pt x="30" y="81"/>
                    <a:pt x="31" y="83"/>
                    <a:pt x="33" y="84"/>
                  </a:cubicBezTo>
                  <a:cubicBezTo>
                    <a:pt x="35" y="85"/>
                    <a:pt x="37" y="85"/>
                    <a:pt x="39" y="86"/>
                  </a:cubicBezTo>
                  <a:cubicBezTo>
                    <a:pt x="41" y="86"/>
                    <a:pt x="43" y="86"/>
                    <a:pt x="45" y="86"/>
                  </a:cubicBezTo>
                  <a:cubicBezTo>
                    <a:pt x="49" y="86"/>
                    <a:pt x="53" y="86"/>
                    <a:pt x="56" y="84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31">
              <a:extLst>
                <a:ext uri="{FF2B5EF4-FFF2-40B4-BE49-F238E27FC236}">
                  <a16:creationId xmlns:a16="http://schemas.microsoft.com/office/drawing/2014/main" id="{26845878-6581-42E7-A4FB-876FC9F74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11663" y="1055688"/>
              <a:ext cx="103188" cy="114300"/>
            </a:xfrm>
            <a:custGeom>
              <a:avLst/>
              <a:gdLst>
                <a:gd name="T0" fmla="*/ 67 w 98"/>
                <a:gd name="T1" fmla="*/ 82 h 108"/>
                <a:gd name="T2" fmla="*/ 75 w 98"/>
                <a:gd name="T3" fmla="*/ 77 h 108"/>
                <a:gd name="T4" fmla="*/ 81 w 98"/>
                <a:gd name="T5" fmla="*/ 71 h 108"/>
                <a:gd name="T6" fmla="*/ 98 w 98"/>
                <a:gd name="T7" fmla="*/ 88 h 108"/>
                <a:gd name="T8" fmla="*/ 87 w 98"/>
                <a:gd name="T9" fmla="*/ 98 h 108"/>
                <a:gd name="T10" fmla="*/ 74 w 98"/>
                <a:gd name="T11" fmla="*/ 105 h 108"/>
                <a:gd name="T12" fmla="*/ 55 w 98"/>
                <a:gd name="T13" fmla="*/ 108 h 108"/>
                <a:gd name="T14" fmla="*/ 34 w 98"/>
                <a:gd name="T15" fmla="*/ 104 h 108"/>
                <a:gd name="T16" fmla="*/ 16 w 98"/>
                <a:gd name="T17" fmla="*/ 92 h 108"/>
                <a:gd name="T18" fmla="*/ 5 w 98"/>
                <a:gd name="T19" fmla="*/ 75 h 108"/>
                <a:gd name="T20" fmla="*/ 0 w 98"/>
                <a:gd name="T21" fmla="*/ 54 h 108"/>
                <a:gd name="T22" fmla="*/ 5 w 98"/>
                <a:gd name="T23" fmla="*/ 33 h 108"/>
                <a:gd name="T24" fmla="*/ 16 w 98"/>
                <a:gd name="T25" fmla="*/ 16 h 108"/>
                <a:gd name="T26" fmla="*/ 34 w 98"/>
                <a:gd name="T27" fmla="*/ 4 h 108"/>
                <a:gd name="T28" fmla="*/ 55 w 98"/>
                <a:gd name="T29" fmla="*/ 0 h 108"/>
                <a:gd name="T30" fmla="*/ 74 w 98"/>
                <a:gd name="T31" fmla="*/ 3 h 108"/>
                <a:gd name="T32" fmla="*/ 87 w 98"/>
                <a:gd name="T33" fmla="*/ 10 h 108"/>
                <a:gd name="T34" fmla="*/ 97 w 98"/>
                <a:gd name="T35" fmla="*/ 19 h 108"/>
                <a:gd name="T36" fmla="*/ 79 w 98"/>
                <a:gd name="T37" fmla="*/ 35 h 108"/>
                <a:gd name="T38" fmla="*/ 73 w 98"/>
                <a:gd name="T39" fmla="*/ 30 h 108"/>
                <a:gd name="T40" fmla="*/ 66 w 98"/>
                <a:gd name="T41" fmla="*/ 26 h 108"/>
                <a:gd name="T42" fmla="*/ 55 w 98"/>
                <a:gd name="T43" fmla="*/ 24 h 108"/>
                <a:gd name="T44" fmla="*/ 43 w 98"/>
                <a:gd name="T45" fmla="*/ 27 h 108"/>
                <a:gd name="T46" fmla="*/ 34 w 98"/>
                <a:gd name="T47" fmla="*/ 33 h 108"/>
                <a:gd name="T48" fmla="*/ 29 w 98"/>
                <a:gd name="T49" fmla="*/ 42 h 108"/>
                <a:gd name="T50" fmla="*/ 27 w 98"/>
                <a:gd name="T51" fmla="*/ 54 h 108"/>
                <a:gd name="T52" fmla="*/ 29 w 98"/>
                <a:gd name="T53" fmla="*/ 65 h 108"/>
                <a:gd name="T54" fmla="*/ 34 w 98"/>
                <a:gd name="T55" fmla="*/ 75 h 108"/>
                <a:gd name="T56" fmla="*/ 43 w 98"/>
                <a:gd name="T57" fmla="*/ 81 h 108"/>
                <a:gd name="T58" fmla="*/ 55 w 98"/>
                <a:gd name="T59" fmla="*/ 84 h 108"/>
                <a:gd name="T60" fmla="*/ 67 w 98"/>
                <a:gd name="T61" fmla="*/ 8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8" h="108">
                  <a:moveTo>
                    <a:pt x="67" y="82"/>
                  </a:moveTo>
                  <a:cubicBezTo>
                    <a:pt x="70" y="80"/>
                    <a:pt x="73" y="79"/>
                    <a:pt x="75" y="77"/>
                  </a:cubicBezTo>
                  <a:cubicBezTo>
                    <a:pt x="77" y="75"/>
                    <a:pt x="79" y="73"/>
                    <a:pt x="81" y="71"/>
                  </a:cubicBezTo>
                  <a:cubicBezTo>
                    <a:pt x="98" y="88"/>
                    <a:pt x="98" y="88"/>
                    <a:pt x="98" y="88"/>
                  </a:cubicBezTo>
                  <a:cubicBezTo>
                    <a:pt x="95" y="92"/>
                    <a:pt x="91" y="95"/>
                    <a:pt x="87" y="98"/>
                  </a:cubicBezTo>
                  <a:cubicBezTo>
                    <a:pt x="83" y="101"/>
                    <a:pt x="79" y="103"/>
                    <a:pt x="74" y="105"/>
                  </a:cubicBezTo>
                  <a:cubicBezTo>
                    <a:pt x="68" y="107"/>
                    <a:pt x="62" y="108"/>
                    <a:pt x="55" y="108"/>
                  </a:cubicBezTo>
                  <a:cubicBezTo>
                    <a:pt x="48" y="108"/>
                    <a:pt x="41" y="106"/>
                    <a:pt x="34" y="104"/>
                  </a:cubicBezTo>
                  <a:cubicBezTo>
                    <a:pt x="27" y="101"/>
                    <a:pt x="21" y="97"/>
                    <a:pt x="16" y="92"/>
                  </a:cubicBezTo>
                  <a:cubicBezTo>
                    <a:pt x="11" y="87"/>
                    <a:pt x="7" y="82"/>
                    <a:pt x="5" y="75"/>
                  </a:cubicBezTo>
                  <a:cubicBezTo>
                    <a:pt x="2" y="69"/>
                    <a:pt x="0" y="61"/>
                    <a:pt x="0" y="54"/>
                  </a:cubicBezTo>
                  <a:cubicBezTo>
                    <a:pt x="0" y="46"/>
                    <a:pt x="2" y="39"/>
                    <a:pt x="5" y="33"/>
                  </a:cubicBezTo>
                  <a:cubicBezTo>
                    <a:pt x="7" y="26"/>
                    <a:pt x="11" y="21"/>
                    <a:pt x="16" y="16"/>
                  </a:cubicBezTo>
                  <a:cubicBezTo>
                    <a:pt x="21" y="11"/>
                    <a:pt x="27" y="7"/>
                    <a:pt x="34" y="4"/>
                  </a:cubicBezTo>
                  <a:cubicBezTo>
                    <a:pt x="41" y="1"/>
                    <a:pt x="48" y="0"/>
                    <a:pt x="55" y="0"/>
                  </a:cubicBezTo>
                  <a:cubicBezTo>
                    <a:pt x="62" y="0"/>
                    <a:pt x="68" y="1"/>
                    <a:pt x="74" y="3"/>
                  </a:cubicBezTo>
                  <a:cubicBezTo>
                    <a:pt x="79" y="5"/>
                    <a:pt x="83" y="7"/>
                    <a:pt x="87" y="10"/>
                  </a:cubicBezTo>
                  <a:cubicBezTo>
                    <a:pt x="91" y="12"/>
                    <a:pt x="94" y="15"/>
                    <a:pt x="97" y="19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78" y="33"/>
                    <a:pt x="76" y="31"/>
                    <a:pt x="73" y="30"/>
                  </a:cubicBezTo>
                  <a:cubicBezTo>
                    <a:pt x="71" y="28"/>
                    <a:pt x="69" y="27"/>
                    <a:pt x="66" y="26"/>
                  </a:cubicBezTo>
                  <a:cubicBezTo>
                    <a:pt x="63" y="25"/>
                    <a:pt x="59" y="24"/>
                    <a:pt x="55" y="24"/>
                  </a:cubicBezTo>
                  <a:cubicBezTo>
                    <a:pt x="51" y="24"/>
                    <a:pt x="47" y="25"/>
                    <a:pt x="43" y="27"/>
                  </a:cubicBezTo>
                  <a:cubicBezTo>
                    <a:pt x="40" y="28"/>
                    <a:pt x="37" y="30"/>
                    <a:pt x="34" y="33"/>
                  </a:cubicBezTo>
                  <a:cubicBezTo>
                    <a:pt x="32" y="36"/>
                    <a:pt x="30" y="39"/>
                    <a:pt x="29" y="42"/>
                  </a:cubicBezTo>
                  <a:cubicBezTo>
                    <a:pt x="27" y="46"/>
                    <a:pt x="27" y="50"/>
                    <a:pt x="27" y="54"/>
                  </a:cubicBezTo>
                  <a:cubicBezTo>
                    <a:pt x="27" y="58"/>
                    <a:pt x="27" y="62"/>
                    <a:pt x="29" y="65"/>
                  </a:cubicBezTo>
                  <a:cubicBezTo>
                    <a:pt x="30" y="69"/>
                    <a:pt x="32" y="72"/>
                    <a:pt x="34" y="75"/>
                  </a:cubicBezTo>
                  <a:cubicBezTo>
                    <a:pt x="37" y="77"/>
                    <a:pt x="40" y="80"/>
                    <a:pt x="43" y="81"/>
                  </a:cubicBezTo>
                  <a:cubicBezTo>
                    <a:pt x="47" y="83"/>
                    <a:pt x="51" y="84"/>
                    <a:pt x="55" y="84"/>
                  </a:cubicBezTo>
                  <a:cubicBezTo>
                    <a:pt x="60" y="84"/>
                    <a:pt x="64" y="83"/>
                    <a:pt x="67" y="82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32">
              <a:extLst>
                <a:ext uri="{FF2B5EF4-FFF2-40B4-BE49-F238E27FC236}">
                  <a16:creationId xmlns:a16="http://schemas.microsoft.com/office/drawing/2014/main" id="{C7633EF0-FE39-4612-8A49-19236B552C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3901" y="1055688"/>
              <a:ext cx="104775" cy="114300"/>
            </a:xfrm>
            <a:custGeom>
              <a:avLst/>
              <a:gdLst>
                <a:gd name="T0" fmla="*/ 67 w 98"/>
                <a:gd name="T1" fmla="*/ 82 h 108"/>
                <a:gd name="T2" fmla="*/ 75 w 98"/>
                <a:gd name="T3" fmla="*/ 77 h 108"/>
                <a:gd name="T4" fmla="*/ 81 w 98"/>
                <a:gd name="T5" fmla="*/ 71 h 108"/>
                <a:gd name="T6" fmla="*/ 98 w 98"/>
                <a:gd name="T7" fmla="*/ 88 h 108"/>
                <a:gd name="T8" fmla="*/ 87 w 98"/>
                <a:gd name="T9" fmla="*/ 98 h 108"/>
                <a:gd name="T10" fmla="*/ 74 w 98"/>
                <a:gd name="T11" fmla="*/ 105 h 108"/>
                <a:gd name="T12" fmla="*/ 55 w 98"/>
                <a:gd name="T13" fmla="*/ 108 h 108"/>
                <a:gd name="T14" fmla="*/ 34 w 98"/>
                <a:gd name="T15" fmla="*/ 104 h 108"/>
                <a:gd name="T16" fmla="*/ 16 w 98"/>
                <a:gd name="T17" fmla="*/ 92 h 108"/>
                <a:gd name="T18" fmla="*/ 5 w 98"/>
                <a:gd name="T19" fmla="*/ 75 h 108"/>
                <a:gd name="T20" fmla="*/ 0 w 98"/>
                <a:gd name="T21" fmla="*/ 54 h 108"/>
                <a:gd name="T22" fmla="*/ 5 w 98"/>
                <a:gd name="T23" fmla="*/ 33 h 108"/>
                <a:gd name="T24" fmla="*/ 16 w 98"/>
                <a:gd name="T25" fmla="*/ 16 h 108"/>
                <a:gd name="T26" fmla="*/ 34 w 98"/>
                <a:gd name="T27" fmla="*/ 4 h 108"/>
                <a:gd name="T28" fmla="*/ 55 w 98"/>
                <a:gd name="T29" fmla="*/ 0 h 108"/>
                <a:gd name="T30" fmla="*/ 74 w 98"/>
                <a:gd name="T31" fmla="*/ 3 h 108"/>
                <a:gd name="T32" fmla="*/ 87 w 98"/>
                <a:gd name="T33" fmla="*/ 10 h 108"/>
                <a:gd name="T34" fmla="*/ 97 w 98"/>
                <a:gd name="T35" fmla="*/ 19 h 108"/>
                <a:gd name="T36" fmla="*/ 79 w 98"/>
                <a:gd name="T37" fmla="*/ 35 h 108"/>
                <a:gd name="T38" fmla="*/ 73 w 98"/>
                <a:gd name="T39" fmla="*/ 30 h 108"/>
                <a:gd name="T40" fmla="*/ 66 w 98"/>
                <a:gd name="T41" fmla="*/ 26 h 108"/>
                <a:gd name="T42" fmla="*/ 55 w 98"/>
                <a:gd name="T43" fmla="*/ 24 h 108"/>
                <a:gd name="T44" fmla="*/ 44 w 98"/>
                <a:gd name="T45" fmla="*/ 27 h 108"/>
                <a:gd name="T46" fmla="*/ 34 w 98"/>
                <a:gd name="T47" fmla="*/ 33 h 108"/>
                <a:gd name="T48" fmla="*/ 29 w 98"/>
                <a:gd name="T49" fmla="*/ 42 h 108"/>
                <a:gd name="T50" fmla="*/ 27 w 98"/>
                <a:gd name="T51" fmla="*/ 54 h 108"/>
                <a:gd name="T52" fmla="*/ 29 w 98"/>
                <a:gd name="T53" fmla="*/ 65 h 108"/>
                <a:gd name="T54" fmla="*/ 34 w 98"/>
                <a:gd name="T55" fmla="*/ 75 h 108"/>
                <a:gd name="T56" fmla="*/ 44 w 98"/>
                <a:gd name="T57" fmla="*/ 81 h 108"/>
                <a:gd name="T58" fmla="*/ 55 w 98"/>
                <a:gd name="T59" fmla="*/ 84 h 108"/>
                <a:gd name="T60" fmla="*/ 67 w 98"/>
                <a:gd name="T61" fmla="*/ 8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8" h="108">
                  <a:moveTo>
                    <a:pt x="67" y="82"/>
                  </a:moveTo>
                  <a:cubicBezTo>
                    <a:pt x="70" y="80"/>
                    <a:pt x="73" y="79"/>
                    <a:pt x="75" y="77"/>
                  </a:cubicBezTo>
                  <a:cubicBezTo>
                    <a:pt x="77" y="75"/>
                    <a:pt x="79" y="73"/>
                    <a:pt x="81" y="71"/>
                  </a:cubicBezTo>
                  <a:cubicBezTo>
                    <a:pt x="98" y="88"/>
                    <a:pt x="98" y="88"/>
                    <a:pt x="98" y="88"/>
                  </a:cubicBezTo>
                  <a:cubicBezTo>
                    <a:pt x="95" y="92"/>
                    <a:pt x="91" y="95"/>
                    <a:pt x="87" y="98"/>
                  </a:cubicBezTo>
                  <a:cubicBezTo>
                    <a:pt x="83" y="101"/>
                    <a:pt x="79" y="103"/>
                    <a:pt x="74" y="105"/>
                  </a:cubicBezTo>
                  <a:cubicBezTo>
                    <a:pt x="68" y="107"/>
                    <a:pt x="62" y="108"/>
                    <a:pt x="55" y="108"/>
                  </a:cubicBezTo>
                  <a:cubicBezTo>
                    <a:pt x="48" y="108"/>
                    <a:pt x="41" y="106"/>
                    <a:pt x="34" y="104"/>
                  </a:cubicBezTo>
                  <a:cubicBezTo>
                    <a:pt x="27" y="101"/>
                    <a:pt x="21" y="97"/>
                    <a:pt x="16" y="92"/>
                  </a:cubicBezTo>
                  <a:cubicBezTo>
                    <a:pt x="11" y="87"/>
                    <a:pt x="7" y="82"/>
                    <a:pt x="5" y="75"/>
                  </a:cubicBezTo>
                  <a:cubicBezTo>
                    <a:pt x="2" y="69"/>
                    <a:pt x="0" y="61"/>
                    <a:pt x="0" y="54"/>
                  </a:cubicBezTo>
                  <a:cubicBezTo>
                    <a:pt x="0" y="46"/>
                    <a:pt x="2" y="39"/>
                    <a:pt x="5" y="33"/>
                  </a:cubicBezTo>
                  <a:cubicBezTo>
                    <a:pt x="7" y="26"/>
                    <a:pt x="11" y="21"/>
                    <a:pt x="16" y="16"/>
                  </a:cubicBezTo>
                  <a:cubicBezTo>
                    <a:pt x="21" y="11"/>
                    <a:pt x="27" y="7"/>
                    <a:pt x="34" y="4"/>
                  </a:cubicBezTo>
                  <a:cubicBezTo>
                    <a:pt x="41" y="1"/>
                    <a:pt x="48" y="0"/>
                    <a:pt x="55" y="0"/>
                  </a:cubicBezTo>
                  <a:cubicBezTo>
                    <a:pt x="62" y="0"/>
                    <a:pt x="68" y="1"/>
                    <a:pt x="74" y="3"/>
                  </a:cubicBezTo>
                  <a:cubicBezTo>
                    <a:pt x="79" y="5"/>
                    <a:pt x="83" y="7"/>
                    <a:pt x="87" y="10"/>
                  </a:cubicBezTo>
                  <a:cubicBezTo>
                    <a:pt x="91" y="12"/>
                    <a:pt x="94" y="15"/>
                    <a:pt x="97" y="19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78" y="33"/>
                    <a:pt x="76" y="31"/>
                    <a:pt x="73" y="30"/>
                  </a:cubicBezTo>
                  <a:cubicBezTo>
                    <a:pt x="71" y="28"/>
                    <a:pt x="69" y="27"/>
                    <a:pt x="66" y="26"/>
                  </a:cubicBezTo>
                  <a:cubicBezTo>
                    <a:pt x="63" y="25"/>
                    <a:pt x="59" y="24"/>
                    <a:pt x="55" y="24"/>
                  </a:cubicBezTo>
                  <a:cubicBezTo>
                    <a:pt x="51" y="24"/>
                    <a:pt x="47" y="25"/>
                    <a:pt x="44" y="27"/>
                  </a:cubicBezTo>
                  <a:cubicBezTo>
                    <a:pt x="40" y="28"/>
                    <a:pt x="37" y="30"/>
                    <a:pt x="34" y="33"/>
                  </a:cubicBezTo>
                  <a:cubicBezTo>
                    <a:pt x="32" y="36"/>
                    <a:pt x="30" y="39"/>
                    <a:pt x="29" y="42"/>
                  </a:cubicBezTo>
                  <a:cubicBezTo>
                    <a:pt x="27" y="46"/>
                    <a:pt x="27" y="50"/>
                    <a:pt x="27" y="54"/>
                  </a:cubicBezTo>
                  <a:cubicBezTo>
                    <a:pt x="27" y="58"/>
                    <a:pt x="27" y="62"/>
                    <a:pt x="29" y="65"/>
                  </a:cubicBezTo>
                  <a:cubicBezTo>
                    <a:pt x="30" y="69"/>
                    <a:pt x="32" y="72"/>
                    <a:pt x="34" y="75"/>
                  </a:cubicBezTo>
                  <a:cubicBezTo>
                    <a:pt x="37" y="77"/>
                    <a:pt x="40" y="80"/>
                    <a:pt x="44" y="81"/>
                  </a:cubicBezTo>
                  <a:cubicBezTo>
                    <a:pt x="47" y="83"/>
                    <a:pt x="51" y="84"/>
                    <a:pt x="55" y="84"/>
                  </a:cubicBezTo>
                  <a:cubicBezTo>
                    <a:pt x="60" y="84"/>
                    <a:pt x="64" y="83"/>
                    <a:pt x="67" y="82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33">
              <a:extLst>
                <a:ext uri="{FF2B5EF4-FFF2-40B4-BE49-F238E27FC236}">
                  <a16:creationId xmlns:a16="http://schemas.microsoft.com/office/drawing/2014/main" id="{56A23D21-952A-4A1A-A157-96525208000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657726" y="1055688"/>
              <a:ext cx="111125" cy="114300"/>
            </a:xfrm>
            <a:custGeom>
              <a:avLst/>
              <a:gdLst>
                <a:gd name="T0" fmla="*/ 72 w 104"/>
                <a:gd name="T1" fmla="*/ 4 h 108"/>
                <a:gd name="T2" fmla="*/ 88 w 104"/>
                <a:gd name="T3" fmla="*/ 15 h 108"/>
                <a:gd name="T4" fmla="*/ 99 w 104"/>
                <a:gd name="T5" fmla="*/ 32 h 108"/>
                <a:gd name="T6" fmla="*/ 104 w 104"/>
                <a:gd name="T7" fmla="*/ 54 h 108"/>
                <a:gd name="T8" fmla="*/ 104 w 104"/>
                <a:gd name="T9" fmla="*/ 58 h 108"/>
                <a:gd name="T10" fmla="*/ 103 w 104"/>
                <a:gd name="T11" fmla="*/ 63 h 108"/>
                <a:gd name="T12" fmla="*/ 27 w 104"/>
                <a:gd name="T13" fmla="*/ 63 h 108"/>
                <a:gd name="T14" fmla="*/ 30 w 104"/>
                <a:gd name="T15" fmla="*/ 70 h 108"/>
                <a:gd name="T16" fmla="*/ 36 w 104"/>
                <a:gd name="T17" fmla="*/ 77 h 108"/>
                <a:gd name="T18" fmla="*/ 44 w 104"/>
                <a:gd name="T19" fmla="*/ 82 h 108"/>
                <a:gd name="T20" fmla="*/ 56 w 104"/>
                <a:gd name="T21" fmla="*/ 84 h 108"/>
                <a:gd name="T22" fmla="*/ 68 w 104"/>
                <a:gd name="T23" fmla="*/ 82 h 108"/>
                <a:gd name="T24" fmla="*/ 76 w 104"/>
                <a:gd name="T25" fmla="*/ 79 h 108"/>
                <a:gd name="T26" fmla="*/ 84 w 104"/>
                <a:gd name="T27" fmla="*/ 74 h 108"/>
                <a:gd name="T28" fmla="*/ 97 w 104"/>
                <a:gd name="T29" fmla="*/ 93 h 108"/>
                <a:gd name="T30" fmla="*/ 85 w 104"/>
                <a:gd name="T31" fmla="*/ 101 h 108"/>
                <a:gd name="T32" fmla="*/ 73 w 104"/>
                <a:gd name="T33" fmla="*/ 106 h 108"/>
                <a:gd name="T34" fmla="*/ 56 w 104"/>
                <a:gd name="T35" fmla="*/ 108 h 108"/>
                <a:gd name="T36" fmla="*/ 34 w 104"/>
                <a:gd name="T37" fmla="*/ 104 h 108"/>
                <a:gd name="T38" fmla="*/ 16 w 104"/>
                <a:gd name="T39" fmla="*/ 92 h 108"/>
                <a:gd name="T40" fmla="*/ 5 w 104"/>
                <a:gd name="T41" fmla="*/ 75 h 108"/>
                <a:gd name="T42" fmla="*/ 0 w 104"/>
                <a:gd name="T43" fmla="*/ 54 h 108"/>
                <a:gd name="T44" fmla="*/ 4 w 104"/>
                <a:gd name="T45" fmla="*/ 33 h 108"/>
                <a:gd name="T46" fmla="*/ 15 w 104"/>
                <a:gd name="T47" fmla="*/ 16 h 108"/>
                <a:gd name="T48" fmla="*/ 31 w 104"/>
                <a:gd name="T49" fmla="*/ 4 h 108"/>
                <a:gd name="T50" fmla="*/ 52 w 104"/>
                <a:gd name="T51" fmla="*/ 0 h 108"/>
                <a:gd name="T52" fmla="*/ 72 w 104"/>
                <a:gd name="T53" fmla="*/ 4 h 108"/>
                <a:gd name="T54" fmla="*/ 78 w 104"/>
                <a:gd name="T55" fmla="*/ 44 h 108"/>
                <a:gd name="T56" fmla="*/ 76 w 104"/>
                <a:gd name="T57" fmla="*/ 38 h 108"/>
                <a:gd name="T58" fmla="*/ 71 w 104"/>
                <a:gd name="T59" fmla="*/ 31 h 108"/>
                <a:gd name="T60" fmla="*/ 63 w 104"/>
                <a:gd name="T61" fmla="*/ 26 h 108"/>
                <a:gd name="T62" fmla="*/ 52 w 104"/>
                <a:gd name="T63" fmla="*/ 24 h 108"/>
                <a:gd name="T64" fmla="*/ 41 w 104"/>
                <a:gd name="T65" fmla="*/ 26 h 108"/>
                <a:gd name="T66" fmla="*/ 33 w 104"/>
                <a:gd name="T67" fmla="*/ 31 h 108"/>
                <a:gd name="T68" fmla="*/ 29 w 104"/>
                <a:gd name="T69" fmla="*/ 37 h 108"/>
                <a:gd name="T70" fmla="*/ 27 w 104"/>
                <a:gd name="T71" fmla="*/ 44 h 108"/>
                <a:gd name="T72" fmla="*/ 78 w 104"/>
                <a:gd name="T73" fmla="*/ 4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4" h="108">
                  <a:moveTo>
                    <a:pt x="72" y="4"/>
                  </a:moveTo>
                  <a:cubicBezTo>
                    <a:pt x="78" y="7"/>
                    <a:pt x="84" y="10"/>
                    <a:pt x="88" y="15"/>
                  </a:cubicBezTo>
                  <a:cubicBezTo>
                    <a:pt x="93" y="20"/>
                    <a:pt x="97" y="25"/>
                    <a:pt x="99" y="32"/>
                  </a:cubicBezTo>
                  <a:cubicBezTo>
                    <a:pt x="102" y="38"/>
                    <a:pt x="104" y="46"/>
                    <a:pt x="104" y="54"/>
                  </a:cubicBezTo>
                  <a:cubicBezTo>
                    <a:pt x="104" y="55"/>
                    <a:pt x="104" y="56"/>
                    <a:pt x="104" y="58"/>
                  </a:cubicBezTo>
                  <a:cubicBezTo>
                    <a:pt x="104" y="59"/>
                    <a:pt x="104" y="61"/>
                    <a:pt x="103" y="63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7" y="66"/>
                    <a:pt x="28" y="68"/>
                    <a:pt x="30" y="70"/>
                  </a:cubicBezTo>
                  <a:cubicBezTo>
                    <a:pt x="31" y="73"/>
                    <a:pt x="33" y="75"/>
                    <a:pt x="36" y="77"/>
                  </a:cubicBezTo>
                  <a:cubicBezTo>
                    <a:pt x="38" y="79"/>
                    <a:pt x="41" y="81"/>
                    <a:pt x="44" y="82"/>
                  </a:cubicBezTo>
                  <a:cubicBezTo>
                    <a:pt x="48" y="83"/>
                    <a:pt x="51" y="84"/>
                    <a:pt x="56" y="84"/>
                  </a:cubicBezTo>
                  <a:cubicBezTo>
                    <a:pt x="60" y="84"/>
                    <a:pt x="64" y="84"/>
                    <a:pt x="68" y="82"/>
                  </a:cubicBezTo>
                  <a:cubicBezTo>
                    <a:pt x="71" y="81"/>
                    <a:pt x="74" y="80"/>
                    <a:pt x="76" y="79"/>
                  </a:cubicBezTo>
                  <a:cubicBezTo>
                    <a:pt x="79" y="77"/>
                    <a:pt x="82" y="76"/>
                    <a:pt x="84" y="74"/>
                  </a:cubicBezTo>
                  <a:cubicBezTo>
                    <a:pt x="97" y="93"/>
                    <a:pt x="97" y="93"/>
                    <a:pt x="97" y="93"/>
                  </a:cubicBezTo>
                  <a:cubicBezTo>
                    <a:pt x="93" y="96"/>
                    <a:pt x="90" y="98"/>
                    <a:pt x="85" y="101"/>
                  </a:cubicBezTo>
                  <a:cubicBezTo>
                    <a:pt x="82" y="102"/>
                    <a:pt x="77" y="104"/>
                    <a:pt x="73" y="106"/>
                  </a:cubicBezTo>
                  <a:cubicBezTo>
                    <a:pt x="68" y="107"/>
                    <a:pt x="62" y="108"/>
                    <a:pt x="56" y="108"/>
                  </a:cubicBezTo>
                  <a:cubicBezTo>
                    <a:pt x="48" y="108"/>
                    <a:pt x="40" y="106"/>
                    <a:pt x="34" y="104"/>
                  </a:cubicBezTo>
                  <a:cubicBezTo>
                    <a:pt x="27" y="101"/>
                    <a:pt x="21" y="97"/>
                    <a:pt x="16" y="92"/>
                  </a:cubicBezTo>
                  <a:cubicBezTo>
                    <a:pt x="11" y="87"/>
                    <a:pt x="7" y="82"/>
                    <a:pt x="5" y="75"/>
                  </a:cubicBezTo>
                  <a:cubicBezTo>
                    <a:pt x="2" y="69"/>
                    <a:pt x="0" y="61"/>
                    <a:pt x="0" y="54"/>
                  </a:cubicBezTo>
                  <a:cubicBezTo>
                    <a:pt x="0" y="46"/>
                    <a:pt x="2" y="39"/>
                    <a:pt x="4" y="33"/>
                  </a:cubicBezTo>
                  <a:cubicBezTo>
                    <a:pt x="7" y="26"/>
                    <a:pt x="10" y="21"/>
                    <a:pt x="15" y="16"/>
                  </a:cubicBezTo>
                  <a:cubicBezTo>
                    <a:pt x="19" y="11"/>
                    <a:pt x="25" y="7"/>
                    <a:pt x="31" y="4"/>
                  </a:cubicBezTo>
                  <a:cubicBezTo>
                    <a:pt x="38" y="1"/>
                    <a:pt x="44" y="0"/>
                    <a:pt x="52" y="0"/>
                  </a:cubicBezTo>
                  <a:cubicBezTo>
                    <a:pt x="59" y="0"/>
                    <a:pt x="66" y="1"/>
                    <a:pt x="72" y="4"/>
                  </a:cubicBezTo>
                  <a:close/>
                  <a:moveTo>
                    <a:pt x="78" y="44"/>
                  </a:moveTo>
                  <a:cubicBezTo>
                    <a:pt x="77" y="42"/>
                    <a:pt x="77" y="40"/>
                    <a:pt x="76" y="38"/>
                  </a:cubicBezTo>
                  <a:cubicBezTo>
                    <a:pt x="75" y="35"/>
                    <a:pt x="73" y="33"/>
                    <a:pt x="71" y="31"/>
                  </a:cubicBezTo>
                  <a:cubicBezTo>
                    <a:pt x="69" y="29"/>
                    <a:pt x="66" y="27"/>
                    <a:pt x="63" y="26"/>
                  </a:cubicBezTo>
                  <a:cubicBezTo>
                    <a:pt x="60" y="24"/>
                    <a:pt x="56" y="24"/>
                    <a:pt x="52" y="24"/>
                  </a:cubicBezTo>
                  <a:cubicBezTo>
                    <a:pt x="48" y="24"/>
                    <a:pt x="44" y="24"/>
                    <a:pt x="41" y="26"/>
                  </a:cubicBezTo>
                  <a:cubicBezTo>
                    <a:pt x="38" y="27"/>
                    <a:pt x="35" y="29"/>
                    <a:pt x="33" y="31"/>
                  </a:cubicBezTo>
                  <a:cubicBezTo>
                    <a:pt x="31" y="33"/>
                    <a:pt x="30" y="35"/>
                    <a:pt x="29" y="37"/>
                  </a:cubicBezTo>
                  <a:cubicBezTo>
                    <a:pt x="28" y="40"/>
                    <a:pt x="27" y="42"/>
                    <a:pt x="27" y="44"/>
                  </a:cubicBezTo>
                  <a:lnTo>
                    <a:pt x="78" y="44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Freeform 34">
              <a:extLst>
                <a:ext uri="{FF2B5EF4-FFF2-40B4-BE49-F238E27FC236}">
                  <a16:creationId xmlns:a16="http://schemas.microsoft.com/office/drawing/2014/main" id="{CA19857A-A213-4A64-B52F-74AA41539F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1076" y="1055688"/>
              <a:ext cx="96838" cy="114300"/>
            </a:xfrm>
            <a:custGeom>
              <a:avLst/>
              <a:gdLst>
                <a:gd name="T0" fmla="*/ 15 w 91"/>
                <a:gd name="T1" fmla="*/ 70 h 108"/>
                <a:gd name="T2" fmla="*/ 24 w 91"/>
                <a:gd name="T3" fmla="*/ 78 h 108"/>
                <a:gd name="T4" fmla="*/ 33 w 91"/>
                <a:gd name="T5" fmla="*/ 83 h 108"/>
                <a:gd name="T6" fmla="*/ 46 w 91"/>
                <a:gd name="T7" fmla="*/ 85 h 108"/>
                <a:gd name="T8" fmla="*/ 59 w 91"/>
                <a:gd name="T9" fmla="*/ 83 h 108"/>
                <a:gd name="T10" fmla="*/ 65 w 91"/>
                <a:gd name="T11" fmla="*/ 76 h 108"/>
                <a:gd name="T12" fmla="*/ 61 w 91"/>
                <a:gd name="T13" fmla="*/ 69 h 108"/>
                <a:gd name="T14" fmla="*/ 45 w 91"/>
                <a:gd name="T15" fmla="*/ 65 h 108"/>
                <a:gd name="T16" fmla="*/ 30 w 91"/>
                <a:gd name="T17" fmla="*/ 60 h 108"/>
                <a:gd name="T18" fmla="*/ 18 w 91"/>
                <a:gd name="T19" fmla="*/ 54 h 108"/>
                <a:gd name="T20" fmla="*/ 10 w 91"/>
                <a:gd name="T21" fmla="*/ 45 h 108"/>
                <a:gd name="T22" fmla="*/ 7 w 91"/>
                <a:gd name="T23" fmla="*/ 32 h 108"/>
                <a:gd name="T24" fmla="*/ 10 w 91"/>
                <a:gd name="T25" fmla="*/ 20 h 108"/>
                <a:gd name="T26" fmla="*/ 18 w 91"/>
                <a:gd name="T27" fmla="*/ 10 h 108"/>
                <a:gd name="T28" fmla="*/ 32 w 91"/>
                <a:gd name="T29" fmla="*/ 3 h 108"/>
                <a:gd name="T30" fmla="*/ 51 w 91"/>
                <a:gd name="T31" fmla="*/ 0 h 108"/>
                <a:gd name="T32" fmla="*/ 67 w 91"/>
                <a:gd name="T33" fmla="*/ 2 h 108"/>
                <a:gd name="T34" fmla="*/ 79 w 91"/>
                <a:gd name="T35" fmla="*/ 6 h 108"/>
                <a:gd name="T36" fmla="*/ 89 w 91"/>
                <a:gd name="T37" fmla="*/ 13 h 108"/>
                <a:gd name="T38" fmla="*/ 76 w 91"/>
                <a:gd name="T39" fmla="*/ 32 h 108"/>
                <a:gd name="T40" fmla="*/ 69 w 91"/>
                <a:gd name="T41" fmla="*/ 27 h 108"/>
                <a:gd name="T42" fmla="*/ 61 w 91"/>
                <a:gd name="T43" fmla="*/ 24 h 108"/>
                <a:gd name="T44" fmla="*/ 51 w 91"/>
                <a:gd name="T45" fmla="*/ 23 h 108"/>
                <a:gd name="T46" fmla="*/ 38 w 91"/>
                <a:gd name="T47" fmla="*/ 25 h 108"/>
                <a:gd name="T48" fmla="*/ 32 w 91"/>
                <a:gd name="T49" fmla="*/ 33 h 108"/>
                <a:gd name="T50" fmla="*/ 38 w 91"/>
                <a:gd name="T51" fmla="*/ 39 h 108"/>
                <a:gd name="T52" fmla="*/ 56 w 91"/>
                <a:gd name="T53" fmla="*/ 44 h 108"/>
                <a:gd name="T54" fmla="*/ 70 w 91"/>
                <a:gd name="T55" fmla="*/ 48 h 108"/>
                <a:gd name="T56" fmla="*/ 81 w 91"/>
                <a:gd name="T57" fmla="*/ 54 h 108"/>
                <a:gd name="T58" fmla="*/ 89 w 91"/>
                <a:gd name="T59" fmla="*/ 63 h 108"/>
                <a:gd name="T60" fmla="*/ 91 w 91"/>
                <a:gd name="T61" fmla="*/ 76 h 108"/>
                <a:gd name="T62" fmla="*/ 88 w 91"/>
                <a:gd name="T63" fmla="*/ 89 h 108"/>
                <a:gd name="T64" fmla="*/ 79 w 91"/>
                <a:gd name="T65" fmla="*/ 99 h 108"/>
                <a:gd name="T66" fmla="*/ 64 w 91"/>
                <a:gd name="T67" fmla="*/ 105 h 108"/>
                <a:gd name="T68" fmla="*/ 46 w 91"/>
                <a:gd name="T69" fmla="*/ 108 h 108"/>
                <a:gd name="T70" fmla="*/ 27 w 91"/>
                <a:gd name="T71" fmla="*/ 105 h 108"/>
                <a:gd name="T72" fmla="*/ 12 w 91"/>
                <a:gd name="T73" fmla="*/ 99 h 108"/>
                <a:gd name="T74" fmla="*/ 0 w 91"/>
                <a:gd name="T75" fmla="*/ 89 h 108"/>
                <a:gd name="T76" fmla="*/ 15 w 91"/>
                <a:gd name="T77" fmla="*/ 7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1" h="108">
                  <a:moveTo>
                    <a:pt x="15" y="70"/>
                  </a:moveTo>
                  <a:cubicBezTo>
                    <a:pt x="17" y="73"/>
                    <a:pt x="20" y="76"/>
                    <a:pt x="24" y="78"/>
                  </a:cubicBezTo>
                  <a:cubicBezTo>
                    <a:pt x="26" y="80"/>
                    <a:pt x="30" y="81"/>
                    <a:pt x="33" y="83"/>
                  </a:cubicBezTo>
                  <a:cubicBezTo>
                    <a:pt x="37" y="84"/>
                    <a:pt x="41" y="85"/>
                    <a:pt x="46" y="85"/>
                  </a:cubicBezTo>
                  <a:cubicBezTo>
                    <a:pt x="51" y="85"/>
                    <a:pt x="56" y="84"/>
                    <a:pt x="59" y="83"/>
                  </a:cubicBezTo>
                  <a:cubicBezTo>
                    <a:pt x="63" y="81"/>
                    <a:pt x="65" y="79"/>
                    <a:pt x="65" y="76"/>
                  </a:cubicBezTo>
                  <a:cubicBezTo>
                    <a:pt x="65" y="73"/>
                    <a:pt x="64" y="70"/>
                    <a:pt x="61" y="69"/>
                  </a:cubicBezTo>
                  <a:cubicBezTo>
                    <a:pt x="58" y="68"/>
                    <a:pt x="53" y="66"/>
                    <a:pt x="45" y="65"/>
                  </a:cubicBezTo>
                  <a:cubicBezTo>
                    <a:pt x="40" y="63"/>
                    <a:pt x="35" y="62"/>
                    <a:pt x="30" y="60"/>
                  </a:cubicBezTo>
                  <a:cubicBezTo>
                    <a:pt x="26" y="59"/>
                    <a:pt x="22" y="57"/>
                    <a:pt x="18" y="54"/>
                  </a:cubicBezTo>
                  <a:cubicBezTo>
                    <a:pt x="15" y="51"/>
                    <a:pt x="12" y="48"/>
                    <a:pt x="10" y="45"/>
                  </a:cubicBezTo>
                  <a:cubicBezTo>
                    <a:pt x="8" y="41"/>
                    <a:pt x="7" y="37"/>
                    <a:pt x="7" y="32"/>
                  </a:cubicBezTo>
                  <a:cubicBezTo>
                    <a:pt x="7" y="28"/>
                    <a:pt x="8" y="24"/>
                    <a:pt x="10" y="20"/>
                  </a:cubicBezTo>
                  <a:cubicBezTo>
                    <a:pt x="11" y="16"/>
                    <a:pt x="14" y="13"/>
                    <a:pt x="18" y="10"/>
                  </a:cubicBezTo>
                  <a:cubicBezTo>
                    <a:pt x="22" y="7"/>
                    <a:pt x="26" y="5"/>
                    <a:pt x="32" y="3"/>
                  </a:cubicBezTo>
                  <a:cubicBezTo>
                    <a:pt x="37" y="1"/>
                    <a:pt x="44" y="0"/>
                    <a:pt x="51" y="0"/>
                  </a:cubicBezTo>
                  <a:cubicBezTo>
                    <a:pt x="57" y="0"/>
                    <a:pt x="62" y="1"/>
                    <a:pt x="67" y="2"/>
                  </a:cubicBezTo>
                  <a:cubicBezTo>
                    <a:pt x="71" y="3"/>
                    <a:pt x="75" y="5"/>
                    <a:pt x="79" y="6"/>
                  </a:cubicBezTo>
                  <a:cubicBezTo>
                    <a:pt x="83" y="8"/>
                    <a:pt x="86" y="10"/>
                    <a:pt x="89" y="13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74" y="30"/>
                    <a:pt x="72" y="29"/>
                    <a:pt x="69" y="27"/>
                  </a:cubicBezTo>
                  <a:cubicBezTo>
                    <a:pt x="66" y="26"/>
                    <a:pt x="64" y="25"/>
                    <a:pt x="61" y="24"/>
                  </a:cubicBezTo>
                  <a:cubicBezTo>
                    <a:pt x="58" y="23"/>
                    <a:pt x="54" y="23"/>
                    <a:pt x="51" y="23"/>
                  </a:cubicBezTo>
                  <a:cubicBezTo>
                    <a:pt x="46" y="23"/>
                    <a:pt x="42" y="24"/>
                    <a:pt x="38" y="25"/>
                  </a:cubicBezTo>
                  <a:cubicBezTo>
                    <a:pt x="34" y="27"/>
                    <a:pt x="32" y="29"/>
                    <a:pt x="32" y="33"/>
                  </a:cubicBezTo>
                  <a:cubicBezTo>
                    <a:pt x="32" y="36"/>
                    <a:pt x="34" y="38"/>
                    <a:pt x="38" y="39"/>
                  </a:cubicBezTo>
                  <a:cubicBezTo>
                    <a:pt x="42" y="41"/>
                    <a:pt x="48" y="42"/>
                    <a:pt x="56" y="44"/>
                  </a:cubicBezTo>
                  <a:cubicBezTo>
                    <a:pt x="61" y="45"/>
                    <a:pt x="66" y="46"/>
                    <a:pt x="70" y="48"/>
                  </a:cubicBezTo>
                  <a:cubicBezTo>
                    <a:pt x="75" y="49"/>
                    <a:pt x="78" y="51"/>
                    <a:pt x="81" y="54"/>
                  </a:cubicBezTo>
                  <a:cubicBezTo>
                    <a:pt x="85" y="56"/>
                    <a:pt x="87" y="59"/>
                    <a:pt x="89" y="63"/>
                  </a:cubicBezTo>
                  <a:cubicBezTo>
                    <a:pt x="90" y="66"/>
                    <a:pt x="91" y="71"/>
                    <a:pt x="91" y="76"/>
                  </a:cubicBezTo>
                  <a:cubicBezTo>
                    <a:pt x="91" y="81"/>
                    <a:pt x="90" y="85"/>
                    <a:pt x="88" y="89"/>
                  </a:cubicBezTo>
                  <a:cubicBezTo>
                    <a:pt x="86" y="93"/>
                    <a:pt x="83" y="96"/>
                    <a:pt x="79" y="99"/>
                  </a:cubicBezTo>
                  <a:cubicBezTo>
                    <a:pt x="75" y="101"/>
                    <a:pt x="70" y="104"/>
                    <a:pt x="64" y="105"/>
                  </a:cubicBezTo>
                  <a:cubicBezTo>
                    <a:pt x="59" y="107"/>
                    <a:pt x="53" y="108"/>
                    <a:pt x="46" y="108"/>
                  </a:cubicBezTo>
                  <a:cubicBezTo>
                    <a:pt x="39" y="108"/>
                    <a:pt x="32" y="107"/>
                    <a:pt x="27" y="105"/>
                  </a:cubicBezTo>
                  <a:cubicBezTo>
                    <a:pt x="21" y="103"/>
                    <a:pt x="16" y="101"/>
                    <a:pt x="12" y="99"/>
                  </a:cubicBezTo>
                  <a:cubicBezTo>
                    <a:pt x="7" y="96"/>
                    <a:pt x="3" y="93"/>
                    <a:pt x="0" y="89"/>
                  </a:cubicBezTo>
                  <a:lnTo>
                    <a:pt x="15" y="70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Freeform 35">
              <a:extLst>
                <a:ext uri="{FF2B5EF4-FFF2-40B4-BE49-F238E27FC236}">
                  <a16:creationId xmlns:a16="http://schemas.microsoft.com/office/drawing/2014/main" id="{518C9716-235D-46E0-A70C-E68E93DD62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13313" y="1055688"/>
              <a:ext cx="96838" cy="114300"/>
            </a:xfrm>
            <a:custGeom>
              <a:avLst/>
              <a:gdLst>
                <a:gd name="T0" fmla="*/ 14 w 91"/>
                <a:gd name="T1" fmla="*/ 70 h 108"/>
                <a:gd name="T2" fmla="*/ 23 w 91"/>
                <a:gd name="T3" fmla="*/ 78 h 108"/>
                <a:gd name="T4" fmla="*/ 33 w 91"/>
                <a:gd name="T5" fmla="*/ 83 h 108"/>
                <a:gd name="T6" fmla="*/ 45 w 91"/>
                <a:gd name="T7" fmla="*/ 85 h 108"/>
                <a:gd name="T8" fmla="*/ 59 w 91"/>
                <a:gd name="T9" fmla="*/ 83 h 108"/>
                <a:gd name="T10" fmla="*/ 65 w 91"/>
                <a:gd name="T11" fmla="*/ 76 h 108"/>
                <a:gd name="T12" fmla="*/ 60 w 91"/>
                <a:gd name="T13" fmla="*/ 69 h 108"/>
                <a:gd name="T14" fmla="*/ 44 w 91"/>
                <a:gd name="T15" fmla="*/ 65 h 108"/>
                <a:gd name="T16" fmla="*/ 30 w 91"/>
                <a:gd name="T17" fmla="*/ 60 h 108"/>
                <a:gd name="T18" fmla="*/ 18 w 91"/>
                <a:gd name="T19" fmla="*/ 54 h 108"/>
                <a:gd name="T20" fmla="*/ 9 w 91"/>
                <a:gd name="T21" fmla="*/ 45 h 108"/>
                <a:gd name="T22" fmla="*/ 6 w 91"/>
                <a:gd name="T23" fmla="*/ 32 h 108"/>
                <a:gd name="T24" fmla="*/ 9 w 91"/>
                <a:gd name="T25" fmla="*/ 20 h 108"/>
                <a:gd name="T26" fmla="*/ 18 w 91"/>
                <a:gd name="T27" fmla="*/ 10 h 108"/>
                <a:gd name="T28" fmla="*/ 31 w 91"/>
                <a:gd name="T29" fmla="*/ 3 h 108"/>
                <a:gd name="T30" fmla="*/ 50 w 91"/>
                <a:gd name="T31" fmla="*/ 0 h 108"/>
                <a:gd name="T32" fmla="*/ 66 w 91"/>
                <a:gd name="T33" fmla="*/ 2 h 108"/>
                <a:gd name="T34" fmla="*/ 78 w 91"/>
                <a:gd name="T35" fmla="*/ 6 h 108"/>
                <a:gd name="T36" fmla="*/ 89 w 91"/>
                <a:gd name="T37" fmla="*/ 13 h 108"/>
                <a:gd name="T38" fmla="*/ 76 w 91"/>
                <a:gd name="T39" fmla="*/ 32 h 108"/>
                <a:gd name="T40" fmla="*/ 68 w 91"/>
                <a:gd name="T41" fmla="*/ 27 h 108"/>
                <a:gd name="T42" fmla="*/ 60 w 91"/>
                <a:gd name="T43" fmla="*/ 24 h 108"/>
                <a:gd name="T44" fmla="*/ 50 w 91"/>
                <a:gd name="T45" fmla="*/ 23 h 108"/>
                <a:gd name="T46" fmla="*/ 37 w 91"/>
                <a:gd name="T47" fmla="*/ 25 h 108"/>
                <a:gd name="T48" fmla="*/ 32 w 91"/>
                <a:gd name="T49" fmla="*/ 33 h 108"/>
                <a:gd name="T50" fmla="*/ 37 w 91"/>
                <a:gd name="T51" fmla="*/ 39 h 108"/>
                <a:gd name="T52" fmla="*/ 56 w 91"/>
                <a:gd name="T53" fmla="*/ 44 h 108"/>
                <a:gd name="T54" fmla="*/ 70 w 91"/>
                <a:gd name="T55" fmla="*/ 48 h 108"/>
                <a:gd name="T56" fmla="*/ 81 w 91"/>
                <a:gd name="T57" fmla="*/ 54 h 108"/>
                <a:gd name="T58" fmla="*/ 88 w 91"/>
                <a:gd name="T59" fmla="*/ 63 h 108"/>
                <a:gd name="T60" fmla="*/ 91 w 91"/>
                <a:gd name="T61" fmla="*/ 76 h 108"/>
                <a:gd name="T62" fmla="*/ 87 w 91"/>
                <a:gd name="T63" fmla="*/ 89 h 108"/>
                <a:gd name="T64" fmla="*/ 78 w 91"/>
                <a:gd name="T65" fmla="*/ 99 h 108"/>
                <a:gd name="T66" fmla="*/ 64 w 91"/>
                <a:gd name="T67" fmla="*/ 105 h 108"/>
                <a:gd name="T68" fmla="*/ 46 w 91"/>
                <a:gd name="T69" fmla="*/ 108 h 108"/>
                <a:gd name="T70" fmla="*/ 26 w 91"/>
                <a:gd name="T71" fmla="*/ 105 h 108"/>
                <a:gd name="T72" fmla="*/ 12 w 91"/>
                <a:gd name="T73" fmla="*/ 99 h 108"/>
                <a:gd name="T74" fmla="*/ 0 w 91"/>
                <a:gd name="T75" fmla="*/ 89 h 108"/>
                <a:gd name="T76" fmla="*/ 14 w 91"/>
                <a:gd name="T77" fmla="*/ 7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1" h="108">
                  <a:moveTo>
                    <a:pt x="14" y="70"/>
                  </a:moveTo>
                  <a:cubicBezTo>
                    <a:pt x="17" y="73"/>
                    <a:pt x="20" y="76"/>
                    <a:pt x="23" y="78"/>
                  </a:cubicBezTo>
                  <a:cubicBezTo>
                    <a:pt x="26" y="80"/>
                    <a:pt x="29" y="81"/>
                    <a:pt x="33" y="83"/>
                  </a:cubicBezTo>
                  <a:cubicBezTo>
                    <a:pt x="37" y="84"/>
                    <a:pt x="41" y="85"/>
                    <a:pt x="45" y="85"/>
                  </a:cubicBezTo>
                  <a:cubicBezTo>
                    <a:pt x="50" y="85"/>
                    <a:pt x="55" y="84"/>
                    <a:pt x="59" y="83"/>
                  </a:cubicBezTo>
                  <a:cubicBezTo>
                    <a:pt x="63" y="81"/>
                    <a:pt x="65" y="79"/>
                    <a:pt x="65" y="76"/>
                  </a:cubicBezTo>
                  <a:cubicBezTo>
                    <a:pt x="65" y="73"/>
                    <a:pt x="63" y="70"/>
                    <a:pt x="60" y="69"/>
                  </a:cubicBezTo>
                  <a:cubicBezTo>
                    <a:pt x="57" y="68"/>
                    <a:pt x="52" y="66"/>
                    <a:pt x="44" y="65"/>
                  </a:cubicBezTo>
                  <a:cubicBezTo>
                    <a:pt x="39" y="63"/>
                    <a:pt x="34" y="62"/>
                    <a:pt x="30" y="60"/>
                  </a:cubicBezTo>
                  <a:cubicBezTo>
                    <a:pt x="25" y="59"/>
                    <a:pt x="21" y="57"/>
                    <a:pt x="18" y="54"/>
                  </a:cubicBezTo>
                  <a:cubicBezTo>
                    <a:pt x="14" y="51"/>
                    <a:pt x="11" y="48"/>
                    <a:pt x="9" y="45"/>
                  </a:cubicBezTo>
                  <a:cubicBezTo>
                    <a:pt x="7" y="41"/>
                    <a:pt x="6" y="37"/>
                    <a:pt x="6" y="32"/>
                  </a:cubicBezTo>
                  <a:cubicBezTo>
                    <a:pt x="6" y="28"/>
                    <a:pt x="7" y="24"/>
                    <a:pt x="9" y="20"/>
                  </a:cubicBezTo>
                  <a:cubicBezTo>
                    <a:pt x="11" y="16"/>
                    <a:pt x="14" y="13"/>
                    <a:pt x="18" y="10"/>
                  </a:cubicBezTo>
                  <a:cubicBezTo>
                    <a:pt x="21" y="7"/>
                    <a:pt x="26" y="5"/>
                    <a:pt x="31" y="3"/>
                  </a:cubicBezTo>
                  <a:cubicBezTo>
                    <a:pt x="37" y="1"/>
                    <a:pt x="43" y="0"/>
                    <a:pt x="50" y="0"/>
                  </a:cubicBezTo>
                  <a:cubicBezTo>
                    <a:pt x="56" y="0"/>
                    <a:pt x="62" y="1"/>
                    <a:pt x="66" y="2"/>
                  </a:cubicBezTo>
                  <a:cubicBezTo>
                    <a:pt x="71" y="3"/>
                    <a:pt x="75" y="5"/>
                    <a:pt x="78" y="6"/>
                  </a:cubicBezTo>
                  <a:cubicBezTo>
                    <a:pt x="82" y="8"/>
                    <a:pt x="86" y="10"/>
                    <a:pt x="89" y="13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74" y="30"/>
                    <a:pt x="71" y="29"/>
                    <a:pt x="68" y="27"/>
                  </a:cubicBezTo>
                  <a:cubicBezTo>
                    <a:pt x="66" y="26"/>
                    <a:pt x="63" y="25"/>
                    <a:pt x="60" y="24"/>
                  </a:cubicBezTo>
                  <a:cubicBezTo>
                    <a:pt x="57" y="23"/>
                    <a:pt x="54" y="23"/>
                    <a:pt x="50" y="23"/>
                  </a:cubicBezTo>
                  <a:cubicBezTo>
                    <a:pt x="45" y="23"/>
                    <a:pt x="41" y="24"/>
                    <a:pt x="37" y="25"/>
                  </a:cubicBezTo>
                  <a:cubicBezTo>
                    <a:pt x="34" y="27"/>
                    <a:pt x="32" y="29"/>
                    <a:pt x="32" y="33"/>
                  </a:cubicBezTo>
                  <a:cubicBezTo>
                    <a:pt x="32" y="36"/>
                    <a:pt x="34" y="38"/>
                    <a:pt x="37" y="39"/>
                  </a:cubicBezTo>
                  <a:cubicBezTo>
                    <a:pt x="41" y="41"/>
                    <a:pt x="47" y="42"/>
                    <a:pt x="56" y="44"/>
                  </a:cubicBezTo>
                  <a:cubicBezTo>
                    <a:pt x="61" y="45"/>
                    <a:pt x="66" y="46"/>
                    <a:pt x="70" y="48"/>
                  </a:cubicBezTo>
                  <a:cubicBezTo>
                    <a:pt x="74" y="49"/>
                    <a:pt x="78" y="51"/>
                    <a:pt x="81" y="54"/>
                  </a:cubicBezTo>
                  <a:cubicBezTo>
                    <a:pt x="84" y="56"/>
                    <a:pt x="86" y="59"/>
                    <a:pt x="88" y="63"/>
                  </a:cubicBezTo>
                  <a:cubicBezTo>
                    <a:pt x="90" y="66"/>
                    <a:pt x="91" y="71"/>
                    <a:pt x="91" y="76"/>
                  </a:cubicBezTo>
                  <a:cubicBezTo>
                    <a:pt x="91" y="81"/>
                    <a:pt x="90" y="85"/>
                    <a:pt x="87" y="89"/>
                  </a:cubicBezTo>
                  <a:cubicBezTo>
                    <a:pt x="85" y="93"/>
                    <a:pt x="82" y="96"/>
                    <a:pt x="78" y="99"/>
                  </a:cubicBezTo>
                  <a:cubicBezTo>
                    <a:pt x="74" y="101"/>
                    <a:pt x="69" y="104"/>
                    <a:pt x="64" y="105"/>
                  </a:cubicBezTo>
                  <a:cubicBezTo>
                    <a:pt x="58" y="107"/>
                    <a:pt x="52" y="108"/>
                    <a:pt x="46" y="108"/>
                  </a:cubicBezTo>
                  <a:cubicBezTo>
                    <a:pt x="38" y="108"/>
                    <a:pt x="32" y="107"/>
                    <a:pt x="26" y="105"/>
                  </a:cubicBezTo>
                  <a:cubicBezTo>
                    <a:pt x="20" y="103"/>
                    <a:pt x="15" y="101"/>
                    <a:pt x="12" y="99"/>
                  </a:cubicBezTo>
                  <a:cubicBezTo>
                    <a:pt x="7" y="96"/>
                    <a:pt x="3" y="93"/>
                    <a:pt x="0" y="89"/>
                  </a:cubicBezTo>
                  <a:lnTo>
                    <a:pt x="14" y="70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Freeform 36">
              <a:extLst>
                <a:ext uri="{FF2B5EF4-FFF2-40B4-BE49-F238E27FC236}">
                  <a16:creationId xmlns:a16="http://schemas.microsoft.com/office/drawing/2014/main" id="{FA4DAB51-C7DA-483D-BDF7-F3103C8509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94288" y="1025525"/>
              <a:ext cx="85725" cy="144463"/>
            </a:xfrm>
            <a:custGeom>
              <a:avLst/>
              <a:gdLst>
                <a:gd name="T0" fmla="*/ 0 w 80"/>
                <a:gd name="T1" fmla="*/ 31 h 136"/>
                <a:gd name="T2" fmla="*/ 20 w 80"/>
                <a:gd name="T3" fmla="*/ 31 h 136"/>
                <a:gd name="T4" fmla="*/ 20 w 80"/>
                <a:gd name="T5" fmla="*/ 0 h 136"/>
                <a:gd name="T6" fmla="*/ 46 w 80"/>
                <a:gd name="T7" fmla="*/ 0 h 136"/>
                <a:gd name="T8" fmla="*/ 46 w 80"/>
                <a:gd name="T9" fmla="*/ 31 h 136"/>
                <a:gd name="T10" fmla="*/ 77 w 80"/>
                <a:gd name="T11" fmla="*/ 31 h 136"/>
                <a:gd name="T12" fmla="*/ 77 w 80"/>
                <a:gd name="T13" fmla="*/ 54 h 136"/>
                <a:gd name="T14" fmla="*/ 46 w 80"/>
                <a:gd name="T15" fmla="*/ 54 h 136"/>
                <a:gd name="T16" fmla="*/ 46 w 80"/>
                <a:gd name="T17" fmla="*/ 95 h 136"/>
                <a:gd name="T18" fmla="*/ 50 w 80"/>
                <a:gd name="T19" fmla="*/ 108 h 136"/>
                <a:gd name="T20" fmla="*/ 59 w 80"/>
                <a:gd name="T21" fmla="*/ 112 h 136"/>
                <a:gd name="T22" fmla="*/ 64 w 80"/>
                <a:gd name="T23" fmla="*/ 111 h 136"/>
                <a:gd name="T24" fmla="*/ 67 w 80"/>
                <a:gd name="T25" fmla="*/ 110 h 136"/>
                <a:gd name="T26" fmla="*/ 70 w 80"/>
                <a:gd name="T27" fmla="*/ 108 h 136"/>
                <a:gd name="T28" fmla="*/ 80 w 80"/>
                <a:gd name="T29" fmla="*/ 129 h 136"/>
                <a:gd name="T30" fmla="*/ 73 w 80"/>
                <a:gd name="T31" fmla="*/ 132 h 136"/>
                <a:gd name="T32" fmla="*/ 65 w 80"/>
                <a:gd name="T33" fmla="*/ 135 h 136"/>
                <a:gd name="T34" fmla="*/ 55 w 80"/>
                <a:gd name="T35" fmla="*/ 136 h 136"/>
                <a:gd name="T36" fmla="*/ 41 w 80"/>
                <a:gd name="T37" fmla="*/ 133 h 136"/>
                <a:gd name="T38" fmla="*/ 30 w 80"/>
                <a:gd name="T39" fmla="*/ 126 h 136"/>
                <a:gd name="T40" fmla="*/ 23 w 80"/>
                <a:gd name="T41" fmla="*/ 114 h 136"/>
                <a:gd name="T42" fmla="*/ 20 w 80"/>
                <a:gd name="T43" fmla="*/ 100 h 136"/>
                <a:gd name="T44" fmla="*/ 20 w 80"/>
                <a:gd name="T45" fmla="*/ 54 h 136"/>
                <a:gd name="T46" fmla="*/ 0 w 80"/>
                <a:gd name="T47" fmla="*/ 54 h 136"/>
                <a:gd name="T48" fmla="*/ 0 w 80"/>
                <a:gd name="T49" fmla="*/ 31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0" h="136">
                  <a:moveTo>
                    <a:pt x="0" y="31"/>
                  </a:moveTo>
                  <a:cubicBezTo>
                    <a:pt x="20" y="31"/>
                    <a:pt x="20" y="31"/>
                    <a:pt x="20" y="31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77" y="31"/>
                    <a:pt x="77" y="31"/>
                    <a:pt x="77" y="31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46" y="54"/>
                    <a:pt x="46" y="54"/>
                    <a:pt x="46" y="54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6" y="102"/>
                    <a:pt x="47" y="106"/>
                    <a:pt x="50" y="108"/>
                  </a:cubicBezTo>
                  <a:cubicBezTo>
                    <a:pt x="53" y="110"/>
                    <a:pt x="56" y="112"/>
                    <a:pt x="59" y="112"/>
                  </a:cubicBezTo>
                  <a:cubicBezTo>
                    <a:pt x="61" y="112"/>
                    <a:pt x="62" y="111"/>
                    <a:pt x="64" y="111"/>
                  </a:cubicBezTo>
                  <a:cubicBezTo>
                    <a:pt x="65" y="111"/>
                    <a:pt x="66" y="110"/>
                    <a:pt x="67" y="110"/>
                  </a:cubicBezTo>
                  <a:cubicBezTo>
                    <a:pt x="68" y="109"/>
                    <a:pt x="69" y="109"/>
                    <a:pt x="70" y="108"/>
                  </a:cubicBezTo>
                  <a:cubicBezTo>
                    <a:pt x="80" y="129"/>
                    <a:pt x="80" y="129"/>
                    <a:pt x="80" y="129"/>
                  </a:cubicBezTo>
                  <a:cubicBezTo>
                    <a:pt x="78" y="130"/>
                    <a:pt x="76" y="132"/>
                    <a:pt x="73" y="132"/>
                  </a:cubicBezTo>
                  <a:cubicBezTo>
                    <a:pt x="71" y="133"/>
                    <a:pt x="68" y="134"/>
                    <a:pt x="65" y="135"/>
                  </a:cubicBezTo>
                  <a:cubicBezTo>
                    <a:pt x="62" y="136"/>
                    <a:pt x="59" y="136"/>
                    <a:pt x="55" y="136"/>
                  </a:cubicBezTo>
                  <a:cubicBezTo>
                    <a:pt x="50" y="136"/>
                    <a:pt x="46" y="135"/>
                    <a:pt x="41" y="133"/>
                  </a:cubicBezTo>
                  <a:cubicBezTo>
                    <a:pt x="37" y="132"/>
                    <a:pt x="33" y="129"/>
                    <a:pt x="30" y="126"/>
                  </a:cubicBezTo>
                  <a:cubicBezTo>
                    <a:pt x="27" y="123"/>
                    <a:pt x="24" y="119"/>
                    <a:pt x="23" y="114"/>
                  </a:cubicBezTo>
                  <a:cubicBezTo>
                    <a:pt x="21" y="110"/>
                    <a:pt x="20" y="105"/>
                    <a:pt x="20" y="100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0" y="54"/>
                    <a:pt x="0" y="54"/>
                    <a:pt x="0" y="54"/>
                  </a:cubicBezTo>
                  <a:lnTo>
                    <a:pt x="0" y="31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Freeform 37">
              <a:extLst>
                <a:ext uri="{FF2B5EF4-FFF2-40B4-BE49-F238E27FC236}">
                  <a16:creationId xmlns:a16="http://schemas.microsoft.com/office/drawing/2014/main" id="{58995B45-611D-4FC6-9BF1-9514A767C5B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00651" y="1055688"/>
              <a:ext cx="115888" cy="114300"/>
            </a:xfrm>
            <a:custGeom>
              <a:avLst/>
              <a:gdLst>
                <a:gd name="T0" fmla="*/ 76 w 109"/>
                <a:gd name="T1" fmla="*/ 4 h 108"/>
                <a:gd name="T2" fmla="*/ 93 w 109"/>
                <a:gd name="T3" fmla="*/ 16 h 108"/>
                <a:gd name="T4" fmla="*/ 105 w 109"/>
                <a:gd name="T5" fmla="*/ 33 h 108"/>
                <a:gd name="T6" fmla="*/ 109 w 109"/>
                <a:gd name="T7" fmla="*/ 54 h 108"/>
                <a:gd name="T8" fmla="*/ 105 w 109"/>
                <a:gd name="T9" fmla="*/ 75 h 108"/>
                <a:gd name="T10" fmla="*/ 93 w 109"/>
                <a:gd name="T11" fmla="*/ 92 h 108"/>
                <a:gd name="T12" fmla="*/ 76 w 109"/>
                <a:gd name="T13" fmla="*/ 104 h 108"/>
                <a:gd name="T14" fmla="*/ 55 w 109"/>
                <a:gd name="T15" fmla="*/ 108 h 108"/>
                <a:gd name="T16" fmla="*/ 33 w 109"/>
                <a:gd name="T17" fmla="*/ 104 h 108"/>
                <a:gd name="T18" fmla="*/ 16 w 109"/>
                <a:gd name="T19" fmla="*/ 92 h 108"/>
                <a:gd name="T20" fmla="*/ 4 w 109"/>
                <a:gd name="T21" fmla="*/ 75 h 108"/>
                <a:gd name="T22" fmla="*/ 0 w 109"/>
                <a:gd name="T23" fmla="*/ 54 h 108"/>
                <a:gd name="T24" fmla="*/ 4 w 109"/>
                <a:gd name="T25" fmla="*/ 33 h 108"/>
                <a:gd name="T26" fmla="*/ 16 w 109"/>
                <a:gd name="T27" fmla="*/ 16 h 108"/>
                <a:gd name="T28" fmla="*/ 33 w 109"/>
                <a:gd name="T29" fmla="*/ 4 h 108"/>
                <a:gd name="T30" fmla="*/ 55 w 109"/>
                <a:gd name="T31" fmla="*/ 0 h 108"/>
                <a:gd name="T32" fmla="*/ 76 w 109"/>
                <a:gd name="T33" fmla="*/ 4 h 108"/>
                <a:gd name="T34" fmla="*/ 66 w 109"/>
                <a:gd name="T35" fmla="*/ 81 h 108"/>
                <a:gd name="T36" fmla="*/ 75 w 109"/>
                <a:gd name="T37" fmla="*/ 75 h 108"/>
                <a:gd name="T38" fmla="*/ 81 w 109"/>
                <a:gd name="T39" fmla="*/ 65 h 108"/>
                <a:gd name="T40" fmla="*/ 83 w 109"/>
                <a:gd name="T41" fmla="*/ 54 h 108"/>
                <a:gd name="T42" fmla="*/ 81 w 109"/>
                <a:gd name="T43" fmla="*/ 42 h 108"/>
                <a:gd name="T44" fmla="*/ 75 w 109"/>
                <a:gd name="T45" fmla="*/ 33 h 108"/>
                <a:gd name="T46" fmla="*/ 66 w 109"/>
                <a:gd name="T47" fmla="*/ 27 h 108"/>
                <a:gd name="T48" fmla="*/ 55 w 109"/>
                <a:gd name="T49" fmla="*/ 24 h 108"/>
                <a:gd name="T50" fmla="*/ 43 w 109"/>
                <a:gd name="T51" fmla="*/ 27 h 108"/>
                <a:gd name="T52" fmla="*/ 34 w 109"/>
                <a:gd name="T53" fmla="*/ 33 h 108"/>
                <a:gd name="T54" fmla="*/ 28 w 109"/>
                <a:gd name="T55" fmla="*/ 42 h 108"/>
                <a:gd name="T56" fmla="*/ 26 w 109"/>
                <a:gd name="T57" fmla="*/ 54 h 108"/>
                <a:gd name="T58" fmla="*/ 28 w 109"/>
                <a:gd name="T59" fmla="*/ 65 h 108"/>
                <a:gd name="T60" fmla="*/ 34 w 109"/>
                <a:gd name="T61" fmla="*/ 75 h 108"/>
                <a:gd name="T62" fmla="*/ 43 w 109"/>
                <a:gd name="T63" fmla="*/ 81 h 108"/>
                <a:gd name="T64" fmla="*/ 55 w 109"/>
                <a:gd name="T65" fmla="*/ 84 h 108"/>
                <a:gd name="T66" fmla="*/ 66 w 109"/>
                <a:gd name="T67" fmla="*/ 8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" h="108">
                  <a:moveTo>
                    <a:pt x="76" y="4"/>
                  </a:moveTo>
                  <a:cubicBezTo>
                    <a:pt x="83" y="7"/>
                    <a:pt x="88" y="11"/>
                    <a:pt x="93" y="16"/>
                  </a:cubicBezTo>
                  <a:cubicBezTo>
                    <a:pt x="98" y="21"/>
                    <a:pt x="102" y="26"/>
                    <a:pt x="105" y="33"/>
                  </a:cubicBezTo>
                  <a:cubicBezTo>
                    <a:pt x="108" y="39"/>
                    <a:pt x="109" y="46"/>
                    <a:pt x="109" y="54"/>
                  </a:cubicBezTo>
                  <a:cubicBezTo>
                    <a:pt x="109" y="61"/>
                    <a:pt x="108" y="69"/>
                    <a:pt x="105" y="75"/>
                  </a:cubicBezTo>
                  <a:cubicBezTo>
                    <a:pt x="102" y="82"/>
                    <a:pt x="98" y="87"/>
                    <a:pt x="93" y="92"/>
                  </a:cubicBezTo>
                  <a:cubicBezTo>
                    <a:pt x="88" y="97"/>
                    <a:pt x="83" y="101"/>
                    <a:pt x="76" y="104"/>
                  </a:cubicBezTo>
                  <a:cubicBezTo>
                    <a:pt x="69" y="106"/>
                    <a:pt x="62" y="108"/>
                    <a:pt x="55" y="108"/>
                  </a:cubicBezTo>
                  <a:cubicBezTo>
                    <a:pt x="47" y="108"/>
                    <a:pt x="40" y="106"/>
                    <a:pt x="33" y="104"/>
                  </a:cubicBezTo>
                  <a:cubicBezTo>
                    <a:pt x="26" y="101"/>
                    <a:pt x="21" y="97"/>
                    <a:pt x="16" y="92"/>
                  </a:cubicBezTo>
                  <a:cubicBezTo>
                    <a:pt x="11" y="87"/>
                    <a:pt x="7" y="82"/>
                    <a:pt x="4" y="75"/>
                  </a:cubicBezTo>
                  <a:cubicBezTo>
                    <a:pt x="1" y="69"/>
                    <a:pt x="0" y="61"/>
                    <a:pt x="0" y="54"/>
                  </a:cubicBezTo>
                  <a:cubicBezTo>
                    <a:pt x="0" y="46"/>
                    <a:pt x="1" y="39"/>
                    <a:pt x="4" y="33"/>
                  </a:cubicBezTo>
                  <a:cubicBezTo>
                    <a:pt x="7" y="26"/>
                    <a:pt x="11" y="21"/>
                    <a:pt x="16" y="16"/>
                  </a:cubicBezTo>
                  <a:cubicBezTo>
                    <a:pt x="21" y="11"/>
                    <a:pt x="26" y="7"/>
                    <a:pt x="33" y="4"/>
                  </a:cubicBezTo>
                  <a:cubicBezTo>
                    <a:pt x="40" y="1"/>
                    <a:pt x="47" y="0"/>
                    <a:pt x="55" y="0"/>
                  </a:cubicBezTo>
                  <a:cubicBezTo>
                    <a:pt x="62" y="0"/>
                    <a:pt x="69" y="1"/>
                    <a:pt x="76" y="4"/>
                  </a:cubicBezTo>
                  <a:close/>
                  <a:moveTo>
                    <a:pt x="66" y="81"/>
                  </a:moveTo>
                  <a:cubicBezTo>
                    <a:pt x="70" y="80"/>
                    <a:pt x="73" y="77"/>
                    <a:pt x="75" y="75"/>
                  </a:cubicBezTo>
                  <a:cubicBezTo>
                    <a:pt x="78" y="72"/>
                    <a:pt x="80" y="69"/>
                    <a:pt x="81" y="65"/>
                  </a:cubicBezTo>
                  <a:cubicBezTo>
                    <a:pt x="82" y="62"/>
                    <a:pt x="83" y="58"/>
                    <a:pt x="83" y="54"/>
                  </a:cubicBezTo>
                  <a:cubicBezTo>
                    <a:pt x="83" y="50"/>
                    <a:pt x="82" y="46"/>
                    <a:pt x="81" y="42"/>
                  </a:cubicBezTo>
                  <a:cubicBezTo>
                    <a:pt x="80" y="39"/>
                    <a:pt x="78" y="36"/>
                    <a:pt x="75" y="33"/>
                  </a:cubicBezTo>
                  <a:cubicBezTo>
                    <a:pt x="73" y="30"/>
                    <a:pt x="70" y="28"/>
                    <a:pt x="66" y="27"/>
                  </a:cubicBezTo>
                  <a:cubicBezTo>
                    <a:pt x="63" y="25"/>
                    <a:pt x="59" y="24"/>
                    <a:pt x="55" y="24"/>
                  </a:cubicBezTo>
                  <a:cubicBezTo>
                    <a:pt x="50" y="24"/>
                    <a:pt x="46" y="25"/>
                    <a:pt x="43" y="27"/>
                  </a:cubicBezTo>
                  <a:cubicBezTo>
                    <a:pt x="39" y="28"/>
                    <a:pt x="36" y="30"/>
                    <a:pt x="34" y="33"/>
                  </a:cubicBezTo>
                  <a:cubicBezTo>
                    <a:pt x="31" y="36"/>
                    <a:pt x="29" y="39"/>
                    <a:pt x="28" y="42"/>
                  </a:cubicBezTo>
                  <a:cubicBezTo>
                    <a:pt x="27" y="46"/>
                    <a:pt x="26" y="50"/>
                    <a:pt x="26" y="54"/>
                  </a:cubicBezTo>
                  <a:cubicBezTo>
                    <a:pt x="26" y="58"/>
                    <a:pt x="27" y="62"/>
                    <a:pt x="28" y="65"/>
                  </a:cubicBezTo>
                  <a:cubicBezTo>
                    <a:pt x="29" y="69"/>
                    <a:pt x="31" y="72"/>
                    <a:pt x="34" y="75"/>
                  </a:cubicBezTo>
                  <a:cubicBezTo>
                    <a:pt x="36" y="77"/>
                    <a:pt x="39" y="80"/>
                    <a:pt x="43" y="81"/>
                  </a:cubicBezTo>
                  <a:cubicBezTo>
                    <a:pt x="46" y="83"/>
                    <a:pt x="50" y="84"/>
                    <a:pt x="55" y="84"/>
                  </a:cubicBezTo>
                  <a:cubicBezTo>
                    <a:pt x="59" y="84"/>
                    <a:pt x="63" y="83"/>
                    <a:pt x="66" y="81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Freeform 38">
              <a:extLst>
                <a:ext uri="{FF2B5EF4-FFF2-40B4-BE49-F238E27FC236}">
                  <a16:creationId xmlns:a16="http://schemas.microsoft.com/office/drawing/2014/main" id="{F7C5BF45-0B1F-4E53-8168-1441ED38A9B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81626" y="1006475"/>
              <a:ext cx="153988" cy="160338"/>
            </a:xfrm>
            <a:custGeom>
              <a:avLst/>
              <a:gdLst>
                <a:gd name="T0" fmla="*/ 18 w 97"/>
                <a:gd name="T1" fmla="*/ 101 h 101"/>
                <a:gd name="T2" fmla="*/ 0 w 97"/>
                <a:gd name="T3" fmla="*/ 101 h 101"/>
                <a:gd name="T4" fmla="*/ 40 w 97"/>
                <a:gd name="T5" fmla="*/ 0 h 101"/>
                <a:gd name="T6" fmla="*/ 57 w 97"/>
                <a:gd name="T7" fmla="*/ 0 h 101"/>
                <a:gd name="T8" fmla="*/ 97 w 97"/>
                <a:gd name="T9" fmla="*/ 101 h 101"/>
                <a:gd name="T10" fmla="*/ 79 w 97"/>
                <a:gd name="T11" fmla="*/ 101 h 101"/>
                <a:gd name="T12" fmla="*/ 70 w 97"/>
                <a:gd name="T13" fmla="*/ 77 h 101"/>
                <a:gd name="T14" fmla="*/ 27 w 97"/>
                <a:gd name="T15" fmla="*/ 77 h 101"/>
                <a:gd name="T16" fmla="*/ 18 w 97"/>
                <a:gd name="T17" fmla="*/ 101 h 101"/>
                <a:gd name="T18" fmla="*/ 64 w 97"/>
                <a:gd name="T19" fmla="*/ 62 h 101"/>
                <a:gd name="T20" fmla="*/ 49 w 97"/>
                <a:gd name="T21" fmla="*/ 21 h 101"/>
                <a:gd name="T22" fmla="*/ 33 w 97"/>
                <a:gd name="T23" fmla="*/ 62 h 101"/>
                <a:gd name="T24" fmla="*/ 64 w 97"/>
                <a:gd name="T25" fmla="*/ 62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7" h="101">
                  <a:moveTo>
                    <a:pt x="18" y="101"/>
                  </a:moveTo>
                  <a:lnTo>
                    <a:pt x="0" y="101"/>
                  </a:lnTo>
                  <a:lnTo>
                    <a:pt x="40" y="0"/>
                  </a:lnTo>
                  <a:lnTo>
                    <a:pt x="57" y="0"/>
                  </a:lnTo>
                  <a:lnTo>
                    <a:pt x="97" y="101"/>
                  </a:lnTo>
                  <a:lnTo>
                    <a:pt x="79" y="101"/>
                  </a:lnTo>
                  <a:lnTo>
                    <a:pt x="70" y="77"/>
                  </a:lnTo>
                  <a:lnTo>
                    <a:pt x="27" y="77"/>
                  </a:lnTo>
                  <a:lnTo>
                    <a:pt x="18" y="101"/>
                  </a:lnTo>
                  <a:close/>
                  <a:moveTo>
                    <a:pt x="64" y="62"/>
                  </a:moveTo>
                  <a:lnTo>
                    <a:pt x="49" y="21"/>
                  </a:lnTo>
                  <a:lnTo>
                    <a:pt x="33" y="62"/>
                  </a:lnTo>
                  <a:lnTo>
                    <a:pt x="64" y="62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Freeform 39">
              <a:extLst>
                <a:ext uri="{FF2B5EF4-FFF2-40B4-BE49-F238E27FC236}">
                  <a16:creationId xmlns:a16="http://schemas.microsoft.com/office/drawing/2014/main" id="{767F1B17-5AC2-4C7D-971B-E11790DCC1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59426" y="1058863"/>
              <a:ext cx="100013" cy="111125"/>
            </a:xfrm>
            <a:custGeom>
              <a:avLst/>
              <a:gdLst>
                <a:gd name="T0" fmla="*/ 24 w 93"/>
                <a:gd name="T1" fmla="*/ 102 h 105"/>
                <a:gd name="T2" fmla="*/ 12 w 93"/>
                <a:gd name="T3" fmla="*/ 95 h 105"/>
                <a:gd name="T4" fmla="*/ 3 w 93"/>
                <a:gd name="T5" fmla="*/ 83 h 105"/>
                <a:gd name="T6" fmla="*/ 0 w 93"/>
                <a:gd name="T7" fmla="*/ 66 h 105"/>
                <a:gd name="T8" fmla="*/ 0 w 93"/>
                <a:gd name="T9" fmla="*/ 0 h 105"/>
                <a:gd name="T10" fmla="*/ 26 w 93"/>
                <a:gd name="T11" fmla="*/ 0 h 105"/>
                <a:gd name="T12" fmla="*/ 26 w 93"/>
                <a:gd name="T13" fmla="*/ 59 h 105"/>
                <a:gd name="T14" fmla="*/ 31 w 93"/>
                <a:gd name="T15" fmla="*/ 76 h 105"/>
                <a:gd name="T16" fmla="*/ 47 w 93"/>
                <a:gd name="T17" fmla="*/ 81 h 105"/>
                <a:gd name="T18" fmla="*/ 56 w 93"/>
                <a:gd name="T19" fmla="*/ 79 h 105"/>
                <a:gd name="T20" fmla="*/ 62 w 93"/>
                <a:gd name="T21" fmla="*/ 74 h 105"/>
                <a:gd name="T22" fmla="*/ 67 w 93"/>
                <a:gd name="T23" fmla="*/ 68 h 105"/>
                <a:gd name="T24" fmla="*/ 67 w 93"/>
                <a:gd name="T25" fmla="*/ 0 h 105"/>
                <a:gd name="T26" fmla="*/ 93 w 93"/>
                <a:gd name="T27" fmla="*/ 0 h 105"/>
                <a:gd name="T28" fmla="*/ 93 w 93"/>
                <a:gd name="T29" fmla="*/ 102 h 105"/>
                <a:gd name="T30" fmla="*/ 69 w 93"/>
                <a:gd name="T31" fmla="*/ 102 h 105"/>
                <a:gd name="T32" fmla="*/ 69 w 93"/>
                <a:gd name="T33" fmla="*/ 87 h 105"/>
                <a:gd name="T34" fmla="*/ 61 w 93"/>
                <a:gd name="T35" fmla="*/ 96 h 105"/>
                <a:gd name="T36" fmla="*/ 52 w 93"/>
                <a:gd name="T37" fmla="*/ 102 h 105"/>
                <a:gd name="T38" fmla="*/ 38 w 93"/>
                <a:gd name="T39" fmla="*/ 105 h 105"/>
                <a:gd name="T40" fmla="*/ 24 w 93"/>
                <a:gd name="T41" fmla="*/ 102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" h="105">
                  <a:moveTo>
                    <a:pt x="24" y="102"/>
                  </a:moveTo>
                  <a:cubicBezTo>
                    <a:pt x="19" y="101"/>
                    <a:pt x="15" y="98"/>
                    <a:pt x="12" y="95"/>
                  </a:cubicBezTo>
                  <a:cubicBezTo>
                    <a:pt x="8" y="91"/>
                    <a:pt x="6" y="87"/>
                    <a:pt x="3" y="83"/>
                  </a:cubicBezTo>
                  <a:cubicBezTo>
                    <a:pt x="1" y="78"/>
                    <a:pt x="0" y="72"/>
                    <a:pt x="0" y="6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7"/>
                    <a:pt x="28" y="72"/>
                    <a:pt x="31" y="76"/>
                  </a:cubicBezTo>
                  <a:cubicBezTo>
                    <a:pt x="35" y="79"/>
                    <a:pt x="40" y="81"/>
                    <a:pt x="47" y="81"/>
                  </a:cubicBezTo>
                  <a:cubicBezTo>
                    <a:pt x="50" y="81"/>
                    <a:pt x="53" y="80"/>
                    <a:pt x="56" y="79"/>
                  </a:cubicBezTo>
                  <a:cubicBezTo>
                    <a:pt x="58" y="77"/>
                    <a:pt x="60" y="76"/>
                    <a:pt x="62" y="74"/>
                  </a:cubicBezTo>
                  <a:cubicBezTo>
                    <a:pt x="64" y="72"/>
                    <a:pt x="66" y="70"/>
                    <a:pt x="67" y="68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69" y="102"/>
                    <a:pt x="69" y="102"/>
                    <a:pt x="69" y="102"/>
                  </a:cubicBezTo>
                  <a:cubicBezTo>
                    <a:pt x="69" y="87"/>
                    <a:pt x="69" y="87"/>
                    <a:pt x="69" y="87"/>
                  </a:cubicBezTo>
                  <a:cubicBezTo>
                    <a:pt x="67" y="91"/>
                    <a:pt x="64" y="94"/>
                    <a:pt x="61" y="96"/>
                  </a:cubicBezTo>
                  <a:cubicBezTo>
                    <a:pt x="59" y="98"/>
                    <a:pt x="56" y="100"/>
                    <a:pt x="52" y="102"/>
                  </a:cubicBezTo>
                  <a:cubicBezTo>
                    <a:pt x="48" y="104"/>
                    <a:pt x="43" y="105"/>
                    <a:pt x="38" y="105"/>
                  </a:cubicBezTo>
                  <a:cubicBezTo>
                    <a:pt x="33" y="105"/>
                    <a:pt x="28" y="104"/>
                    <a:pt x="24" y="102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Freeform 40">
              <a:extLst>
                <a:ext uri="{FF2B5EF4-FFF2-40B4-BE49-F238E27FC236}">
                  <a16:creationId xmlns:a16="http://schemas.microsoft.com/office/drawing/2014/main" id="{4763BC45-BB15-4154-B84B-587968F445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89601" y="1055688"/>
              <a:ext cx="98425" cy="114300"/>
            </a:xfrm>
            <a:custGeom>
              <a:avLst/>
              <a:gdLst>
                <a:gd name="T0" fmla="*/ 15 w 92"/>
                <a:gd name="T1" fmla="*/ 70 h 108"/>
                <a:gd name="T2" fmla="*/ 24 w 92"/>
                <a:gd name="T3" fmla="*/ 78 h 108"/>
                <a:gd name="T4" fmla="*/ 34 w 92"/>
                <a:gd name="T5" fmla="*/ 83 h 108"/>
                <a:gd name="T6" fmla="*/ 46 w 92"/>
                <a:gd name="T7" fmla="*/ 85 h 108"/>
                <a:gd name="T8" fmla="*/ 60 w 92"/>
                <a:gd name="T9" fmla="*/ 83 h 108"/>
                <a:gd name="T10" fmla="*/ 65 w 92"/>
                <a:gd name="T11" fmla="*/ 76 h 108"/>
                <a:gd name="T12" fmla="*/ 61 w 92"/>
                <a:gd name="T13" fmla="*/ 69 h 108"/>
                <a:gd name="T14" fmla="*/ 45 w 92"/>
                <a:gd name="T15" fmla="*/ 65 h 108"/>
                <a:gd name="T16" fmla="*/ 30 w 92"/>
                <a:gd name="T17" fmla="*/ 60 h 108"/>
                <a:gd name="T18" fmla="*/ 18 w 92"/>
                <a:gd name="T19" fmla="*/ 54 h 108"/>
                <a:gd name="T20" fmla="*/ 10 w 92"/>
                <a:gd name="T21" fmla="*/ 45 h 108"/>
                <a:gd name="T22" fmla="*/ 7 w 92"/>
                <a:gd name="T23" fmla="*/ 32 h 108"/>
                <a:gd name="T24" fmla="*/ 10 w 92"/>
                <a:gd name="T25" fmla="*/ 20 h 108"/>
                <a:gd name="T26" fmla="*/ 18 w 92"/>
                <a:gd name="T27" fmla="*/ 10 h 108"/>
                <a:gd name="T28" fmla="*/ 32 w 92"/>
                <a:gd name="T29" fmla="*/ 3 h 108"/>
                <a:gd name="T30" fmla="*/ 51 w 92"/>
                <a:gd name="T31" fmla="*/ 0 h 108"/>
                <a:gd name="T32" fmla="*/ 67 w 92"/>
                <a:gd name="T33" fmla="*/ 2 h 108"/>
                <a:gd name="T34" fmla="*/ 79 w 92"/>
                <a:gd name="T35" fmla="*/ 6 h 108"/>
                <a:gd name="T36" fmla="*/ 90 w 92"/>
                <a:gd name="T37" fmla="*/ 13 h 108"/>
                <a:gd name="T38" fmla="*/ 77 w 92"/>
                <a:gd name="T39" fmla="*/ 32 h 108"/>
                <a:gd name="T40" fmla="*/ 69 w 92"/>
                <a:gd name="T41" fmla="*/ 27 h 108"/>
                <a:gd name="T42" fmla="*/ 61 w 92"/>
                <a:gd name="T43" fmla="*/ 24 h 108"/>
                <a:gd name="T44" fmla="*/ 51 w 92"/>
                <a:gd name="T45" fmla="*/ 23 h 108"/>
                <a:gd name="T46" fmla="*/ 38 w 92"/>
                <a:gd name="T47" fmla="*/ 25 h 108"/>
                <a:gd name="T48" fmla="*/ 32 w 92"/>
                <a:gd name="T49" fmla="*/ 33 h 108"/>
                <a:gd name="T50" fmla="*/ 38 w 92"/>
                <a:gd name="T51" fmla="*/ 39 h 108"/>
                <a:gd name="T52" fmla="*/ 57 w 92"/>
                <a:gd name="T53" fmla="*/ 44 h 108"/>
                <a:gd name="T54" fmla="*/ 71 w 92"/>
                <a:gd name="T55" fmla="*/ 48 h 108"/>
                <a:gd name="T56" fmla="*/ 82 w 92"/>
                <a:gd name="T57" fmla="*/ 54 h 108"/>
                <a:gd name="T58" fmla="*/ 89 w 92"/>
                <a:gd name="T59" fmla="*/ 63 h 108"/>
                <a:gd name="T60" fmla="*/ 92 w 92"/>
                <a:gd name="T61" fmla="*/ 76 h 108"/>
                <a:gd name="T62" fmla="*/ 88 w 92"/>
                <a:gd name="T63" fmla="*/ 89 h 108"/>
                <a:gd name="T64" fmla="*/ 79 w 92"/>
                <a:gd name="T65" fmla="*/ 99 h 108"/>
                <a:gd name="T66" fmla="*/ 65 w 92"/>
                <a:gd name="T67" fmla="*/ 105 h 108"/>
                <a:gd name="T68" fmla="*/ 47 w 92"/>
                <a:gd name="T69" fmla="*/ 108 h 108"/>
                <a:gd name="T70" fmla="*/ 27 w 92"/>
                <a:gd name="T71" fmla="*/ 105 h 108"/>
                <a:gd name="T72" fmla="*/ 12 w 92"/>
                <a:gd name="T73" fmla="*/ 99 h 108"/>
                <a:gd name="T74" fmla="*/ 0 w 92"/>
                <a:gd name="T75" fmla="*/ 89 h 108"/>
                <a:gd name="T76" fmla="*/ 15 w 92"/>
                <a:gd name="T77" fmla="*/ 7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2" h="108">
                  <a:moveTo>
                    <a:pt x="15" y="70"/>
                  </a:moveTo>
                  <a:cubicBezTo>
                    <a:pt x="18" y="73"/>
                    <a:pt x="21" y="76"/>
                    <a:pt x="24" y="78"/>
                  </a:cubicBezTo>
                  <a:cubicBezTo>
                    <a:pt x="27" y="80"/>
                    <a:pt x="30" y="81"/>
                    <a:pt x="34" y="83"/>
                  </a:cubicBezTo>
                  <a:cubicBezTo>
                    <a:pt x="37" y="84"/>
                    <a:pt x="41" y="85"/>
                    <a:pt x="46" y="85"/>
                  </a:cubicBezTo>
                  <a:cubicBezTo>
                    <a:pt x="51" y="85"/>
                    <a:pt x="56" y="84"/>
                    <a:pt x="60" y="83"/>
                  </a:cubicBezTo>
                  <a:cubicBezTo>
                    <a:pt x="63" y="81"/>
                    <a:pt x="65" y="79"/>
                    <a:pt x="65" y="76"/>
                  </a:cubicBezTo>
                  <a:cubicBezTo>
                    <a:pt x="65" y="73"/>
                    <a:pt x="64" y="70"/>
                    <a:pt x="61" y="69"/>
                  </a:cubicBezTo>
                  <a:cubicBezTo>
                    <a:pt x="58" y="68"/>
                    <a:pt x="53" y="66"/>
                    <a:pt x="45" y="65"/>
                  </a:cubicBezTo>
                  <a:cubicBezTo>
                    <a:pt x="40" y="63"/>
                    <a:pt x="35" y="62"/>
                    <a:pt x="30" y="60"/>
                  </a:cubicBezTo>
                  <a:cubicBezTo>
                    <a:pt x="26" y="59"/>
                    <a:pt x="22" y="57"/>
                    <a:pt x="18" y="54"/>
                  </a:cubicBezTo>
                  <a:cubicBezTo>
                    <a:pt x="15" y="51"/>
                    <a:pt x="12" y="48"/>
                    <a:pt x="10" y="45"/>
                  </a:cubicBezTo>
                  <a:cubicBezTo>
                    <a:pt x="8" y="41"/>
                    <a:pt x="7" y="37"/>
                    <a:pt x="7" y="32"/>
                  </a:cubicBezTo>
                  <a:cubicBezTo>
                    <a:pt x="7" y="28"/>
                    <a:pt x="8" y="24"/>
                    <a:pt x="10" y="20"/>
                  </a:cubicBezTo>
                  <a:cubicBezTo>
                    <a:pt x="12" y="16"/>
                    <a:pt x="15" y="13"/>
                    <a:pt x="18" y="10"/>
                  </a:cubicBezTo>
                  <a:cubicBezTo>
                    <a:pt x="22" y="7"/>
                    <a:pt x="27" y="5"/>
                    <a:pt x="32" y="3"/>
                  </a:cubicBezTo>
                  <a:cubicBezTo>
                    <a:pt x="38" y="1"/>
                    <a:pt x="44" y="0"/>
                    <a:pt x="51" y="0"/>
                  </a:cubicBezTo>
                  <a:cubicBezTo>
                    <a:pt x="57" y="0"/>
                    <a:pt x="62" y="1"/>
                    <a:pt x="67" y="2"/>
                  </a:cubicBezTo>
                  <a:cubicBezTo>
                    <a:pt x="72" y="3"/>
                    <a:pt x="76" y="5"/>
                    <a:pt x="79" y="6"/>
                  </a:cubicBezTo>
                  <a:cubicBezTo>
                    <a:pt x="83" y="8"/>
                    <a:pt x="87" y="10"/>
                    <a:pt x="90" y="13"/>
                  </a:cubicBezTo>
                  <a:cubicBezTo>
                    <a:pt x="77" y="32"/>
                    <a:pt x="77" y="32"/>
                    <a:pt x="77" y="32"/>
                  </a:cubicBezTo>
                  <a:cubicBezTo>
                    <a:pt x="74" y="30"/>
                    <a:pt x="72" y="29"/>
                    <a:pt x="69" y="27"/>
                  </a:cubicBezTo>
                  <a:cubicBezTo>
                    <a:pt x="67" y="26"/>
                    <a:pt x="64" y="25"/>
                    <a:pt x="61" y="24"/>
                  </a:cubicBezTo>
                  <a:cubicBezTo>
                    <a:pt x="58" y="23"/>
                    <a:pt x="54" y="23"/>
                    <a:pt x="51" y="23"/>
                  </a:cubicBezTo>
                  <a:cubicBezTo>
                    <a:pt x="46" y="23"/>
                    <a:pt x="42" y="24"/>
                    <a:pt x="38" y="25"/>
                  </a:cubicBezTo>
                  <a:cubicBezTo>
                    <a:pt x="34" y="27"/>
                    <a:pt x="32" y="29"/>
                    <a:pt x="32" y="33"/>
                  </a:cubicBezTo>
                  <a:cubicBezTo>
                    <a:pt x="32" y="36"/>
                    <a:pt x="34" y="38"/>
                    <a:pt x="38" y="39"/>
                  </a:cubicBezTo>
                  <a:cubicBezTo>
                    <a:pt x="42" y="41"/>
                    <a:pt x="48" y="42"/>
                    <a:pt x="57" y="44"/>
                  </a:cubicBezTo>
                  <a:cubicBezTo>
                    <a:pt x="62" y="45"/>
                    <a:pt x="66" y="46"/>
                    <a:pt x="71" y="48"/>
                  </a:cubicBezTo>
                  <a:cubicBezTo>
                    <a:pt x="75" y="49"/>
                    <a:pt x="79" y="51"/>
                    <a:pt x="82" y="54"/>
                  </a:cubicBezTo>
                  <a:cubicBezTo>
                    <a:pt x="85" y="56"/>
                    <a:pt x="87" y="59"/>
                    <a:pt x="89" y="63"/>
                  </a:cubicBezTo>
                  <a:cubicBezTo>
                    <a:pt x="91" y="66"/>
                    <a:pt x="92" y="71"/>
                    <a:pt x="92" y="76"/>
                  </a:cubicBezTo>
                  <a:cubicBezTo>
                    <a:pt x="92" y="81"/>
                    <a:pt x="90" y="85"/>
                    <a:pt x="88" y="89"/>
                  </a:cubicBezTo>
                  <a:cubicBezTo>
                    <a:pt x="86" y="93"/>
                    <a:pt x="83" y="96"/>
                    <a:pt x="79" y="99"/>
                  </a:cubicBezTo>
                  <a:cubicBezTo>
                    <a:pt x="75" y="101"/>
                    <a:pt x="70" y="104"/>
                    <a:pt x="65" y="105"/>
                  </a:cubicBezTo>
                  <a:cubicBezTo>
                    <a:pt x="59" y="107"/>
                    <a:pt x="53" y="108"/>
                    <a:pt x="47" y="108"/>
                  </a:cubicBezTo>
                  <a:cubicBezTo>
                    <a:pt x="39" y="108"/>
                    <a:pt x="33" y="107"/>
                    <a:pt x="27" y="105"/>
                  </a:cubicBezTo>
                  <a:cubicBezTo>
                    <a:pt x="21" y="103"/>
                    <a:pt x="16" y="101"/>
                    <a:pt x="12" y="99"/>
                  </a:cubicBezTo>
                  <a:cubicBezTo>
                    <a:pt x="8" y="96"/>
                    <a:pt x="4" y="93"/>
                    <a:pt x="0" y="89"/>
                  </a:cubicBezTo>
                  <a:lnTo>
                    <a:pt x="15" y="70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Freeform 41">
              <a:extLst>
                <a:ext uri="{FF2B5EF4-FFF2-40B4-BE49-F238E27FC236}">
                  <a16:creationId xmlns:a16="http://schemas.microsoft.com/office/drawing/2014/main" id="{CF423C5F-6CB0-4072-B978-3D0C263B55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10251" y="1025525"/>
              <a:ext cx="85725" cy="144463"/>
            </a:xfrm>
            <a:custGeom>
              <a:avLst/>
              <a:gdLst>
                <a:gd name="T0" fmla="*/ 0 w 80"/>
                <a:gd name="T1" fmla="*/ 31 h 136"/>
                <a:gd name="T2" fmla="*/ 20 w 80"/>
                <a:gd name="T3" fmla="*/ 31 h 136"/>
                <a:gd name="T4" fmla="*/ 20 w 80"/>
                <a:gd name="T5" fmla="*/ 0 h 136"/>
                <a:gd name="T6" fmla="*/ 46 w 80"/>
                <a:gd name="T7" fmla="*/ 0 h 136"/>
                <a:gd name="T8" fmla="*/ 46 w 80"/>
                <a:gd name="T9" fmla="*/ 31 h 136"/>
                <a:gd name="T10" fmla="*/ 77 w 80"/>
                <a:gd name="T11" fmla="*/ 31 h 136"/>
                <a:gd name="T12" fmla="*/ 77 w 80"/>
                <a:gd name="T13" fmla="*/ 54 h 136"/>
                <a:gd name="T14" fmla="*/ 46 w 80"/>
                <a:gd name="T15" fmla="*/ 54 h 136"/>
                <a:gd name="T16" fmla="*/ 46 w 80"/>
                <a:gd name="T17" fmla="*/ 95 h 136"/>
                <a:gd name="T18" fmla="*/ 50 w 80"/>
                <a:gd name="T19" fmla="*/ 108 h 136"/>
                <a:gd name="T20" fmla="*/ 60 w 80"/>
                <a:gd name="T21" fmla="*/ 112 h 136"/>
                <a:gd name="T22" fmla="*/ 64 w 80"/>
                <a:gd name="T23" fmla="*/ 111 h 136"/>
                <a:gd name="T24" fmla="*/ 67 w 80"/>
                <a:gd name="T25" fmla="*/ 110 h 136"/>
                <a:gd name="T26" fmla="*/ 71 w 80"/>
                <a:gd name="T27" fmla="*/ 108 h 136"/>
                <a:gd name="T28" fmla="*/ 80 w 80"/>
                <a:gd name="T29" fmla="*/ 129 h 136"/>
                <a:gd name="T30" fmla="*/ 73 w 80"/>
                <a:gd name="T31" fmla="*/ 132 h 136"/>
                <a:gd name="T32" fmla="*/ 66 w 80"/>
                <a:gd name="T33" fmla="*/ 135 h 136"/>
                <a:gd name="T34" fmla="*/ 55 w 80"/>
                <a:gd name="T35" fmla="*/ 136 h 136"/>
                <a:gd name="T36" fmla="*/ 42 w 80"/>
                <a:gd name="T37" fmla="*/ 133 h 136"/>
                <a:gd name="T38" fmla="*/ 30 w 80"/>
                <a:gd name="T39" fmla="*/ 126 h 136"/>
                <a:gd name="T40" fmla="*/ 23 w 80"/>
                <a:gd name="T41" fmla="*/ 114 h 136"/>
                <a:gd name="T42" fmla="*/ 20 w 80"/>
                <a:gd name="T43" fmla="*/ 100 h 136"/>
                <a:gd name="T44" fmla="*/ 20 w 80"/>
                <a:gd name="T45" fmla="*/ 54 h 136"/>
                <a:gd name="T46" fmla="*/ 0 w 80"/>
                <a:gd name="T47" fmla="*/ 54 h 136"/>
                <a:gd name="T48" fmla="*/ 0 w 80"/>
                <a:gd name="T49" fmla="*/ 31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0" h="136">
                  <a:moveTo>
                    <a:pt x="0" y="31"/>
                  </a:moveTo>
                  <a:cubicBezTo>
                    <a:pt x="20" y="31"/>
                    <a:pt x="20" y="31"/>
                    <a:pt x="20" y="31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77" y="31"/>
                    <a:pt x="77" y="31"/>
                    <a:pt x="77" y="31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46" y="54"/>
                    <a:pt x="46" y="54"/>
                    <a:pt x="46" y="54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6" y="102"/>
                    <a:pt x="48" y="106"/>
                    <a:pt x="50" y="108"/>
                  </a:cubicBezTo>
                  <a:cubicBezTo>
                    <a:pt x="53" y="110"/>
                    <a:pt x="56" y="112"/>
                    <a:pt x="60" y="112"/>
                  </a:cubicBezTo>
                  <a:cubicBezTo>
                    <a:pt x="61" y="112"/>
                    <a:pt x="63" y="111"/>
                    <a:pt x="64" y="111"/>
                  </a:cubicBezTo>
                  <a:cubicBezTo>
                    <a:pt x="65" y="111"/>
                    <a:pt x="66" y="110"/>
                    <a:pt x="67" y="110"/>
                  </a:cubicBezTo>
                  <a:cubicBezTo>
                    <a:pt x="68" y="109"/>
                    <a:pt x="70" y="109"/>
                    <a:pt x="71" y="108"/>
                  </a:cubicBezTo>
                  <a:cubicBezTo>
                    <a:pt x="80" y="129"/>
                    <a:pt x="80" y="129"/>
                    <a:pt x="80" y="129"/>
                  </a:cubicBezTo>
                  <a:cubicBezTo>
                    <a:pt x="78" y="130"/>
                    <a:pt x="76" y="132"/>
                    <a:pt x="73" y="132"/>
                  </a:cubicBezTo>
                  <a:cubicBezTo>
                    <a:pt x="71" y="133"/>
                    <a:pt x="69" y="134"/>
                    <a:pt x="66" y="135"/>
                  </a:cubicBezTo>
                  <a:cubicBezTo>
                    <a:pt x="63" y="136"/>
                    <a:pt x="59" y="136"/>
                    <a:pt x="55" y="136"/>
                  </a:cubicBezTo>
                  <a:cubicBezTo>
                    <a:pt x="51" y="136"/>
                    <a:pt x="46" y="135"/>
                    <a:pt x="42" y="133"/>
                  </a:cubicBezTo>
                  <a:cubicBezTo>
                    <a:pt x="37" y="132"/>
                    <a:pt x="34" y="129"/>
                    <a:pt x="30" y="126"/>
                  </a:cubicBezTo>
                  <a:cubicBezTo>
                    <a:pt x="27" y="123"/>
                    <a:pt x="25" y="119"/>
                    <a:pt x="23" y="114"/>
                  </a:cubicBezTo>
                  <a:cubicBezTo>
                    <a:pt x="21" y="110"/>
                    <a:pt x="20" y="105"/>
                    <a:pt x="20" y="100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0" y="54"/>
                    <a:pt x="0" y="54"/>
                    <a:pt x="0" y="54"/>
                  </a:cubicBezTo>
                  <a:lnTo>
                    <a:pt x="0" y="31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Freeform 42">
              <a:extLst>
                <a:ext uri="{FF2B5EF4-FFF2-40B4-BE49-F238E27FC236}">
                  <a16:creationId xmlns:a16="http://schemas.microsoft.com/office/drawing/2014/main" id="{07E65987-E8A4-44DC-A4BB-D452FCC939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26138" y="1055688"/>
              <a:ext cx="74613" cy="111125"/>
            </a:xfrm>
            <a:custGeom>
              <a:avLst/>
              <a:gdLst>
                <a:gd name="T0" fmla="*/ 59 w 70"/>
                <a:gd name="T1" fmla="*/ 1 h 105"/>
                <a:gd name="T2" fmla="*/ 65 w 70"/>
                <a:gd name="T3" fmla="*/ 2 h 105"/>
                <a:gd name="T4" fmla="*/ 70 w 70"/>
                <a:gd name="T5" fmla="*/ 3 h 105"/>
                <a:gd name="T6" fmla="*/ 61 w 70"/>
                <a:gd name="T7" fmla="*/ 27 h 105"/>
                <a:gd name="T8" fmla="*/ 58 w 70"/>
                <a:gd name="T9" fmla="*/ 25 h 105"/>
                <a:gd name="T10" fmla="*/ 54 w 70"/>
                <a:gd name="T11" fmla="*/ 25 h 105"/>
                <a:gd name="T12" fmla="*/ 49 w 70"/>
                <a:gd name="T13" fmla="*/ 24 h 105"/>
                <a:gd name="T14" fmla="*/ 39 w 70"/>
                <a:gd name="T15" fmla="*/ 26 h 105"/>
                <a:gd name="T16" fmla="*/ 32 w 70"/>
                <a:gd name="T17" fmla="*/ 31 h 105"/>
                <a:gd name="T18" fmla="*/ 26 w 70"/>
                <a:gd name="T19" fmla="*/ 38 h 105"/>
                <a:gd name="T20" fmla="*/ 26 w 70"/>
                <a:gd name="T21" fmla="*/ 105 h 105"/>
                <a:gd name="T22" fmla="*/ 0 w 70"/>
                <a:gd name="T23" fmla="*/ 105 h 105"/>
                <a:gd name="T24" fmla="*/ 0 w 70"/>
                <a:gd name="T25" fmla="*/ 3 h 105"/>
                <a:gd name="T26" fmla="*/ 25 w 70"/>
                <a:gd name="T27" fmla="*/ 3 h 105"/>
                <a:gd name="T28" fmla="*/ 25 w 70"/>
                <a:gd name="T29" fmla="*/ 18 h 105"/>
                <a:gd name="T30" fmla="*/ 32 w 70"/>
                <a:gd name="T31" fmla="*/ 9 h 105"/>
                <a:gd name="T32" fmla="*/ 40 w 70"/>
                <a:gd name="T33" fmla="*/ 3 h 105"/>
                <a:gd name="T34" fmla="*/ 53 w 70"/>
                <a:gd name="T35" fmla="*/ 0 h 105"/>
                <a:gd name="T36" fmla="*/ 59 w 70"/>
                <a:gd name="T37" fmla="*/ 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0" h="105">
                  <a:moveTo>
                    <a:pt x="59" y="1"/>
                  </a:moveTo>
                  <a:cubicBezTo>
                    <a:pt x="62" y="1"/>
                    <a:pt x="63" y="1"/>
                    <a:pt x="65" y="2"/>
                  </a:cubicBezTo>
                  <a:cubicBezTo>
                    <a:pt x="67" y="2"/>
                    <a:pt x="69" y="3"/>
                    <a:pt x="70" y="3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0" y="26"/>
                    <a:pt x="59" y="26"/>
                    <a:pt x="58" y="25"/>
                  </a:cubicBezTo>
                  <a:cubicBezTo>
                    <a:pt x="57" y="25"/>
                    <a:pt x="56" y="25"/>
                    <a:pt x="54" y="25"/>
                  </a:cubicBezTo>
                  <a:cubicBezTo>
                    <a:pt x="53" y="24"/>
                    <a:pt x="51" y="24"/>
                    <a:pt x="49" y="24"/>
                  </a:cubicBezTo>
                  <a:cubicBezTo>
                    <a:pt x="45" y="24"/>
                    <a:pt x="42" y="25"/>
                    <a:pt x="39" y="26"/>
                  </a:cubicBezTo>
                  <a:cubicBezTo>
                    <a:pt x="36" y="28"/>
                    <a:pt x="33" y="29"/>
                    <a:pt x="32" y="31"/>
                  </a:cubicBezTo>
                  <a:cubicBezTo>
                    <a:pt x="29" y="33"/>
                    <a:pt x="27" y="36"/>
                    <a:pt x="26" y="38"/>
                  </a:cubicBezTo>
                  <a:cubicBezTo>
                    <a:pt x="26" y="105"/>
                    <a:pt x="26" y="105"/>
                    <a:pt x="26" y="105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7" y="14"/>
                    <a:pt x="29" y="11"/>
                    <a:pt x="32" y="9"/>
                  </a:cubicBezTo>
                  <a:cubicBezTo>
                    <a:pt x="34" y="7"/>
                    <a:pt x="37" y="5"/>
                    <a:pt x="40" y="3"/>
                  </a:cubicBezTo>
                  <a:cubicBezTo>
                    <a:pt x="44" y="1"/>
                    <a:pt x="48" y="0"/>
                    <a:pt x="53" y="0"/>
                  </a:cubicBezTo>
                  <a:cubicBezTo>
                    <a:pt x="55" y="0"/>
                    <a:pt x="57" y="0"/>
                    <a:pt x="59" y="1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Freeform 43">
              <a:extLst>
                <a:ext uri="{FF2B5EF4-FFF2-40B4-BE49-F238E27FC236}">
                  <a16:creationId xmlns:a16="http://schemas.microsoft.com/office/drawing/2014/main" id="{03292961-08C2-493A-8574-389794E2DF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024563" y="1004888"/>
              <a:ext cx="36513" cy="161925"/>
            </a:xfrm>
            <a:custGeom>
              <a:avLst/>
              <a:gdLst>
                <a:gd name="T0" fmla="*/ 5 w 34"/>
                <a:gd name="T1" fmla="*/ 5 h 153"/>
                <a:gd name="T2" fmla="*/ 17 w 34"/>
                <a:gd name="T3" fmla="*/ 0 h 153"/>
                <a:gd name="T4" fmla="*/ 29 w 34"/>
                <a:gd name="T5" fmla="*/ 5 h 153"/>
                <a:gd name="T6" fmla="*/ 34 w 34"/>
                <a:gd name="T7" fmla="*/ 17 h 153"/>
                <a:gd name="T8" fmla="*/ 29 w 34"/>
                <a:gd name="T9" fmla="*/ 30 h 153"/>
                <a:gd name="T10" fmla="*/ 17 w 34"/>
                <a:gd name="T11" fmla="*/ 35 h 153"/>
                <a:gd name="T12" fmla="*/ 5 w 34"/>
                <a:gd name="T13" fmla="*/ 30 h 153"/>
                <a:gd name="T14" fmla="*/ 0 w 34"/>
                <a:gd name="T15" fmla="*/ 17 h 153"/>
                <a:gd name="T16" fmla="*/ 5 w 34"/>
                <a:gd name="T17" fmla="*/ 5 h 153"/>
                <a:gd name="T18" fmla="*/ 4 w 34"/>
                <a:gd name="T19" fmla="*/ 51 h 153"/>
                <a:gd name="T20" fmla="*/ 30 w 34"/>
                <a:gd name="T21" fmla="*/ 51 h 153"/>
                <a:gd name="T22" fmla="*/ 30 w 34"/>
                <a:gd name="T23" fmla="*/ 153 h 153"/>
                <a:gd name="T24" fmla="*/ 4 w 34"/>
                <a:gd name="T25" fmla="*/ 153 h 153"/>
                <a:gd name="T26" fmla="*/ 4 w 34"/>
                <a:gd name="T27" fmla="*/ 5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153">
                  <a:moveTo>
                    <a:pt x="5" y="5"/>
                  </a:moveTo>
                  <a:cubicBezTo>
                    <a:pt x="8" y="2"/>
                    <a:pt x="12" y="0"/>
                    <a:pt x="17" y="0"/>
                  </a:cubicBezTo>
                  <a:cubicBezTo>
                    <a:pt x="22" y="0"/>
                    <a:pt x="26" y="2"/>
                    <a:pt x="29" y="5"/>
                  </a:cubicBezTo>
                  <a:cubicBezTo>
                    <a:pt x="32" y="9"/>
                    <a:pt x="34" y="13"/>
                    <a:pt x="34" y="17"/>
                  </a:cubicBezTo>
                  <a:cubicBezTo>
                    <a:pt x="34" y="22"/>
                    <a:pt x="32" y="26"/>
                    <a:pt x="29" y="30"/>
                  </a:cubicBezTo>
                  <a:cubicBezTo>
                    <a:pt x="26" y="33"/>
                    <a:pt x="22" y="35"/>
                    <a:pt x="17" y="35"/>
                  </a:cubicBezTo>
                  <a:cubicBezTo>
                    <a:pt x="12" y="35"/>
                    <a:pt x="8" y="33"/>
                    <a:pt x="5" y="30"/>
                  </a:cubicBezTo>
                  <a:cubicBezTo>
                    <a:pt x="1" y="26"/>
                    <a:pt x="0" y="22"/>
                    <a:pt x="0" y="17"/>
                  </a:cubicBezTo>
                  <a:cubicBezTo>
                    <a:pt x="0" y="13"/>
                    <a:pt x="1" y="9"/>
                    <a:pt x="5" y="5"/>
                  </a:cubicBezTo>
                  <a:close/>
                  <a:moveTo>
                    <a:pt x="4" y="51"/>
                  </a:moveTo>
                  <a:cubicBezTo>
                    <a:pt x="30" y="51"/>
                    <a:pt x="30" y="51"/>
                    <a:pt x="30" y="51"/>
                  </a:cubicBezTo>
                  <a:cubicBezTo>
                    <a:pt x="30" y="153"/>
                    <a:pt x="30" y="153"/>
                    <a:pt x="30" y="153"/>
                  </a:cubicBezTo>
                  <a:cubicBezTo>
                    <a:pt x="4" y="153"/>
                    <a:pt x="4" y="153"/>
                    <a:pt x="4" y="153"/>
                  </a:cubicBezTo>
                  <a:lnTo>
                    <a:pt x="4" y="51"/>
                  </a:ln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44">
              <a:extLst>
                <a:ext uri="{FF2B5EF4-FFF2-40B4-BE49-F238E27FC236}">
                  <a16:creationId xmlns:a16="http://schemas.microsoft.com/office/drawing/2014/main" id="{5BFA12EB-95E1-4F3A-BB32-1C36BAF6DDC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091238" y="1055688"/>
              <a:ext cx="100013" cy="114300"/>
            </a:xfrm>
            <a:custGeom>
              <a:avLst/>
              <a:gdLst>
                <a:gd name="T0" fmla="*/ 83 w 95"/>
                <a:gd name="T1" fmla="*/ 10 h 108"/>
                <a:gd name="T2" fmla="*/ 95 w 95"/>
                <a:gd name="T3" fmla="*/ 38 h 108"/>
                <a:gd name="T4" fmla="*/ 95 w 95"/>
                <a:gd name="T5" fmla="*/ 105 h 108"/>
                <a:gd name="T6" fmla="*/ 71 w 95"/>
                <a:gd name="T7" fmla="*/ 105 h 108"/>
                <a:gd name="T8" fmla="*/ 71 w 95"/>
                <a:gd name="T9" fmla="*/ 92 h 108"/>
                <a:gd name="T10" fmla="*/ 63 w 95"/>
                <a:gd name="T11" fmla="*/ 100 h 108"/>
                <a:gd name="T12" fmla="*/ 53 w 95"/>
                <a:gd name="T13" fmla="*/ 106 h 108"/>
                <a:gd name="T14" fmla="*/ 38 w 95"/>
                <a:gd name="T15" fmla="*/ 108 h 108"/>
                <a:gd name="T16" fmla="*/ 24 w 95"/>
                <a:gd name="T17" fmla="*/ 106 h 108"/>
                <a:gd name="T18" fmla="*/ 12 w 95"/>
                <a:gd name="T19" fmla="*/ 99 h 108"/>
                <a:gd name="T20" fmla="*/ 4 w 95"/>
                <a:gd name="T21" fmla="*/ 88 h 108"/>
                <a:gd name="T22" fmla="*/ 0 w 95"/>
                <a:gd name="T23" fmla="*/ 73 h 108"/>
                <a:gd name="T24" fmla="*/ 4 w 95"/>
                <a:gd name="T25" fmla="*/ 60 h 108"/>
                <a:gd name="T26" fmla="*/ 12 w 95"/>
                <a:gd name="T27" fmla="*/ 49 h 108"/>
                <a:gd name="T28" fmla="*/ 25 w 95"/>
                <a:gd name="T29" fmla="*/ 42 h 108"/>
                <a:gd name="T30" fmla="*/ 41 w 95"/>
                <a:gd name="T31" fmla="*/ 39 h 108"/>
                <a:gd name="T32" fmla="*/ 53 w 95"/>
                <a:gd name="T33" fmla="*/ 41 h 108"/>
                <a:gd name="T34" fmla="*/ 62 w 95"/>
                <a:gd name="T35" fmla="*/ 43 h 108"/>
                <a:gd name="T36" fmla="*/ 69 w 95"/>
                <a:gd name="T37" fmla="*/ 47 h 108"/>
                <a:gd name="T38" fmla="*/ 69 w 95"/>
                <a:gd name="T39" fmla="*/ 41 h 108"/>
                <a:gd name="T40" fmla="*/ 67 w 95"/>
                <a:gd name="T41" fmla="*/ 33 h 108"/>
                <a:gd name="T42" fmla="*/ 62 w 95"/>
                <a:gd name="T43" fmla="*/ 27 h 108"/>
                <a:gd name="T44" fmla="*/ 55 w 95"/>
                <a:gd name="T45" fmla="*/ 24 h 108"/>
                <a:gd name="T46" fmla="*/ 47 w 95"/>
                <a:gd name="T47" fmla="*/ 23 h 108"/>
                <a:gd name="T48" fmla="*/ 36 w 95"/>
                <a:gd name="T49" fmla="*/ 24 h 108"/>
                <a:gd name="T50" fmla="*/ 26 w 95"/>
                <a:gd name="T51" fmla="*/ 27 h 108"/>
                <a:gd name="T52" fmla="*/ 17 w 95"/>
                <a:gd name="T53" fmla="*/ 31 h 108"/>
                <a:gd name="T54" fmla="*/ 8 w 95"/>
                <a:gd name="T55" fmla="*/ 9 h 108"/>
                <a:gd name="T56" fmla="*/ 20 w 95"/>
                <a:gd name="T57" fmla="*/ 5 h 108"/>
                <a:gd name="T58" fmla="*/ 33 w 95"/>
                <a:gd name="T59" fmla="*/ 1 h 108"/>
                <a:gd name="T60" fmla="*/ 49 w 95"/>
                <a:gd name="T61" fmla="*/ 0 h 108"/>
                <a:gd name="T62" fmla="*/ 83 w 95"/>
                <a:gd name="T63" fmla="*/ 10 h 108"/>
                <a:gd name="T64" fmla="*/ 56 w 95"/>
                <a:gd name="T65" fmla="*/ 84 h 108"/>
                <a:gd name="T66" fmla="*/ 63 w 95"/>
                <a:gd name="T67" fmla="*/ 80 h 108"/>
                <a:gd name="T68" fmla="*/ 69 w 95"/>
                <a:gd name="T69" fmla="*/ 74 h 108"/>
                <a:gd name="T70" fmla="*/ 69 w 95"/>
                <a:gd name="T71" fmla="*/ 64 h 108"/>
                <a:gd name="T72" fmla="*/ 63 w 95"/>
                <a:gd name="T73" fmla="*/ 61 h 108"/>
                <a:gd name="T74" fmla="*/ 56 w 95"/>
                <a:gd name="T75" fmla="*/ 59 h 108"/>
                <a:gd name="T76" fmla="*/ 46 w 95"/>
                <a:gd name="T77" fmla="*/ 59 h 108"/>
                <a:gd name="T78" fmla="*/ 40 w 95"/>
                <a:gd name="T79" fmla="*/ 59 h 108"/>
                <a:gd name="T80" fmla="*/ 33 w 95"/>
                <a:gd name="T81" fmla="*/ 62 h 108"/>
                <a:gd name="T82" fmla="*/ 29 w 95"/>
                <a:gd name="T83" fmla="*/ 66 h 108"/>
                <a:gd name="T84" fmla="*/ 27 w 95"/>
                <a:gd name="T85" fmla="*/ 73 h 108"/>
                <a:gd name="T86" fmla="*/ 29 w 95"/>
                <a:gd name="T87" fmla="*/ 80 h 108"/>
                <a:gd name="T88" fmla="*/ 33 w 95"/>
                <a:gd name="T89" fmla="*/ 84 h 108"/>
                <a:gd name="T90" fmla="*/ 39 w 95"/>
                <a:gd name="T91" fmla="*/ 86 h 108"/>
                <a:gd name="T92" fmla="*/ 46 w 95"/>
                <a:gd name="T93" fmla="*/ 86 h 108"/>
                <a:gd name="T94" fmla="*/ 56 w 95"/>
                <a:gd name="T95" fmla="*/ 8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5" h="108">
                  <a:moveTo>
                    <a:pt x="83" y="10"/>
                  </a:moveTo>
                  <a:cubicBezTo>
                    <a:pt x="91" y="17"/>
                    <a:pt x="95" y="27"/>
                    <a:pt x="95" y="38"/>
                  </a:cubicBezTo>
                  <a:cubicBezTo>
                    <a:pt x="95" y="105"/>
                    <a:pt x="95" y="105"/>
                    <a:pt x="95" y="105"/>
                  </a:cubicBezTo>
                  <a:cubicBezTo>
                    <a:pt x="71" y="105"/>
                    <a:pt x="71" y="105"/>
                    <a:pt x="71" y="105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9" y="95"/>
                    <a:pt x="66" y="98"/>
                    <a:pt x="63" y="100"/>
                  </a:cubicBezTo>
                  <a:cubicBezTo>
                    <a:pt x="60" y="102"/>
                    <a:pt x="57" y="104"/>
                    <a:pt x="53" y="106"/>
                  </a:cubicBezTo>
                  <a:cubicBezTo>
                    <a:pt x="48" y="107"/>
                    <a:pt x="43" y="108"/>
                    <a:pt x="38" y="108"/>
                  </a:cubicBezTo>
                  <a:cubicBezTo>
                    <a:pt x="33" y="108"/>
                    <a:pt x="28" y="107"/>
                    <a:pt x="24" y="106"/>
                  </a:cubicBezTo>
                  <a:cubicBezTo>
                    <a:pt x="19" y="104"/>
                    <a:pt x="15" y="102"/>
                    <a:pt x="12" y="99"/>
                  </a:cubicBezTo>
                  <a:cubicBezTo>
                    <a:pt x="8" y="96"/>
                    <a:pt x="6" y="92"/>
                    <a:pt x="4" y="88"/>
                  </a:cubicBezTo>
                  <a:cubicBezTo>
                    <a:pt x="1" y="84"/>
                    <a:pt x="0" y="79"/>
                    <a:pt x="0" y="73"/>
                  </a:cubicBezTo>
                  <a:cubicBezTo>
                    <a:pt x="0" y="69"/>
                    <a:pt x="2" y="64"/>
                    <a:pt x="4" y="60"/>
                  </a:cubicBezTo>
                  <a:cubicBezTo>
                    <a:pt x="6" y="56"/>
                    <a:pt x="9" y="52"/>
                    <a:pt x="12" y="49"/>
                  </a:cubicBezTo>
                  <a:cubicBezTo>
                    <a:pt x="16" y="46"/>
                    <a:pt x="20" y="44"/>
                    <a:pt x="25" y="42"/>
                  </a:cubicBezTo>
                  <a:cubicBezTo>
                    <a:pt x="30" y="40"/>
                    <a:pt x="35" y="39"/>
                    <a:pt x="41" y="39"/>
                  </a:cubicBezTo>
                  <a:cubicBezTo>
                    <a:pt x="46" y="39"/>
                    <a:pt x="50" y="40"/>
                    <a:pt x="53" y="41"/>
                  </a:cubicBezTo>
                  <a:cubicBezTo>
                    <a:pt x="57" y="41"/>
                    <a:pt x="60" y="42"/>
                    <a:pt x="62" y="43"/>
                  </a:cubicBezTo>
                  <a:cubicBezTo>
                    <a:pt x="65" y="44"/>
                    <a:pt x="67" y="45"/>
                    <a:pt x="69" y="47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38"/>
                    <a:pt x="69" y="35"/>
                    <a:pt x="67" y="33"/>
                  </a:cubicBezTo>
                  <a:cubicBezTo>
                    <a:pt x="66" y="30"/>
                    <a:pt x="64" y="28"/>
                    <a:pt x="62" y="27"/>
                  </a:cubicBezTo>
                  <a:cubicBezTo>
                    <a:pt x="60" y="26"/>
                    <a:pt x="57" y="25"/>
                    <a:pt x="55" y="24"/>
                  </a:cubicBezTo>
                  <a:cubicBezTo>
                    <a:pt x="52" y="23"/>
                    <a:pt x="50" y="23"/>
                    <a:pt x="47" y="23"/>
                  </a:cubicBezTo>
                  <a:cubicBezTo>
                    <a:pt x="43" y="23"/>
                    <a:pt x="40" y="24"/>
                    <a:pt x="36" y="24"/>
                  </a:cubicBezTo>
                  <a:cubicBezTo>
                    <a:pt x="32" y="25"/>
                    <a:pt x="29" y="26"/>
                    <a:pt x="26" y="27"/>
                  </a:cubicBezTo>
                  <a:cubicBezTo>
                    <a:pt x="23" y="28"/>
                    <a:pt x="20" y="29"/>
                    <a:pt x="17" y="31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2" y="8"/>
                    <a:pt x="16" y="6"/>
                    <a:pt x="20" y="5"/>
                  </a:cubicBezTo>
                  <a:cubicBezTo>
                    <a:pt x="24" y="3"/>
                    <a:pt x="28" y="2"/>
                    <a:pt x="33" y="1"/>
                  </a:cubicBezTo>
                  <a:cubicBezTo>
                    <a:pt x="38" y="1"/>
                    <a:pt x="43" y="0"/>
                    <a:pt x="49" y="0"/>
                  </a:cubicBezTo>
                  <a:cubicBezTo>
                    <a:pt x="63" y="0"/>
                    <a:pt x="75" y="3"/>
                    <a:pt x="83" y="10"/>
                  </a:cubicBezTo>
                  <a:close/>
                  <a:moveTo>
                    <a:pt x="56" y="84"/>
                  </a:moveTo>
                  <a:cubicBezTo>
                    <a:pt x="59" y="83"/>
                    <a:pt x="61" y="82"/>
                    <a:pt x="63" y="80"/>
                  </a:cubicBezTo>
                  <a:cubicBezTo>
                    <a:pt x="66" y="78"/>
                    <a:pt x="68" y="76"/>
                    <a:pt x="69" y="7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7" y="63"/>
                    <a:pt x="65" y="62"/>
                    <a:pt x="63" y="61"/>
                  </a:cubicBezTo>
                  <a:cubicBezTo>
                    <a:pt x="61" y="60"/>
                    <a:pt x="58" y="60"/>
                    <a:pt x="56" y="59"/>
                  </a:cubicBezTo>
                  <a:cubicBezTo>
                    <a:pt x="53" y="59"/>
                    <a:pt x="50" y="59"/>
                    <a:pt x="46" y="59"/>
                  </a:cubicBezTo>
                  <a:cubicBezTo>
                    <a:pt x="44" y="59"/>
                    <a:pt x="42" y="59"/>
                    <a:pt x="40" y="59"/>
                  </a:cubicBezTo>
                  <a:cubicBezTo>
                    <a:pt x="37" y="60"/>
                    <a:pt x="35" y="61"/>
                    <a:pt x="33" y="62"/>
                  </a:cubicBezTo>
                  <a:cubicBezTo>
                    <a:pt x="32" y="63"/>
                    <a:pt x="30" y="64"/>
                    <a:pt x="29" y="66"/>
                  </a:cubicBezTo>
                  <a:cubicBezTo>
                    <a:pt x="28" y="68"/>
                    <a:pt x="27" y="70"/>
                    <a:pt x="27" y="73"/>
                  </a:cubicBezTo>
                  <a:cubicBezTo>
                    <a:pt x="27" y="76"/>
                    <a:pt x="27" y="78"/>
                    <a:pt x="29" y="80"/>
                  </a:cubicBezTo>
                  <a:cubicBezTo>
                    <a:pt x="30" y="81"/>
                    <a:pt x="31" y="83"/>
                    <a:pt x="33" y="84"/>
                  </a:cubicBezTo>
                  <a:cubicBezTo>
                    <a:pt x="35" y="85"/>
                    <a:pt x="37" y="85"/>
                    <a:pt x="39" y="86"/>
                  </a:cubicBezTo>
                  <a:cubicBezTo>
                    <a:pt x="41" y="86"/>
                    <a:pt x="43" y="86"/>
                    <a:pt x="46" y="86"/>
                  </a:cubicBezTo>
                  <a:cubicBezTo>
                    <a:pt x="49" y="86"/>
                    <a:pt x="53" y="86"/>
                    <a:pt x="56" y="84"/>
                  </a:cubicBezTo>
                  <a:close/>
                </a:path>
              </a:pathLst>
            </a:custGeom>
            <a:solidFill>
              <a:srgbClr val="0202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605928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A Trennblat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6CF0DE6-BD34-412D-94AB-7924E43881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4377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6CF0DE6-BD34-412D-94AB-7924E4388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DF55117D-FE50-4AFA-A92A-60B9795FDC5E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rgbClr val="E6320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600" b="0" dirty="0" err="1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9C33C06-B7BC-4474-8A51-CD345406F80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9018" y="6114644"/>
            <a:ext cx="2022620" cy="423013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AB58C32-5D6D-4977-A4AE-56A05D1904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1225" y="1052513"/>
            <a:ext cx="8631238" cy="1895475"/>
          </a:xfrm>
        </p:spPr>
        <p:txBody>
          <a:bodyPr anchor="t"/>
          <a:lstStyle>
            <a:lvl1pPr>
              <a:defRPr sz="4000"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object 3">
            <a:extLst>
              <a:ext uri="{FF2B5EF4-FFF2-40B4-BE49-F238E27FC236}">
                <a16:creationId xmlns:a16="http://schemas.microsoft.com/office/drawing/2014/main" id="{92238C7F-749E-496A-B8DA-C3D88F1BAA38}"/>
              </a:ext>
            </a:extLst>
          </p:cNvPr>
          <p:cNvSpPr/>
          <p:nvPr userDrawn="1"/>
        </p:nvSpPr>
        <p:spPr>
          <a:xfrm>
            <a:off x="1" y="4559"/>
            <a:ext cx="540326" cy="692558"/>
          </a:xfrm>
          <a:custGeom>
            <a:avLst/>
            <a:gdLst/>
            <a:ahLst/>
            <a:cxnLst/>
            <a:rect l="l" t="t" r="r" b="b"/>
            <a:pathLst>
              <a:path w="1005205" h="1288415">
                <a:moveTo>
                  <a:pt x="0" y="0"/>
                </a:moveTo>
                <a:lnTo>
                  <a:pt x="0" y="335068"/>
                </a:lnTo>
                <a:lnTo>
                  <a:pt x="609552" y="640462"/>
                </a:lnTo>
                <a:lnTo>
                  <a:pt x="0" y="952850"/>
                </a:lnTo>
                <a:lnTo>
                  <a:pt x="0" y="1287918"/>
                </a:lnTo>
                <a:lnTo>
                  <a:pt x="1005204" y="793253"/>
                </a:lnTo>
                <a:lnTo>
                  <a:pt x="1005204" y="49601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 anchor="ctr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65148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Sä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1A2DEE5-844F-40BD-847C-AD9181795C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042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1A2DEE5-844F-40BD-847C-AD9181795C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87596ED-8270-4BD9-9069-84F474882F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9537" y="209407"/>
            <a:ext cx="8631785" cy="430887"/>
          </a:xfrm>
        </p:spPr>
        <p:txBody>
          <a:bodyPr vert="horz"/>
          <a:lstStyle>
            <a:lvl1pPr>
              <a:defRPr sz="3600"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ACA3A6B-089A-48DA-907F-9446B12760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873D13-8BEF-4470-A16D-19EDE6E7A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01F0EAC-DF03-4553-8D22-C26B163DC97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11224" y="1052513"/>
            <a:ext cx="8631240" cy="4708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8649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Säule +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0EC113F-F3DE-4EF1-AA24-564936C5ED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0272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0EC113F-F3DE-4EF1-AA24-564936C5ED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D0B7F44-1A9D-43CE-8B94-70E892BCC6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0F0CD56-CDEF-4F99-82E9-F8344BA7D8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F17232-4933-4B44-AB0A-14F7352465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4A8CE99-0AD9-4D9C-9C09-47545620E9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226" y="1052513"/>
            <a:ext cx="8630940" cy="604800"/>
          </a:xfrm>
        </p:spPr>
        <p:txBody>
          <a:bodyPr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8CF1398-AEAE-44BE-B05F-E03B17EB921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260" y="1726825"/>
            <a:ext cx="8631749" cy="40342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4197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äulen +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F84AA5-90AF-4944-A33D-CCA60F0CDA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5246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F84AA5-90AF-4944-A33D-CCA60F0CDA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B707A87-9762-46A5-A1BF-60907C2C37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9537" y="209407"/>
            <a:ext cx="8631785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CEE70F8-6350-4489-8BF1-B1E111BCAB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0CCAD9-3BB6-43FD-8F71-48FD588090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60E6D9E-AC7D-4CD8-9A1B-DC502AAB0B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225" y="1052513"/>
            <a:ext cx="4200555" cy="604800"/>
          </a:xfrm>
        </p:spPr>
        <p:txBody>
          <a:bodyPr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0F252CF9-0987-4CBA-8CC7-B6582ECA239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225" y="1726825"/>
            <a:ext cx="4200555" cy="40433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86BDC7C-1DCC-488B-89D7-620778CE86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41908" y="1052513"/>
            <a:ext cx="4200555" cy="604800"/>
          </a:xfrm>
        </p:spPr>
        <p:txBody>
          <a:bodyPr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4" name="Content Placeholder 7">
            <a:extLst>
              <a:ext uri="{FF2B5EF4-FFF2-40B4-BE49-F238E27FC236}">
                <a16:creationId xmlns:a16="http://schemas.microsoft.com/office/drawing/2014/main" id="{40CF3282-EE3F-4A8C-9194-FB798F942DA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341908" y="1726825"/>
            <a:ext cx="4200555" cy="40433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0624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äulen +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45B2A81-20D5-4DCD-B2D5-0DD68492C0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1858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45B2A81-20D5-4DCD-B2D5-0DD68492C0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AA155B-CCB9-45EF-83E7-A4F386C3D5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46BAB9-04B4-4317-A1F0-FDDB9A1286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56EE890-29E0-44E4-9668-F68CDE7A61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9538" y="208338"/>
            <a:ext cx="8631786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3C71988F-E327-4F96-8306-B27881356B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225" y="1052513"/>
            <a:ext cx="3469957" cy="604800"/>
          </a:xfrm>
        </p:spPr>
        <p:txBody>
          <a:bodyPr/>
          <a:lstStyle>
            <a:lvl1pPr>
              <a:defRPr sz="2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9" name="Content Placeholder 7">
            <a:extLst>
              <a:ext uri="{FF2B5EF4-FFF2-40B4-BE49-F238E27FC236}">
                <a16:creationId xmlns:a16="http://schemas.microsoft.com/office/drawing/2014/main" id="{4E46B802-7A11-4132-902C-6A8E73CAE6F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225" y="1726825"/>
            <a:ext cx="3469957" cy="4043397"/>
          </a:xfrm>
        </p:spPr>
        <p:txBody>
          <a:bodyPr/>
          <a:lstStyle>
            <a:lvl1pPr>
              <a:defRPr sz="240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251A676-9663-42CA-9166-26C677E3B2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30896" y="1052513"/>
            <a:ext cx="3469957" cy="604800"/>
          </a:xfrm>
        </p:spPr>
        <p:txBody>
          <a:bodyPr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1" name="Content Placeholder 7">
            <a:extLst>
              <a:ext uri="{FF2B5EF4-FFF2-40B4-BE49-F238E27FC236}">
                <a16:creationId xmlns:a16="http://schemas.microsoft.com/office/drawing/2014/main" id="{8C88EDB6-B166-4ABB-BA7D-0E492F4665A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30896" y="1726825"/>
            <a:ext cx="3469957" cy="4043397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400">
                <a:solidFill>
                  <a:schemeClr val="tx1"/>
                </a:solidFill>
              </a:defRPr>
            </a:lvl4pPr>
            <a:lvl5pP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20E0FD11-0513-4797-8CB2-3E0D24F23D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50568" y="1052513"/>
            <a:ext cx="3469957" cy="604800"/>
          </a:xfrm>
        </p:spPr>
        <p:txBody>
          <a:bodyPr/>
          <a:lstStyle>
            <a:lvl1pPr>
              <a:defRPr sz="28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3" name="Content Placeholder 7">
            <a:extLst>
              <a:ext uri="{FF2B5EF4-FFF2-40B4-BE49-F238E27FC236}">
                <a16:creationId xmlns:a16="http://schemas.microsoft.com/office/drawing/2014/main" id="{61D25E78-0AEF-4E09-8B9A-9996BEE68EE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350568" y="1726825"/>
            <a:ext cx="3469957" cy="4043397"/>
          </a:xfrm>
        </p:spPr>
        <p:txBody>
          <a:bodyPr/>
          <a:lstStyle>
            <a:lvl1pPr>
              <a:defRPr sz="2400">
                <a:solidFill>
                  <a:schemeClr val="accent4"/>
                </a:solidFill>
              </a:defRPr>
            </a:lvl1pPr>
            <a:lvl2pPr>
              <a:defRPr sz="2400">
                <a:solidFill>
                  <a:schemeClr val="accent4"/>
                </a:solidFill>
              </a:defRPr>
            </a:lvl2pPr>
            <a:lvl3pPr>
              <a:defRPr sz="2400">
                <a:solidFill>
                  <a:schemeClr val="accent4"/>
                </a:solidFill>
              </a:defRPr>
            </a:lvl3pPr>
            <a:lvl4pPr>
              <a:defRPr sz="2400">
                <a:solidFill>
                  <a:schemeClr val="accent4"/>
                </a:solidFill>
              </a:defRPr>
            </a:lvl4pPr>
            <a:lvl5pPr>
              <a:defRPr sz="2400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1838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446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äulen +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45B2A81-20D5-4DCD-B2D5-0DD68492C0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7994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45B2A81-20D5-4DCD-B2D5-0DD68492C0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AA155B-CCB9-45EF-83E7-A4F386C3D5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46BAB9-04B4-4317-A1F0-FDDB9A1286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56EE890-29E0-44E4-9668-F68CDE7A61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9538" y="208338"/>
            <a:ext cx="8631786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3C71988F-E327-4F96-8306-B27881356B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225" y="1052513"/>
            <a:ext cx="3469957" cy="604800"/>
          </a:xfrm>
        </p:spPr>
        <p:txBody>
          <a:bodyPr/>
          <a:lstStyle>
            <a:lvl1pPr>
              <a:defRPr sz="2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9" name="Content Placeholder 7">
            <a:extLst>
              <a:ext uri="{FF2B5EF4-FFF2-40B4-BE49-F238E27FC236}">
                <a16:creationId xmlns:a16="http://schemas.microsoft.com/office/drawing/2014/main" id="{4E46B802-7A11-4132-902C-6A8E73CAE6F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225" y="1726825"/>
            <a:ext cx="3469957" cy="4043397"/>
          </a:xfrm>
        </p:spPr>
        <p:txBody>
          <a:bodyPr/>
          <a:lstStyle>
            <a:lvl1pPr>
              <a:defRPr sz="240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251A676-9663-42CA-9166-26C677E3B2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30896" y="1052513"/>
            <a:ext cx="3469957" cy="604800"/>
          </a:xfrm>
        </p:spPr>
        <p:txBody>
          <a:bodyPr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1" name="Content Placeholder 7">
            <a:extLst>
              <a:ext uri="{FF2B5EF4-FFF2-40B4-BE49-F238E27FC236}">
                <a16:creationId xmlns:a16="http://schemas.microsoft.com/office/drawing/2014/main" id="{8C88EDB6-B166-4ABB-BA7D-0E492F4665A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30896" y="1726825"/>
            <a:ext cx="3469957" cy="4043397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400">
                <a:solidFill>
                  <a:schemeClr val="tx1"/>
                </a:solidFill>
              </a:defRPr>
            </a:lvl4pPr>
            <a:lvl5pP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20E0FD11-0513-4797-8CB2-3E0D24F23D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50568" y="1052513"/>
            <a:ext cx="3469957" cy="604800"/>
          </a:xfrm>
        </p:spPr>
        <p:txBody>
          <a:bodyPr/>
          <a:lstStyle>
            <a:lvl1pPr>
              <a:defRPr sz="28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3" name="Content Placeholder 7">
            <a:extLst>
              <a:ext uri="{FF2B5EF4-FFF2-40B4-BE49-F238E27FC236}">
                <a16:creationId xmlns:a16="http://schemas.microsoft.com/office/drawing/2014/main" id="{61D25E78-0AEF-4E09-8B9A-9996BEE68EE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350568" y="1726825"/>
            <a:ext cx="3469957" cy="4043397"/>
          </a:xfrm>
        </p:spPr>
        <p:txBody>
          <a:bodyPr/>
          <a:lstStyle>
            <a:lvl1pPr>
              <a:defRPr sz="2400">
                <a:solidFill>
                  <a:schemeClr val="accent4"/>
                </a:solidFill>
              </a:defRPr>
            </a:lvl1pPr>
            <a:lvl2pPr>
              <a:defRPr sz="2400">
                <a:solidFill>
                  <a:schemeClr val="accent4"/>
                </a:solidFill>
              </a:defRPr>
            </a:lvl2pPr>
            <a:lvl3pPr>
              <a:defRPr sz="2400">
                <a:solidFill>
                  <a:schemeClr val="accent4"/>
                </a:solidFill>
              </a:defRPr>
            </a:lvl3pPr>
            <a:lvl4pPr>
              <a:defRPr sz="2400">
                <a:solidFill>
                  <a:schemeClr val="accent4"/>
                </a:solidFill>
              </a:defRPr>
            </a:lvl4pPr>
            <a:lvl5pPr>
              <a:defRPr sz="2400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8291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446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äulen +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2EF57EA-F45E-48DD-BB02-9CCBBD67DA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072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2EF57EA-F45E-48DD-BB02-9CCBBD67DA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DCA3869-0626-4D7E-A07F-ED2B248D28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9845BF-B227-4307-81B9-E7C8FC57CD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B569F239-1A61-4E82-9B98-BB2D6F6CB5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3032" y="210212"/>
            <a:ext cx="8619431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2F2B9473-033B-41B3-A154-3B1336EE8A1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226" y="1052513"/>
            <a:ext cx="2533010" cy="604800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2" name="Content Placeholder 7">
            <a:extLst>
              <a:ext uri="{FF2B5EF4-FFF2-40B4-BE49-F238E27FC236}">
                <a16:creationId xmlns:a16="http://schemas.microsoft.com/office/drawing/2014/main" id="{C9427F82-503C-463A-BF79-F5A5EA2D69B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226" y="1726825"/>
            <a:ext cx="2533010" cy="40433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5237C118-A019-4D33-964B-D13E6747EE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03322" y="1052513"/>
            <a:ext cx="2533010" cy="604800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4" name="Content Placeholder 7">
            <a:extLst>
              <a:ext uri="{FF2B5EF4-FFF2-40B4-BE49-F238E27FC236}">
                <a16:creationId xmlns:a16="http://schemas.microsoft.com/office/drawing/2014/main" id="{05DA6DA1-355B-4AFA-9B21-A336D734899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703322" y="1726825"/>
            <a:ext cx="2533010" cy="40433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B04C321E-06CD-460E-9A0C-1FB1F64465C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95418" y="1052513"/>
            <a:ext cx="2533010" cy="604800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6" name="Content Placeholder 7">
            <a:extLst>
              <a:ext uri="{FF2B5EF4-FFF2-40B4-BE49-F238E27FC236}">
                <a16:creationId xmlns:a16="http://schemas.microsoft.com/office/drawing/2014/main" id="{C2329C79-5F90-40E8-BB19-5B2B9787D50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95418" y="1726825"/>
            <a:ext cx="2533010" cy="40433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24F5421-6FED-4A33-932C-CE3DA5044FA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87515" y="1052513"/>
            <a:ext cx="2533010" cy="604800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8" name="Content Placeholder 7">
            <a:extLst>
              <a:ext uri="{FF2B5EF4-FFF2-40B4-BE49-F238E27FC236}">
                <a16:creationId xmlns:a16="http://schemas.microsoft.com/office/drawing/2014/main" id="{AF9CA067-2ED3-4831-B812-20849029EFC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287515" y="1726825"/>
            <a:ext cx="2533010" cy="40433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0753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446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inks + Foto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48EF813-7050-4CFA-A5BF-35F2ECAAC8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5566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48EF813-7050-4CFA-A5BF-35F2ECAAC8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90BAE0-3503-40B7-97FF-3BBA5C4DD7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42D4FE-2A34-4C36-A765-CE00B9912A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DA4AB55-A4CD-400A-831B-870876DFDD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3031" y="210211"/>
            <a:ext cx="8631786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927D2A2D-8CE5-4B25-A24E-D55EB0EAF10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225" y="1052513"/>
            <a:ext cx="3469957" cy="471770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25B827B4-7226-45B7-803F-EFCCFD8A354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30896" y="1052513"/>
            <a:ext cx="7561104" cy="471770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899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44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links +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48EF813-7050-4CFA-A5BF-35F2ECAAC8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3861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48EF813-7050-4CFA-A5BF-35F2ECAAC8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90BAE0-3503-40B7-97FF-3BBA5C4DD7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42D4FE-2A34-4C36-A765-CE00B9912A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DA4AB55-A4CD-400A-831B-870876DFDD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3032" y="210210"/>
            <a:ext cx="8631786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30B366EE-35A0-4779-A5D6-6B35B8697D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50568" y="1052513"/>
            <a:ext cx="3469957" cy="471770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Content Placeholder 7">
            <a:extLst>
              <a:ext uri="{FF2B5EF4-FFF2-40B4-BE49-F238E27FC236}">
                <a16:creationId xmlns:a16="http://schemas.microsoft.com/office/drawing/2014/main" id="{214ABF5A-147C-4980-B700-3A8C64606DC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0" y="1052513"/>
            <a:ext cx="8112661" cy="471770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9170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446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äulen + F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45B2A81-20D5-4DCD-B2D5-0DD68492C0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130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45B2A81-20D5-4DCD-B2D5-0DD68492C0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DAA155B-CCB9-45EF-83E7-A4F386C3D5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46BAB9-04B4-4317-A1F0-FDDB9A1286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56EE890-29E0-44E4-9668-F68CDE7A61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9538" y="208338"/>
            <a:ext cx="8631786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9" name="Content Placeholder 7">
            <a:extLst>
              <a:ext uri="{FF2B5EF4-FFF2-40B4-BE49-F238E27FC236}">
                <a16:creationId xmlns:a16="http://schemas.microsoft.com/office/drawing/2014/main" id="{4E46B802-7A11-4132-902C-6A8E73CAE6F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225" y="4696691"/>
            <a:ext cx="2387743" cy="1073531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Content Placeholder 7">
            <a:extLst>
              <a:ext uri="{FF2B5EF4-FFF2-40B4-BE49-F238E27FC236}">
                <a16:creationId xmlns:a16="http://schemas.microsoft.com/office/drawing/2014/main" id="{8C88EDB6-B166-4ABB-BA7D-0E492F4665A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985646" y="4696691"/>
            <a:ext cx="2387743" cy="1073531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Content Placeholder 7">
            <a:extLst>
              <a:ext uri="{FF2B5EF4-FFF2-40B4-BE49-F238E27FC236}">
                <a16:creationId xmlns:a16="http://schemas.microsoft.com/office/drawing/2014/main" id="{61D25E78-0AEF-4E09-8B9A-9996BEE68EE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9060067" y="4696691"/>
            <a:ext cx="2387743" cy="1073531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1C5F30F-C9B7-4000-8B2D-22FCB12B188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1" y="1052513"/>
            <a:ext cx="4043159" cy="3461298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A4924A90-45F3-47AB-9B15-4F778FBE223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74420" y="1052513"/>
            <a:ext cx="4043159" cy="3461298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EE7A4228-1859-43D7-A855-F6BF17DA223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48841" y="1052513"/>
            <a:ext cx="4043159" cy="3461298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1249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mi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11817AE-51ED-41E3-A690-ED26CAEA9D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2865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11817AE-51ED-41E3-A690-ED26CAEA9D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EC5787D-011E-416D-94DD-7B499E6E75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052513"/>
            <a:ext cx="12192000" cy="5805487"/>
          </a:xfrm>
          <a:solidFill>
            <a:schemeClr val="tx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A194230-98A5-4312-912D-7CAE3A9610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3033" y="210209"/>
            <a:ext cx="8619430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E5B1355D-DD05-472A-9160-73E5F49FBB8B}"/>
              </a:ext>
            </a:extLst>
          </p:cNvPr>
          <p:cNvGrpSpPr/>
          <p:nvPr userDrawn="1"/>
        </p:nvGrpSpPr>
        <p:grpSpPr>
          <a:xfrm>
            <a:off x="9809018" y="6114397"/>
            <a:ext cx="2022620" cy="422928"/>
            <a:chOff x="9809018" y="6114397"/>
            <a:chExt cx="2022620" cy="422928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BA0A10D1-360F-45ED-BB02-7489FB5422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66356" y="6115872"/>
              <a:ext cx="510226" cy="421453"/>
            </a:xfrm>
            <a:custGeom>
              <a:avLst/>
              <a:gdLst>
                <a:gd name="T0" fmla="*/ 318 w 1730"/>
                <a:gd name="T1" fmla="*/ 1429 h 1429"/>
                <a:gd name="T2" fmla="*/ 0 w 1730"/>
                <a:gd name="T3" fmla="*/ 1429 h 1429"/>
                <a:gd name="T4" fmla="*/ 721 w 1730"/>
                <a:gd name="T5" fmla="*/ 0 h 1429"/>
                <a:gd name="T6" fmla="*/ 1009 w 1730"/>
                <a:gd name="T7" fmla="*/ 0 h 1429"/>
                <a:gd name="T8" fmla="*/ 1730 w 1730"/>
                <a:gd name="T9" fmla="*/ 1429 h 1429"/>
                <a:gd name="T10" fmla="*/ 1405 w 1730"/>
                <a:gd name="T11" fmla="*/ 1429 h 1429"/>
                <a:gd name="T12" fmla="*/ 861 w 1730"/>
                <a:gd name="T13" fmla="*/ 376 h 1429"/>
                <a:gd name="T14" fmla="*/ 318 w 1730"/>
                <a:gd name="T15" fmla="*/ 1429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0" h="1429">
                  <a:moveTo>
                    <a:pt x="318" y="1429"/>
                  </a:moveTo>
                  <a:lnTo>
                    <a:pt x="0" y="1429"/>
                  </a:lnTo>
                  <a:lnTo>
                    <a:pt x="721" y="0"/>
                  </a:lnTo>
                  <a:lnTo>
                    <a:pt x="1009" y="0"/>
                  </a:lnTo>
                  <a:lnTo>
                    <a:pt x="1730" y="1429"/>
                  </a:lnTo>
                  <a:lnTo>
                    <a:pt x="1405" y="1429"/>
                  </a:lnTo>
                  <a:lnTo>
                    <a:pt x="861" y="376"/>
                  </a:lnTo>
                  <a:lnTo>
                    <a:pt x="318" y="14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Rectangle 6">
              <a:extLst>
                <a:ext uri="{FF2B5EF4-FFF2-40B4-BE49-F238E27FC236}">
                  <a16:creationId xmlns:a16="http://schemas.microsoft.com/office/drawing/2014/main" id="{1EAC1829-369D-48DB-A45E-C4A1D6F8F57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273043" y="6115872"/>
              <a:ext cx="14746" cy="11325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514FC642-3668-45C5-9273-50FCCA2586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0822" y="6115872"/>
              <a:ext cx="94967" cy="113253"/>
            </a:xfrm>
            <a:custGeom>
              <a:avLst/>
              <a:gdLst>
                <a:gd name="T0" fmla="*/ 0 w 136"/>
                <a:gd name="T1" fmla="*/ 161 h 161"/>
                <a:gd name="T2" fmla="*/ 0 w 136"/>
                <a:gd name="T3" fmla="*/ 0 h 161"/>
                <a:gd name="T4" fmla="*/ 20 w 136"/>
                <a:gd name="T5" fmla="*/ 0 h 161"/>
                <a:gd name="T6" fmla="*/ 88 w 136"/>
                <a:gd name="T7" fmla="*/ 90 h 161"/>
                <a:gd name="T8" fmla="*/ 116 w 136"/>
                <a:gd name="T9" fmla="*/ 127 h 161"/>
                <a:gd name="T10" fmla="*/ 116 w 136"/>
                <a:gd name="T11" fmla="*/ 127 h 161"/>
                <a:gd name="T12" fmla="*/ 116 w 136"/>
                <a:gd name="T13" fmla="*/ 81 h 161"/>
                <a:gd name="T14" fmla="*/ 116 w 136"/>
                <a:gd name="T15" fmla="*/ 0 h 161"/>
                <a:gd name="T16" fmla="*/ 136 w 136"/>
                <a:gd name="T17" fmla="*/ 0 h 161"/>
                <a:gd name="T18" fmla="*/ 136 w 136"/>
                <a:gd name="T19" fmla="*/ 161 h 161"/>
                <a:gd name="T20" fmla="*/ 116 w 136"/>
                <a:gd name="T21" fmla="*/ 161 h 161"/>
                <a:gd name="T22" fmla="*/ 49 w 136"/>
                <a:gd name="T23" fmla="*/ 72 h 161"/>
                <a:gd name="T24" fmla="*/ 21 w 136"/>
                <a:gd name="T25" fmla="*/ 34 h 161"/>
                <a:gd name="T26" fmla="*/ 20 w 136"/>
                <a:gd name="T27" fmla="*/ 34 h 161"/>
                <a:gd name="T28" fmla="*/ 21 w 136"/>
                <a:gd name="T29" fmla="*/ 80 h 161"/>
                <a:gd name="T30" fmla="*/ 21 w 136"/>
                <a:gd name="T31" fmla="*/ 161 h 161"/>
                <a:gd name="T32" fmla="*/ 0 w 136"/>
                <a:gd name="T33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61">
                  <a:moveTo>
                    <a:pt x="0" y="16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88" y="90"/>
                    <a:pt x="88" y="90"/>
                    <a:pt x="88" y="90"/>
                  </a:cubicBezTo>
                  <a:cubicBezTo>
                    <a:pt x="97" y="102"/>
                    <a:pt x="106" y="114"/>
                    <a:pt x="116" y="127"/>
                  </a:cubicBezTo>
                  <a:cubicBezTo>
                    <a:pt x="116" y="127"/>
                    <a:pt x="116" y="127"/>
                    <a:pt x="116" y="127"/>
                  </a:cubicBezTo>
                  <a:cubicBezTo>
                    <a:pt x="116" y="113"/>
                    <a:pt x="116" y="97"/>
                    <a:pt x="116" y="81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161"/>
                    <a:pt x="136" y="161"/>
                    <a:pt x="136" y="161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39" y="60"/>
                    <a:pt x="30" y="47"/>
                    <a:pt x="21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1" y="48"/>
                    <a:pt x="21" y="65"/>
                    <a:pt x="21" y="80"/>
                  </a:cubicBezTo>
                  <a:cubicBezTo>
                    <a:pt x="21" y="161"/>
                    <a:pt x="21" y="161"/>
                    <a:pt x="21" y="161"/>
                  </a:cubicBezTo>
                  <a:lnTo>
                    <a:pt x="0" y="16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614C5C17-9731-4A21-BE20-2AE052E5F0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6729" y="6115872"/>
              <a:ext cx="101750" cy="113253"/>
            </a:xfrm>
            <a:custGeom>
              <a:avLst/>
              <a:gdLst>
                <a:gd name="T0" fmla="*/ 0 w 145"/>
                <a:gd name="T1" fmla="*/ 0 h 161"/>
                <a:gd name="T2" fmla="*/ 23 w 145"/>
                <a:gd name="T3" fmla="*/ 0 h 161"/>
                <a:gd name="T4" fmla="*/ 57 w 145"/>
                <a:gd name="T5" fmla="*/ 90 h 161"/>
                <a:gd name="T6" fmla="*/ 73 w 145"/>
                <a:gd name="T7" fmla="*/ 133 h 161"/>
                <a:gd name="T8" fmla="*/ 73 w 145"/>
                <a:gd name="T9" fmla="*/ 133 h 161"/>
                <a:gd name="T10" fmla="*/ 89 w 145"/>
                <a:gd name="T11" fmla="*/ 90 h 161"/>
                <a:gd name="T12" fmla="*/ 124 w 145"/>
                <a:gd name="T13" fmla="*/ 0 h 161"/>
                <a:gd name="T14" fmla="*/ 145 w 145"/>
                <a:gd name="T15" fmla="*/ 0 h 161"/>
                <a:gd name="T16" fmla="*/ 84 w 145"/>
                <a:gd name="T17" fmla="*/ 161 h 161"/>
                <a:gd name="T18" fmla="*/ 62 w 145"/>
                <a:gd name="T19" fmla="*/ 161 h 161"/>
                <a:gd name="T20" fmla="*/ 0 w 145"/>
                <a:gd name="T21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5" h="161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62" y="104"/>
                    <a:pt x="67" y="118"/>
                    <a:pt x="73" y="133"/>
                  </a:cubicBezTo>
                  <a:cubicBezTo>
                    <a:pt x="73" y="133"/>
                    <a:pt x="73" y="133"/>
                    <a:pt x="73" y="133"/>
                  </a:cubicBezTo>
                  <a:cubicBezTo>
                    <a:pt x="79" y="118"/>
                    <a:pt x="84" y="104"/>
                    <a:pt x="89" y="9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84" y="161"/>
                    <a:pt x="84" y="161"/>
                    <a:pt x="84" y="161"/>
                  </a:cubicBezTo>
                  <a:cubicBezTo>
                    <a:pt x="62" y="161"/>
                    <a:pt x="62" y="161"/>
                    <a:pt x="62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875D6CEE-8A5C-4632-968D-932A5901A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60009" y="6115872"/>
              <a:ext cx="66654" cy="113253"/>
            </a:xfrm>
            <a:custGeom>
              <a:avLst/>
              <a:gdLst>
                <a:gd name="T0" fmla="*/ 0 w 226"/>
                <a:gd name="T1" fmla="*/ 0 h 384"/>
                <a:gd name="T2" fmla="*/ 221 w 226"/>
                <a:gd name="T3" fmla="*/ 0 h 384"/>
                <a:gd name="T4" fmla="*/ 221 w 226"/>
                <a:gd name="T5" fmla="*/ 45 h 384"/>
                <a:gd name="T6" fmla="*/ 50 w 226"/>
                <a:gd name="T7" fmla="*/ 45 h 384"/>
                <a:gd name="T8" fmla="*/ 50 w 226"/>
                <a:gd name="T9" fmla="*/ 162 h 384"/>
                <a:gd name="T10" fmla="*/ 199 w 226"/>
                <a:gd name="T11" fmla="*/ 162 h 384"/>
                <a:gd name="T12" fmla="*/ 199 w 226"/>
                <a:gd name="T13" fmla="*/ 207 h 384"/>
                <a:gd name="T14" fmla="*/ 50 w 226"/>
                <a:gd name="T15" fmla="*/ 207 h 384"/>
                <a:gd name="T16" fmla="*/ 50 w 226"/>
                <a:gd name="T17" fmla="*/ 338 h 384"/>
                <a:gd name="T18" fmla="*/ 226 w 226"/>
                <a:gd name="T19" fmla="*/ 338 h 384"/>
                <a:gd name="T20" fmla="*/ 226 w 226"/>
                <a:gd name="T21" fmla="*/ 384 h 384"/>
                <a:gd name="T22" fmla="*/ 0 w 226"/>
                <a:gd name="T23" fmla="*/ 384 h 384"/>
                <a:gd name="T24" fmla="*/ 0 w 226"/>
                <a:gd name="T25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" h="384">
                  <a:moveTo>
                    <a:pt x="0" y="0"/>
                  </a:moveTo>
                  <a:lnTo>
                    <a:pt x="221" y="0"/>
                  </a:lnTo>
                  <a:lnTo>
                    <a:pt x="221" y="45"/>
                  </a:lnTo>
                  <a:lnTo>
                    <a:pt x="50" y="45"/>
                  </a:lnTo>
                  <a:lnTo>
                    <a:pt x="50" y="162"/>
                  </a:lnTo>
                  <a:lnTo>
                    <a:pt x="199" y="162"/>
                  </a:lnTo>
                  <a:lnTo>
                    <a:pt x="199" y="207"/>
                  </a:lnTo>
                  <a:lnTo>
                    <a:pt x="50" y="207"/>
                  </a:lnTo>
                  <a:lnTo>
                    <a:pt x="50" y="338"/>
                  </a:lnTo>
                  <a:lnTo>
                    <a:pt x="226" y="338"/>
                  </a:lnTo>
                  <a:lnTo>
                    <a:pt x="226" y="384"/>
                  </a:lnTo>
                  <a:lnTo>
                    <a:pt x="0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A6DD66C5-B79D-4239-B301-865EE3CC39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50257" y="6114397"/>
              <a:ext cx="74322" cy="116792"/>
            </a:xfrm>
            <a:custGeom>
              <a:avLst/>
              <a:gdLst>
                <a:gd name="T0" fmla="*/ 4 w 106"/>
                <a:gd name="T1" fmla="*/ 130 h 166"/>
                <a:gd name="T2" fmla="*/ 52 w 106"/>
                <a:gd name="T3" fmla="*/ 146 h 166"/>
                <a:gd name="T4" fmla="*/ 85 w 106"/>
                <a:gd name="T5" fmla="*/ 120 h 166"/>
                <a:gd name="T6" fmla="*/ 45 w 106"/>
                <a:gd name="T7" fmla="*/ 90 h 166"/>
                <a:gd name="T8" fmla="*/ 0 w 106"/>
                <a:gd name="T9" fmla="*/ 45 h 166"/>
                <a:gd name="T10" fmla="*/ 52 w 106"/>
                <a:gd name="T11" fmla="*/ 0 h 166"/>
                <a:gd name="T12" fmla="*/ 99 w 106"/>
                <a:gd name="T13" fmla="*/ 12 h 166"/>
                <a:gd name="T14" fmla="*/ 99 w 106"/>
                <a:gd name="T15" fmla="*/ 34 h 166"/>
                <a:gd name="T16" fmla="*/ 52 w 106"/>
                <a:gd name="T17" fmla="*/ 19 h 166"/>
                <a:gd name="T18" fmla="*/ 21 w 106"/>
                <a:gd name="T19" fmla="*/ 43 h 166"/>
                <a:gd name="T20" fmla="*/ 59 w 106"/>
                <a:gd name="T21" fmla="*/ 72 h 166"/>
                <a:gd name="T22" fmla="*/ 106 w 106"/>
                <a:gd name="T23" fmla="*/ 119 h 166"/>
                <a:gd name="T24" fmla="*/ 52 w 106"/>
                <a:gd name="T25" fmla="*/ 166 h 166"/>
                <a:gd name="T26" fmla="*/ 4 w 106"/>
                <a:gd name="T27" fmla="*/ 153 h 166"/>
                <a:gd name="T28" fmla="*/ 4 w 106"/>
                <a:gd name="T29" fmla="*/ 13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6" h="166">
                  <a:moveTo>
                    <a:pt x="4" y="130"/>
                  </a:moveTo>
                  <a:cubicBezTo>
                    <a:pt x="19" y="141"/>
                    <a:pt x="38" y="146"/>
                    <a:pt x="52" y="146"/>
                  </a:cubicBezTo>
                  <a:cubicBezTo>
                    <a:pt x="71" y="146"/>
                    <a:pt x="85" y="138"/>
                    <a:pt x="85" y="120"/>
                  </a:cubicBezTo>
                  <a:cubicBezTo>
                    <a:pt x="85" y="99"/>
                    <a:pt x="66" y="96"/>
                    <a:pt x="45" y="90"/>
                  </a:cubicBezTo>
                  <a:cubicBezTo>
                    <a:pt x="22" y="83"/>
                    <a:pt x="0" y="74"/>
                    <a:pt x="0" y="45"/>
                  </a:cubicBezTo>
                  <a:cubicBezTo>
                    <a:pt x="0" y="16"/>
                    <a:pt x="21" y="0"/>
                    <a:pt x="52" y="0"/>
                  </a:cubicBezTo>
                  <a:cubicBezTo>
                    <a:pt x="67" y="0"/>
                    <a:pt x="86" y="4"/>
                    <a:pt x="99" y="12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84" y="24"/>
                    <a:pt x="66" y="19"/>
                    <a:pt x="52" y="19"/>
                  </a:cubicBezTo>
                  <a:cubicBezTo>
                    <a:pt x="34" y="19"/>
                    <a:pt x="21" y="27"/>
                    <a:pt x="21" y="43"/>
                  </a:cubicBezTo>
                  <a:cubicBezTo>
                    <a:pt x="21" y="63"/>
                    <a:pt x="40" y="67"/>
                    <a:pt x="59" y="72"/>
                  </a:cubicBezTo>
                  <a:cubicBezTo>
                    <a:pt x="83" y="79"/>
                    <a:pt x="106" y="88"/>
                    <a:pt x="106" y="119"/>
                  </a:cubicBezTo>
                  <a:cubicBezTo>
                    <a:pt x="106" y="148"/>
                    <a:pt x="84" y="166"/>
                    <a:pt x="52" y="166"/>
                  </a:cubicBezTo>
                  <a:cubicBezTo>
                    <a:pt x="37" y="166"/>
                    <a:pt x="18" y="161"/>
                    <a:pt x="4" y="153"/>
                  </a:cubicBezTo>
                  <a:lnTo>
                    <a:pt x="4" y="13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C62E8015-31FC-40BB-BF70-FCA99B5D17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35786" y="6115872"/>
              <a:ext cx="90248" cy="113253"/>
            </a:xfrm>
            <a:custGeom>
              <a:avLst/>
              <a:gdLst>
                <a:gd name="T0" fmla="*/ 128 w 306"/>
                <a:gd name="T1" fmla="*/ 45 h 384"/>
                <a:gd name="T2" fmla="*/ 0 w 306"/>
                <a:gd name="T3" fmla="*/ 45 h 384"/>
                <a:gd name="T4" fmla="*/ 0 w 306"/>
                <a:gd name="T5" fmla="*/ 0 h 384"/>
                <a:gd name="T6" fmla="*/ 306 w 306"/>
                <a:gd name="T7" fmla="*/ 0 h 384"/>
                <a:gd name="T8" fmla="*/ 306 w 306"/>
                <a:gd name="T9" fmla="*/ 45 h 384"/>
                <a:gd name="T10" fmla="*/ 178 w 306"/>
                <a:gd name="T11" fmla="*/ 45 h 384"/>
                <a:gd name="T12" fmla="*/ 178 w 306"/>
                <a:gd name="T13" fmla="*/ 384 h 384"/>
                <a:gd name="T14" fmla="*/ 128 w 306"/>
                <a:gd name="T15" fmla="*/ 384 h 384"/>
                <a:gd name="T16" fmla="*/ 128 w 306"/>
                <a:gd name="T17" fmla="*/ 45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6" h="384">
                  <a:moveTo>
                    <a:pt x="128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306" y="0"/>
                  </a:lnTo>
                  <a:lnTo>
                    <a:pt x="306" y="45"/>
                  </a:lnTo>
                  <a:lnTo>
                    <a:pt x="178" y="45"/>
                  </a:lnTo>
                  <a:lnTo>
                    <a:pt x="178" y="384"/>
                  </a:lnTo>
                  <a:lnTo>
                    <a:pt x="128" y="384"/>
                  </a:lnTo>
                  <a:lnTo>
                    <a:pt x="128" y="4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270D0C29-CCCB-4467-B960-D9AC772097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4066" y="6270414"/>
              <a:ext cx="153953" cy="113253"/>
            </a:xfrm>
            <a:custGeom>
              <a:avLst/>
              <a:gdLst>
                <a:gd name="T0" fmla="*/ 0 w 220"/>
                <a:gd name="T1" fmla="*/ 0 h 161"/>
                <a:gd name="T2" fmla="*/ 22 w 220"/>
                <a:gd name="T3" fmla="*/ 0 h 161"/>
                <a:gd name="T4" fmla="*/ 49 w 220"/>
                <a:gd name="T5" fmla="*/ 87 h 161"/>
                <a:gd name="T6" fmla="*/ 62 w 220"/>
                <a:gd name="T7" fmla="*/ 129 h 161"/>
                <a:gd name="T8" fmla="*/ 62 w 220"/>
                <a:gd name="T9" fmla="*/ 129 h 161"/>
                <a:gd name="T10" fmla="*/ 75 w 220"/>
                <a:gd name="T11" fmla="*/ 87 h 161"/>
                <a:gd name="T12" fmla="*/ 103 w 220"/>
                <a:gd name="T13" fmla="*/ 0 h 161"/>
                <a:gd name="T14" fmla="*/ 118 w 220"/>
                <a:gd name="T15" fmla="*/ 0 h 161"/>
                <a:gd name="T16" fmla="*/ 145 w 220"/>
                <a:gd name="T17" fmla="*/ 87 h 161"/>
                <a:gd name="T18" fmla="*/ 158 w 220"/>
                <a:gd name="T19" fmla="*/ 129 h 161"/>
                <a:gd name="T20" fmla="*/ 159 w 220"/>
                <a:gd name="T21" fmla="*/ 129 h 161"/>
                <a:gd name="T22" fmla="*/ 171 w 220"/>
                <a:gd name="T23" fmla="*/ 87 h 161"/>
                <a:gd name="T24" fmla="*/ 198 w 220"/>
                <a:gd name="T25" fmla="*/ 0 h 161"/>
                <a:gd name="T26" fmla="*/ 220 w 220"/>
                <a:gd name="T27" fmla="*/ 0 h 161"/>
                <a:gd name="T28" fmla="*/ 170 w 220"/>
                <a:gd name="T29" fmla="*/ 161 h 161"/>
                <a:gd name="T30" fmla="*/ 147 w 220"/>
                <a:gd name="T31" fmla="*/ 161 h 161"/>
                <a:gd name="T32" fmla="*/ 121 w 220"/>
                <a:gd name="T33" fmla="*/ 79 h 161"/>
                <a:gd name="T34" fmla="*/ 110 w 220"/>
                <a:gd name="T35" fmla="*/ 42 h 161"/>
                <a:gd name="T36" fmla="*/ 110 w 220"/>
                <a:gd name="T37" fmla="*/ 42 h 161"/>
                <a:gd name="T38" fmla="*/ 98 w 220"/>
                <a:gd name="T39" fmla="*/ 79 h 161"/>
                <a:gd name="T40" fmla="*/ 73 w 220"/>
                <a:gd name="T41" fmla="*/ 161 h 161"/>
                <a:gd name="T42" fmla="*/ 50 w 220"/>
                <a:gd name="T43" fmla="*/ 161 h 161"/>
                <a:gd name="T44" fmla="*/ 0 w 220"/>
                <a:gd name="T45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0" h="161">
                  <a:moveTo>
                    <a:pt x="0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54" y="101"/>
                    <a:pt x="58" y="115"/>
                    <a:pt x="62" y="129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66" y="115"/>
                    <a:pt x="71" y="101"/>
                    <a:pt x="75" y="87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45" y="87"/>
                    <a:pt x="145" y="87"/>
                    <a:pt x="145" y="87"/>
                  </a:cubicBezTo>
                  <a:cubicBezTo>
                    <a:pt x="150" y="101"/>
                    <a:pt x="154" y="115"/>
                    <a:pt x="158" y="129"/>
                  </a:cubicBezTo>
                  <a:cubicBezTo>
                    <a:pt x="159" y="129"/>
                    <a:pt x="159" y="129"/>
                    <a:pt x="159" y="129"/>
                  </a:cubicBezTo>
                  <a:cubicBezTo>
                    <a:pt x="163" y="115"/>
                    <a:pt x="167" y="101"/>
                    <a:pt x="171" y="87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170" y="161"/>
                    <a:pt x="170" y="161"/>
                    <a:pt x="170" y="161"/>
                  </a:cubicBezTo>
                  <a:cubicBezTo>
                    <a:pt x="147" y="161"/>
                    <a:pt x="147" y="161"/>
                    <a:pt x="147" y="161"/>
                  </a:cubicBezTo>
                  <a:cubicBezTo>
                    <a:pt x="121" y="79"/>
                    <a:pt x="121" y="79"/>
                    <a:pt x="121" y="79"/>
                  </a:cubicBezTo>
                  <a:cubicBezTo>
                    <a:pt x="117" y="66"/>
                    <a:pt x="114" y="54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06" y="54"/>
                    <a:pt x="102" y="67"/>
                    <a:pt x="98" y="79"/>
                  </a:cubicBezTo>
                  <a:cubicBezTo>
                    <a:pt x="73" y="161"/>
                    <a:pt x="73" y="161"/>
                    <a:pt x="73" y="161"/>
                  </a:cubicBezTo>
                  <a:cubicBezTo>
                    <a:pt x="50" y="161"/>
                    <a:pt x="50" y="161"/>
                    <a:pt x="50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5C85FB6A-2060-4D3C-ABA7-7A9AAF53A57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490111" y="6268940"/>
              <a:ext cx="114727" cy="115907"/>
            </a:xfrm>
            <a:custGeom>
              <a:avLst/>
              <a:gdLst>
                <a:gd name="T0" fmla="*/ 82 w 164"/>
                <a:gd name="T1" fmla="*/ 0 h 165"/>
                <a:gd name="T2" fmla="*/ 164 w 164"/>
                <a:gd name="T3" fmla="*/ 82 h 165"/>
                <a:gd name="T4" fmla="*/ 82 w 164"/>
                <a:gd name="T5" fmla="*/ 165 h 165"/>
                <a:gd name="T6" fmla="*/ 0 w 164"/>
                <a:gd name="T7" fmla="*/ 82 h 165"/>
                <a:gd name="T8" fmla="*/ 82 w 164"/>
                <a:gd name="T9" fmla="*/ 0 h 165"/>
                <a:gd name="T10" fmla="*/ 82 w 164"/>
                <a:gd name="T11" fmla="*/ 146 h 165"/>
                <a:gd name="T12" fmla="*/ 143 w 164"/>
                <a:gd name="T13" fmla="*/ 82 h 165"/>
                <a:gd name="T14" fmla="*/ 82 w 164"/>
                <a:gd name="T15" fmla="*/ 19 h 165"/>
                <a:gd name="T16" fmla="*/ 22 w 164"/>
                <a:gd name="T17" fmla="*/ 82 h 165"/>
                <a:gd name="T18" fmla="*/ 82 w 164"/>
                <a:gd name="T19" fmla="*/ 146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5">
                  <a:moveTo>
                    <a:pt x="82" y="0"/>
                  </a:moveTo>
                  <a:cubicBezTo>
                    <a:pt x="129" y="0"/>
                    <a:pt x="164" y="36"/>
                    <a:pt x="164" y="82"/>
                  </a:cubicBezTo>
                  <a:cubicBezTo>
                    <a:pt x="164" y="129"/>
                    <a:pt x="129" y="165"/>
                    <a:pt x="82" y="165"/>
                  </a:cubicBezTo>
                  <a:cubicBezTo>
                    <a:pt x="36" y="165"/>
                    <a:pt x="0" y="129"/>
                    <a:pt x="0" y="82"/>
                  </a:cubicBezTo>
                  <a:cubicBezTo>
                    <a:pt x="0" y="36"/>
                    <a:pt x="36" y="0"/>
                    <a:pt x="82" y="0"/>
                  </a:cubicBezTo>
                  <a:close/>
                  <a:moveTo>
                    <a:pt x="82" y="146"/>
                  </a:moveTo>
                  <a:cubicBezTo>
                    <a:pt x="117" y="146"/>
                    <a:pt x="143" y="118"/>
                    <a:pt x="143" y="82"/>
                  </a:cubicBezTo>
                  <a:cubicBezTo>
                    <a:pt x="143" y="47"/>
                    <a:pt x="117" y="19"/>
                    <a:pt x="82" y="19"/>
                  </a:cubicBezTo>
                  <a:cubicBezTo>
                    <a:pt x="47" y="19"/>
                    <a:pt x="22" y="47"/>
                    <a:pt x="22" y="82"/>
                  </a:cubicBezTo>
                  <a:cubicBezTo>
                    <a:pt x="22" y="118"/>
                    <a:pt x="47" y="146"/>
                    <a:pt x="82" y="14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3E341B19-7C32-4D70-9632-114537945E2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631382" y="6270414"/>
              <a:ext cx="86119" cy="113253"/>
            </a:xfrm>
            <a:custGeom>
              <a:avLst/>
              <a:gdLst>
                <a:gd name="T0" fmla="*/ 0 w 123"/>
                <a:gd name="T1" fmla="*/ 0 h 161"/>
                <a:gd name="T2" fmla="*/ 43 w 123"/>
                <a:gd name="T3" fmla="*/ 0 h 161"/>
                <a:gd name="T4" fmla="*/ 88 w 123"/>
                <a:gd name="T5" fmla="*/ 8 h 161"/>
                <a:gd name="T6" fmla="*/ 111 w 123"/>
                <a:gd name="T7" fmla="*/ 46 h 161"/>
                <a:gd name="T8" fmla="*/ 90 w 123"/>
                <a:gd name="T9" fmla="*/ 83 h 161"/>
                <a:gd name="T10" fmla="*/ 71 w 123"/>
                <a:gd name="T11" fmla="*/ 90 h 161"/>
                <a:gd name="T12" fmla="*/ 123 w 123"/>
                <a:gd name="T13" fmla="*/ 161 h 161"/>
                <a:gd name="T14" fmla="*/ 97 w 123"/>
                <a:gd name="T15" fmla="*/ 161 h 161"/>
                <a:gd name="T16" fmla="*/ 48 w 123"/>
                <a:gd name="T17" fmla="*/ 92 h 161"/>
                <a:gd name="T18" fmla="*/ 21 w 123"/>
                <a:gd name="T19" fmla="*/ 92 h 161"/>
                <a:gd name="T20" fmla="*/ 21 w 123"/>
                <a:gd name="T21" fmla="*/ 161 h 161"/>
                <a:gd name="T22" fmla="*/ 0 w 123"/>
                <a:gd name="T23" fmla="*/ 161 h 161"/>
                <a:gd name="T24" fmla="*/ 0 w 123"/>
                <a:gd name="T25" fmla="*/ 0 h 161"/>
                <a:gd name="T26" fmla="*/ 48 w 123"/>
                <a:gd name="T27" fmla="*/ 75 h 161"/>
                <a:gd name="T28" fmla="*/ 80 w 123"/>
                <a:gd name="T29" fmla="*/ 67 h 161"/>
                <a:gd name="T30" fmla="*/ 89 w 123"/>
                <a:gd name="T31" fmla="*/ 47 h 161"/>
                <a:gd name="T32" fmla="*/ 76 w 123"/>
                <a:gd name="T33" fmla="*/ 25 h 161"/>
                <a:gd name="T34" fmla="*/ 42 w 123"/>
                <a:gd name="T35" fmla="*/ 19 h 161"/>
                <a:gd name="T36" fmla="*/ 21 w 123"/>
                <a:gd name="T37" fmla="*/ 19 h 161"/>
                <a:gd name="T38" fmla="*/ 21 w 123"/>
                <a:gd name="T39" fmla="*/ 75 h 161"/>
                <a:gd name="T40" fmla="*/ 48 w 123"/>
                <a:gd name="T41" fmla="*/ 75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3" h="161">
                  <a:moveTo>
                    <a:pt x="0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60" y="0"/>
                    <a:pt x="75" y="1"/>
                    <a:pt x="88" y="8"/>
                  </a:cubicBezTo>
                  <a:cubicBezTo>
                    <a:pt x="102" y="15"/>
                    <a:pt x="111" y="28"/>
                    <a:pt x="111" y="46"/>
                  </a:cubicBezTo>
                  <a:cubicBezTo>
                    <a:pt x="111" y="63"/>
                    <a:pt x="102" y="76"/>
                    <a:pt x="90" y="83"/>
                  </a:cubicBezTo>
                  <a:cubicBezTo>
                    <a:pt x="84" y="87"/>
                    <a:pt x="78" y="89"/>
                    <a:pt x="71" y="90"/>
                  </a:cubicBezTo>
                  <a:cubicBezTo>
                    <a:pt x="123" y="161"/>
                    <a:pt x="123" y="161"/>
                    <a:pt x="123" y="161"/>
                  </a:cubicBezTo>
                  <a:cubicBezTo>
                    <a:pt x="97" y="161"/>
                    <a:pt x="97" y="161"/>
                    <a:pt x="97" y="161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0" y="161"/>
                    <a:pt x="0" y="161"/>
                    <a:pt x="0" y="161"/>
                  </a:cubicBezTo>
                  <a:lnTo>
                    <a:pt x="0" y="0"/>
                  </a:lnTo>
                  <a:close/>
                  <a:moveTo>
                    <a:pt x="48" y="75"/>
                  </a:moveTo>
                  <a:cubicBezTo>
                    <a:pt x="63" y="75"/>
                    <a:pt x="73" y="73"/>
                    <a:pt x="80" y="67"/>
                  </a:cubicBezTo>
                  <a:cubicBezTo>
                    <a:pt x="86" y="63"/>
                    <a:pt x="89" y="56"/>
                    <a:pt x="89" y="47"/>
                  </a:cubicBezTo>
                  <a:cubicBezTo>
                    <a:pt x="89" y="37"/>
                    <a:pt x="85" y="29"/>
                    <a:pt x="76" y="25"/>
                  </a:cubicBezTo>
                  <a:cubicBezTo>
                    <a:pt x="68" y="20"/>
                    <a:pt x="57" y="19"/>
                    <a:pt x="42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75"/>
                    <a:pt x="21" y="75"/>
                    <a:pt x="21" y="75"/>
                  </a:cubicBezTo>
                  <a:lnTo>
                    <a:pt x="48" y="7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15">
              <a:extLst>
                <a:ext uri="{FF2B5EF4-FFF2-40B4-BE49-F238E27FC236}">
                  <a16:creationId xmlns:a16="http://schemas.microsoft.com/office/drawing/2014/main" id="{42A3DF8E-CBD0-4160-8CA0-10BD54FA60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44929" y="6270414"/>
              <a:ext cx="86709" cy="113253"/>
            </a:xfrm>
            <a:custGeom>
              <a:avLst/>
              <a:gdLst>
                <a:gd name="T0" fmla="*/ 0 w 294"/>
                <a:gd name="T1" fmla="*/ 0 h 384"/>
                <a:gd name="T2" fmla="*/ 49 w 294"/>
                <a:gd name="T3" fmla="*/ 0 h 384"/>
                <a:gd name="T4" fmla="*/ 49 w 294"/>
                <a:gd name="T5" fmla="*/ 174 h 384"/>
                <a:gd name="T6" fmla="*/ 49 w 294"/>
                <a:gd name="T7" fmla="*/ 174 h 384"/>
                <a:gd name="T8" fmla="*/ 216 w 294"/>
                <a:gd name="T9" fmla="*/ 0 h 384"/>
                <a:gd name="T10" fmla="*/ 280 w 294"/>
                <a:gd name="T11" fmla="*/ 0 h 384"/>
                <a:gd name="T12" fmla="*/ 106 w 294"/>
                <a:gd name="T13" fmla="*/ 179 h 384"/>
                <a:gd name="T14" fmla="*/ 294 w 294"/>
                <a:gd name="T15" fmla="*/ 384 h 384"/>
                <a:gd name="T16" fmla="*/ 227 w 294"/>
                <a:gd name="T17" fmla="*/ 384 h 384"/>
                <a:gd name="T18" fmla="*/ 49 w 294"/>
                <a:gd name="T19" fmla="*/ 186 h 384"/>
                <a:gd name="T20" fmla="*/ 49 w 294"/>
                <a:gd name="T21" fmla="*/ 186 h 384"/>
                <a:gd name="T22" fmla="*/ 49 w 294"/>
                <a:gd name="T23" fmla="*/ 384 h 384"/>
                <a:gd name="T24" fmla="*/ 0 w 294"/>
                <a:gd name="T25" fmla="*/ 384 h 384"/>
                <a:gd name="T26" fmla="*/ 0 w 294"/>
                <a:gd name="T27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384">
                  <a:moveTo>
                    <a:pt x="0" y="0"/>
                  </a:moveTo>
                  <a:lnTo>
                    <a:pt x="49" y="0"/>
                  </a:lnTo>
                  <a:lnTo>
                    <a:pt x="49" y="174"/>
                  </a:lnTo>
                  <a:lnTo>
                    <a:pt x="49" y="174"/>
                  </a:lnTo>
                  <a:lnTo>
                    <a:pt x="216" y="0"/>
                  </a:lnTo>
                  <a:lnTo>
                    <a:pt x="280" y="0"/>
                  </a:lnTo>
                  <a:lnTo>
                    <a:pt x="106" y="179"/>
                  </a:lnTo>
                  <a:lnTo>
                    <a:pt x="294" y="384"/>
                  </a:lnTo>
                  <a:lnTo>
                    <a:pt x="227" y="384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384"/>
                  </a:lnTo>
                  <a:lnTo>
                    <a:pt x="0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16">
              <a:extLst>
                <a:ext uri="{FF2B5EF4-FFF2-40B4-BE49-F238E27FC236}">
                  <a16:creationId xmlns:a16="http://schemas.microsoft.com/office/drawing/2014/main" id="{A60C034D-DF67-477E-9F05-077DAEC6E2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67106" y="6424367"/>
              <a:ext cx="66359" cy="112958"/>
            </a:xfrm>
            <a:custGeom>
              <a:avLst/>
              <a:gdLst>
                <a:gd name="T0" fmla="*/ 0 w 225"/>
                <a:gd name="T1" fmla="*/ 0 h 383"/>
                <a:gd name="T2" fmla="*/ 225 w 225"/>
                <a:gd name="T3" fmla="*/ 0 h 383"/>
                <a:gd name="T4" fmla="*/ 225 w 225"/>
                <a:gd name="T5" fmla="*/ 45 h 383"/>
                <a:gd name="T6" fmla="*/ 49 w 225"/>
                <a:gd name="T7" fmla="*/ 45 h 383"/>
                <a:gd name="T8" fmla="*/ 49 w 225"/>
                <a:gd name="T9" fmla="*/ 169 h 383"/>
                <a:gd name="T10" fmla="*/ 204 w 225"/>
                <a:gd name="T11" fmla="*/ 169 h 383"/>
                <a:gd name="T12" fmla="*/ 204 w 225"/>
                <a:gd name="T13" fmla="*/ 214 h 383"/>
                <a:gd name="T14" fmla="*/ 49 w 225"/>
                <a:gd name="T15" fmla="*/ 214 h 383"/>
                <a:gd name="T16" fmla="*/ 49 w 225"/>
                <a:gd name="T17" fmla="*/ 383 h 383"/>
                <a:gd name="T18" fmla="*/ 0 w 225"/>
                <a:gd name="T19" fmla="*/ 383 h 383"/>
                <a:gd name="T20" fmla="*/ 0 w 225"/>
                <a:gd name="T21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5" h="383">
                  <a:moveTo>
                    <a:pt x="0" y="0"/>
                  </a:moveTo>
                  <a:lnTo>
                    <a:pt x="225" y="0"/>
                  </a:lnTo>
                  <a:lnTo>
                    <a:pt x="225" y="45"/>
                  </a:lnTo>
                  <a:lnTo>
                    <a:pt x="49" y="45"/>
                  </a:lnTo>
                  <a:lnTo>
                    <a:pt x="49" y="169"/>
                  </a:lnTo>
                  <a:lnTo>
                    <a:pt x="204" y="169"/>
                  </a:lnTo>
                  <a:lnTo>
                    <a:pt x="204" y="214"/>
                  </a:lnTo>
                  <a:lnTo>
                    <a:pt x="49" y="214"/>
                  </a:lnTo>
                  <a:lnTo>
                    <a:pt x="49" y="383"/>
                  </a:lnTo>
                  <a:lnTo>
                    <a:pt x="0" y="3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Rectangle 17">
              <a:extLst>
                <a:ext uri="{FF2B5EF4-FFF2-40B4-BE49-F238E27FC236}">
                  <a16:creationId xmlns:a16="http://schemas.microsoft.com/office/drawing/2014/main" id="{D61A07B3-BEDD-45ED-889D-F939DCA5D70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565023" y="6424367"/>
              <a:ext cx="14746" cy="11295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18">
              <a:extLst>
                <a:ext uri="{FF2B5EF4-FFF2-40B4-BE49-F238E27FC236}">
                  <a16:creationId xmlns:a16="http://schemas.microsoft.com/office/drawing/2014/main" id="{BB0A61BA-4742-4090-A0CE-F9A6537B11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15455" y="6424367"/>
              <a:ext cx="67834" cy="112958"/>
            </a:xfrm>
            <a:custGeom>
              <a:avLst/>
              <a:gdLst>
                <a:gd name="T0" fmla="*/ 0 w 230"/>
                <a:gd name="T1" fmla="*/ 0 h 383"/>
                <a:gd name="T2" fmla="*/ 49 w 230"/>
                <a:gd name="T3" fmla="*/ 0 h 383"/>
                <a:gd name="T4" fmla="*/ 49 w 230"/>
                <a:gd name="T5" fmla="*/ 338 h 383"/>
                <a:gd name="T6" fmla="*/ 230 w 230"/>
                <a:gd name="T7" fmla="*/ 338 h 383"/>
                <a:gd name="T8" fmla="*/ 230 w 230"/>
                <a:gd name="T9" fmla="*/ 383 h 383"/>
                <a:gd name="T10" fmla="*/ 0 w 230"/>
                <a:gd name="T11" fmla="*/ 383 h 383"/>
                <a:gd name="T12" fmla="*/ 0 w 230"/>
                <a:gd name="T13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0" h="383">
                  <a:moveTo>
                    <a:pt x="0" y="0"/>
                  </a:moveTo>
                  <a:lnTo>
                    <a:pt x="49" y="0"/>
                  </a:lnTo>
                  <a:lnTo>
                    <a:pt x="49" y="338"/>
                  </a:lnTo>
                  <a:lnTo>
                    <a:pt x="230" y="338"/>
                  </a:lnTo>
                  <a:lnTo>
                    <a:pt x="230" y="383"/>
                  </a:lnTo>
                  <a:lnTo>
                    <a:pt x="0" y="3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19">
              <a:extLst>
                <a:ext uri="{FF2B5EF4-FFF2-40B4-BE49-F238E27FC236}">
                  <a16:creationId xmlns:a16="http://schemas.microsoft.com/office/drawing/2014/main" id="{DC4A937F-B0EC-41AA-B2F9-149C9CDB35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08358" y="6424367"/>
              <a:ext cx="108534" cy="112958"/>
            </a:xfrm>
            <a:custGeom>
              <a:avLst/>
              <a:gdLst>
                <a:gd name="T0" fmla="*/ 42 w 155"/>
                <a:gd name="T1" fmla="*/ 67 h 161"/>
                <a:gd name="T2" fmla="*/ 20 w 155"/>
                <a:gd name="T3" fmla="*/ 35 h 161"/>
                <a:gd name="T4" fmla="*/ 20 w 155"/>
                <a:gd name="T5" fmla="*/ 36 h 161"/>
                <a:gd name="T6" fmla="*/ 20 w 155"/>
                <a:gd name="T7" fmla="*/ 71 h 161"/>
                <a:gd name="T8" fmla="*/ 20 w 155"/>
                <a:gd name="T9" fmla="*/ 161 h 161"/>
                <a:gd name="T10" fmla="*/ 0 w 155"/>
                <a:gd name="T11" fmla="*/ 161 h 161"/>
                <a:gd name="T12" fmla="*/ 0 w 155"/>
                <a:gd name="T13" fmla="*/ 0 h 161"/>
                <a:gd name="T14" fmla="*/ 20 w 155"/>
                <a:gd name="T15" fmla="*/ 0 h 161"/>
                <a:gd name="T16" fmla="*/ 78 w 155"/>
                <a:gd name="T17" fmla="*/ 82 h 161"/>
                <a:gd name="T18" fmla="*/ 135 w 155"/>
                <a:gd name="T19" fmla="*/ 0 h 161"/>
                <a:gd name="T20" fmla="*/ 155 w 155"/>
                <a:gd name="T21" fmla="*/ 0 h 161"/>
                <a:gd name="T22" fmla="*/ 155 w 155"/>
                <a:gd name="T23" fmla="*/ 161 h 161"/>
                <a:gd name="T24" fmla="*/ 134 w 155"/>
                <a:gd name="T25" fmla="*/ 161 h 161"/>
                <a:gd name="T26" fmla="*/ 134 w 155"/>
                <a:gd name="T27" fmla="*/ 71 h 161"/>
                <a:gd name="T28" fmla="*/ 134 w 155"/>
                <a:gd name="T29" fmla="*/ 36 h 161"/>
                <a:gd name="T30" fmla="*/ 134 w 155"/>
                <a:gd name="T31" fmla="*/ 35 h 161"/>
                <a:gd name="T32" fmla="*/ 112 w 155"/>
                <a:gd name="T33" fmla="*/ 67 h 161"/>
                <a:gd name="T34" fmla="*/ 77 w 155"/>
                <a:gd name="T35" fmla="*/ 117 h 161"/>
                <a:gd name="T36" fmla="*/ 42 w 155"/>
                <a:gd name="T37" fmla="*/ 6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61">
                  <a:moveTo>
                    <a:pt x="42" y="67"/>
                  </a:moveTo>
                  <a:cubicBezTo>
                    <a:pt x="35" y="57"/>
                    <a:pt x="28" y="46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45"/>
                    <a:pt x="20" y="57"/>
                    <a:pt x="20" y="71"/>
                  </a:cubicBezTo>
                  <a:cubicBezTo>
                    <a:pt x="20" y="161"/>
                    <a:pt x="20" y="161"/>
                    <a:pt x="2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5" y="161"/>
                    <a:pt x="155" y="161"/>
                    <a:pt x="155" y="161"/>
                  </a:cubicBezTo>
                  <a:cubicBezTo>
                    <a:pt x="134" y="161"/>
                    <a:pt x="134" y="161"/>
                    <a:pt x="134" y="161"/>
                  </a:cubicBezTo>
                  <a:cubicBezTo>
                    <a:pt x="134" y="71"/>
                    <a:pt x="134" y="71"/>
                    <a:pt x="134" y="71"/>
                  </a:cubicBezTo>
                  <a:cubicBezTo>
                    <a:pt x="134" y="57"/>
                    <a:pt x="134" y="45"/>
                    <a:pt x="134" y="36"/>
                  </a:cubicBezTo>
                  <a:cubicBezTo>
                    <a:pt x="134" y="35"/>
                    <a:pt x="134" y="35"/>
                    <a:pt x="134" y="35"/>
                  </a:cubicBezTo>
                  <a:cubicBezTo>
                    <a:pt x="127" y="46"/>
                    <a:pt x="120" y="57"/>
                    <a:pt x="112" y="67"/>
                  </a:cubicBezTo>
                  <a:cubicBezTo>
                    <a:pt x="77" y="117"/>
                    <a:pt x="77" y="117"/>
                    <a:pt x="77" y="117"/>
                  </a:cubicBezTo>
                  <a:lnTo>
                    <a:pt x="42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20">
              <a:extLst>
                <a:ext uri="{FF2B5EF4-FFF2-40B4-BE49-F238E27FC236}">
                  <a16:creationId xmlns:a16="http://schemas.microsoft.com/office/drawing/2014/main" id="{EACB37AB-5CE8-42A6-AC6B-0D64CC6B82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9018" y="6115872"/>
              <a:ext cx="510226" cy="421453"/>
            </a:xfrm>
            <a:custGeom>
              <a:avLst/>
              <a:gdLst>
                <a:gd name="T0" fmla="*/ 318 w 1730"/>
                <a:gd name="T1" fmla="*/ 1429 h 1429"/>
                <a:gd name="T2" fmla="*/ 0 w 1730"/>
                <a:gd name="T3" fmla="*/ 1429 h 1429"/>
                <a:gd name="T4" fmla="*/ 721 w 1730"/>
                <a:gd name="T5" fmla="*/ 0 h 1429"/>
                <a:gd name="T6" fmla="*/ 1008 w 1730"/>
                <a:gd name="T7" fmla="*/ 0 h 1429"/>
                <a:gd name="T8" fmla="*/ 1730 w 1730"/>
                <a:gd name="T9" fmla="*/ 1429 h 1429"/>
                <a:gd name="T10" fmla="*/ 1404 w 1730"/>
                <a:gd name="T11" fmla="*/ 1429 h 1429"/>
                <a:gd name="T12" fmla="*/ 861 w 1730"/>
                <a:gd name="T13" fmla="*/ 376 h 1429"/>
                <a:gd name="T14" fmla="*/ 318 w 1730"/>
                <a:gd name="T15" fmla="*/ 1429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0" h="1429">
                  <a:moveTo>
                    <a:pt x="318" y="1429"/>
                  </a:moveTo>
                  <a:lnTo>
                    <a:pt x="0" y="1429"/>
                  </a:lnTo>
                  <a:lnTo>
                    <a:pt x="721" y="0"/>
                  </a:lnTo>
                  <a:lnTo>
                    <a:pt x="1008" y="0"/>
                  </a:lnTo>
                  <a:lnTo>
                    <a:pt x="1730" y="1429"/>
                  </a:lnTo>
                  <a:lnTo>
                    <a:pt x="1404" y="1429"/>
                  </a:lnTo>
                  <a:lnTo>
                    <a:pt x="861" y="376"/>
                  </a:lnTo>
                  <a:lnTo>
                    <a:pt x="318" y="14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21">
              <a:extLst>
                <a:ext uri="{FF2B5EF4-FFF2-40B4-BE49-F238E27FC236}">
                  <a16:creationId xmlns:a16="http://schemas.microsoft.com/office/drawing/2014/main" id="{C8583E7B-E3FF-45F1-B456-440DDD8928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82949" y="6118821"/>
              <a:ext cx="353914" cy="418504"/>
            </a:xfrm>
            <a:custGeom>
              <a:avLst/>
              <a:gdLst>
                <a:gd name="T0" fmla="*/ 0 w 506"/>
                <a:gd name="T1" fmla="*/ 596 h 596"/>
                <a:gd name="T2" fmla="*/ 74 w 506"/>
                <a:gd name="T3" fmla="*/ 596 h 596"/>
                <a:gd name="T4" fmla="*/ 127 w 506"/>
                <a:gd name="T5" fmla="*/ 596 h 596"/>
                <a:gd name="T6" fmla="*/ 283 w 506"/>
                <a:gd name="T7" fmla="*/ 596 h 596"/>
                <a:gd name="T8" fmla="*/ 506 w 506"/>
                <a:gd name="T9" fmla="*/ 433 h 596"/>
                <a:gd name="T10" fmla="*/ 395 w 506"/>
                <a:gd name="T11" fmla="*/ 285 h 596"/>
                <a:gd name="T12" fmla="*/ 473 w 506"/>
                <a:gd name="T13" fmla="*/ 156 h 596"/>
                <a:gd name="T14" fmla="*/ 432 w 506"/>
                <a:gd name="T15" fmla="*/ 53 h 596"/>
                <a:gd name="T16" fmla="*/ 276 w 506"/>
                <a:gd name="T17" fmla="*/ 0 h 596"/>
                <a:gd name="T18" fmla="*/ 0 w 506"/>
                <a:gd name="T19" fmla="*/ 0 h 596"/>
                <a:gd name="T20" fmla="*/ 0 w 506"/>
                <a:gd name="T21" fmla="*/ 115 h 596"/>
                <a:gd name="T22" fmla="*/ 257 w 506"/>
                <a:gd name="T23" fmla="*/ 115 h 596"/>
                <a:gd name="T24" fmla="*/ 343 w 506"/>
                <a:gd name="T25" fmla="*/ 177 h 596"/>
                <a:gd name="T26" fmla="*/ 248 w 506"/>
                <a:gd name="T27" fmla="*/ 241 h 596"/>
                <a:gd name="T28" fmla="*/ 0 w 506"/>
                <a:gd name="T29" fmla="*/ 241 h 596"/>
                <a:gd name="T30" fmla="*/ 0 w 506"/>
                <a:gd name="T31" fmla="*/ 596 h 596"/>
                <a:gd name="T32" fmla="*/ 283 w 506"/>
                <a:gd name="T33" fmla="*/ 481 h 596"/>
                <a:gd name="T34" fmla="*/ 127 w 506"/>
                <a:gd name="T35" fmla="*/ 481 h 596"/>
                <a:gd name="T36" fmla="*/ 127 w 506"/>
                <a:gd name="T37" fmla="*/ 350 h 596"/>
                <a:gd name="T38" fmla="*/ 279 w 506"/>
                <a:gd name="T39" fmla="*/ 350 h 596"/>
                <a:gd name="T40" fmla="*/ 376 w 506"/>
                <a:gd name="T41" fmla="*/ 415 h 596"/>
                <a:gd name="T42" fmla="*/ 283 w 506"/>
                <a:gd name="T43" fmla="*/ 481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06" h="596">
                  <a:moveTo>
                    <a:pt x="0" y="596"/>
                  </a:moveTo>
                  <a:cubicBezTo>
                    <a:pt x="74" y="596"/>
                    <a:pt x="74" y="596"/>
                    <a:pt x="74" y="596"/>
                  </a:cubicBezTo>
                  <a:cubicBezTo>
                    <a:pt x="127" y="596"/>
                    <a:pt x="127" y="596"/>
                    <a:pt x="127" y="596"/>
                  </a:cubicBezTo>
                  <a:cubicBezTo>
                    <a:pt x="283" y="596"/>
                    <a:pt x="283" y="596"/>
                    <a:pt x="283" y="596"/>
                  </a:cubicBezTo>
                  <a:cubicBezTo>
                    <a:pt x="418" y="596"/>
                    <a:pt x="506" y="542"/>
                    <a:pt x="506" y="433"/>
                  </a:cubicBezTo>
                  <a:cubicBezTo>
                    <a:pt x="506" y="351"/>
                    <a:pt x="464" y="311"/>
                    <a:pt x="395" y="285"/>
                  </a:cubicBezTo>
                  <a:cubicBezTo>
                    <a:pt x="437" y="261"/>
                    <a:pt x="473" y="223"/>
                    <a:pt x="473" y="156"/>
                  </a:cubicBezTo>
                  <a:cubicBezTo>
                    <a:pt x="473" y="114"/>
                    <a:pt x="459" y="80"/>
                    <a:pt x="432" y="53"/>
                  </a:cubicBezTo>
                  <a:cubicBezTo>
                    <a:pt x="398" y="19"/>
                    <a:pt x="344" y="0"/>
                    <a:pt x="27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257" y="115"/>
                    <a:pt x="257" y="115"/>
                    <a:pt x="257" y="115"/>
                  </a:cubicBezTo>
                  <a:cubicBezTo>
                    <a:pt x="312" y="115"/>
                    <a:pt x="343" y="137"/>
                    <a:pt x="343" y="177"/>
                  </a:cubicBezTo>
                  <a:cubicBezTo>
                    <a:pt x="343" y="222"/>
                    <a:pt x="306" y="241"/>
                    <a:pt x="248" y="241"/>
                  </a:cubicBezTo>
                  <a:cubicBezTo>
                    <a:pt x="0" y="241"/>
                    <a:pt x="0" y="241"/>
                    <a:pt x="0" y="241"/>
                  </a:cubicBezTo>
                  <a:lnTo>
                    <a:pt x="0" y="596"/>
                  </a:lnTo>
                  <a:close/>
                  <a:moveTo>
                    <a:pt x="283" y="481"/>
                  </a:moveTo>
                  <a:cubicBezTo>
                    <a:pt x="127" y="481"/>
                    <a:pt x="127" y="481"/>
                    <a:pt x="127" y="481"/>
                  </a:cubicBezTo>
                  <a:cubicBezTo>
                    <a:pt x="127" y="350"/>
                    <a:pt x="127" y="350"/>
                    <a:pt x="127" y="350"/>
                  </a:cubicBezTo>
                  <a:cubicBezTo>
                    <a:pt x="279" y="350"/>
                    <a:pt x="279" y="350"/>
                    <a:pt x="279" y="350"/>
                  </a:cubicBezTo>
                  <a:cubicBezTo>
                    <a:pt x="346" y="350"/>
                    <a:pt x="376" y="375"/>
                    <a:pt x="376" y="415"/>
                  </a:cubicBezTo>
                  <a:cubicBezTo>
                    <a:pt x="376" y="461"/>
                    <a:pt x="341" y="481"/>
                    <a:pt x="283" y="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979844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bleed Foto mi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11817AE-51ED-41E3-A690-ED26CAEA9D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6658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11817AE-51ED-41E3-A690-ED26CAEA9D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EC5787D-011E-416D-94DD-7B499E6E75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A194230-98A5-4312-912D-7CAE3A9610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3031" y="210212"/>
            <a:ext cx="8619432" cy="43088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2307CE5-3111-4F33-9B73-B1BB9378A1E2}"/>
              </a:ext>
            </a:extLst>
          </p:cNvPr>
          <p:cNvGrpSpPr/>
          <p:nvPr userDrawn="1"/>
        </p:nvGrpSpPr>
        <p:grpSpPr>
          <a:xfrm>
            <a:off x="9809018" y="6114397"/>
            <a:ext cx="2022620" cy="422928"/>
            <a:chOff x="9809018" y="6114397"/>
            <a:chExt cx="2022620" cy="422928"/>
          </a:xfrm>
        </p:grpSpPr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A19C93D7-A3B2-4A58-ADC6-361B14180E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66356" y="6115872"/>
              <a:ext cx="510226" cy="421453"/>
            </a:xfrm>
            <a:custGeom>
              <a:avLst/>
              <a:gdLst>
                <a:gd name="T0" fmla="*/ 318 w 1730"/>
                <a:gd name="T1" fmla="*/ 1429 h 1429"/>
                <a:gd name="T2" fmla="*/ 0 w 1730"/>
                <a:gd name="T3" fmla="*/ 1429 h 1429"/>
                <a:gd name="T4" fmla="*/ 721 w 1730"/>
                <a:gd name="T5" fmla="*/ 0 h 1429"/>
                <a:gd name="T6" fmla="*/ 1009 w 1730"/>
                <a:gd name="T7" fmla="*/ 0 h 1429"/>
                <a:gd name="T8" fmla="*/ 1730 w 1730"/>
                <a:gd name="T9" fmla="*/ 1429 h 1429"/>
                <a:gd name="T10" fmla="*/ 1405 w 1730"/>
                <a:gd name="T11" fmla="*/ 1429 h 1429"/>
                <a:gd name="T12" fmla="*/ 861 w 1730"/>
                <a:gd name="T13" fmla="*/ 376 h 1429"/>
                <a:gd name="T14" fmla="*/ 318 w 1730"/>
                <a:gd name="T15" fmla="*/ 1429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0" h="1429">
                  <a:moveTo>
                    <a:pt x="318" y="1429"/>
                  </a:moveTo>
                  <a:lnTo>
                    <a:pt x="0" y="1429"/>
                  </a:lnTo>
                  <a:lnTo>
                    <a:pt x="721" y="0"/>
                  </a:lnTo>
                  <a:lnTo>
                    <a:pt x="1009" y="0"/>
                  </a:lnTo>
                  <a:lnTo>
                    <a:pt x="1730" y="1429"/>
                  </a:lnTo>
                  <a:lnTo>
                    <a:pt x="1405" y="1429"/>
                  </a:lnTo>
                  <a:lnTo>
                    <a:pt x="861" y="376"/>
                  </a:lnTo>
                  <a:lnTo>
                    <a:pt x="318" y="14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Rectangle 6">
              <a:extLst>
                <a:ext uri="{FF2B5EF4-FFF2-40B4-BE49-F238E27FC236}">
                  <a16:creationId xmlns:a16="http://schemas.microsoft.com/office/drawing/2014/main" id="{0311B544-3A45-47CF-AE14-8332D96A08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273043" y="6115872"/>
              <a:ext cx="14746" cy="11325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F0DA2BA0-C45F-483F-8296-E08A5563FB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0822" y="6115872"/>
              <a:ext cx="94967" cy="113253"/>
            </a:xfrm>
            <a:custGeom>
              <a:avLst/>
              <a:gdLst>
                <a:gd name="T0" fmla="*/ 0 w 136"/>
                <a:gd name="T1" fmla="*/ 161 h 161"/>
                <a:gd name="T2" fmla="*/ 0 w 136"/>
                <a:gd name="T3" fmla="*/ 0 h 161"/>
                <a:gd name="T4" fmla="*/ 20 w 136"/>
                <a:gd name="T5" fmla="*/ 0 h 161"/>
                <a:gd name="T6" fmla="*/ 88 w 136"/>
                <a:gd name="T7" fmla="*/ 90 h 161"/>
                <a:gd name="T8" fmla="*/ 116 w 136"/>
                <a:gd name="T9" fmla="*/ 127 h 161"/>
                <a:gd name="T10" fmla="*/ 116 w 136"/>
                <a:gd name="T11" fmla="*/ 127 h 161"/>
                <a:gd name="T12" fmla="*/ 116 w 136"/>
                <a:gd name="T13" fmla="*/ 81 h 161"/>
                <a:gd name="T14" fmla="*/ 116 w 136"/>
                <a:gd name="T15" fmla="*/ 0 h 161"/>
                <a:gd name="T16" fmla="*/ 136 w 136"/>
                <a:gd name="T17" fmla="*/ 0 h 161"/>
                <a:gd name="T18" fmla="*/ 136 w 136"/>
                <a:gd name="T19" fmla="*/ 161 h 161"/>
                <a:gd name="T20" fmla="*/ 116 w 136"/>
                <a:gd name="T21" fmla="*/ 161 h 161"/>
                <a:gd name="T22" fmla="*/ 49 w 136"/>
                <a:gd name="T23" fmla="*/ 72 h 161"/>
                <a:gd name="T24" fmla="*/ 21 w 136"/>
                <a:gd name="T25" fmla="*/ 34 h 161"/>
                <a:gd name="T26" fmla="*/ 20 w 136"/>
                <a:gd name="T27" fmla="*/ 34 h 161"/>
                <a:gd name="T28" fmla="*/ 21 w 136"/>
                <a:gd name="T29" fmla="*/ 80 h 161"/>
                <a:gd name="T30" fmla="*/ 21 w 136"/>
                <a:gd name="T31" fmla="*/ 161 h 161"/>
                <a:gd name="T32" fmla="*/ 0 w 136"/>
                <a:gd name="T33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61">
                  <a:moveTo>
                    <a:pt x="0" y="16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88" y="90"/>
                    <a:pt x="88" y="90"/>
                    <a:pt x="88" y="90"/>
                  </a:cubicBezTo>
                  <a:cubicBezTo>
                    <a:pt x="97" y="102"/>
                    <a:pt x="106" y="114"/>
                    <a:pt x="116" y="127"/>
                  </a:cubicBezTo>
                  <a:cubicBezTo>
                    <a:pt x="116" y="127"/>
                    <a:pt x="116" y="127"/>
                    <a:pt x="116" y="127"/>
                  </a:cubicBezTo>
                  <a:cubicBezTo>
                    <a:pt x="116" y="113"/>
                    <a:pt x="116" y="97"/>
                    <a:pt x="116" y="81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161"/>
                    <a:pt x="136" y="161"/>
                    <a:pt x="136" y="161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39" y="60"/>
                    <a:pt x="30" y="47"/>
                    <a:pt x="21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1" y="48"/>
                    <a:pt x="21" y="65"/>
                    <a:pt x="21" y="80"/>
                  </a:cubicBezTo>
                  <a:cubicBezTo>
                    <a:pt x="21" y="161"/>
                    <a:pt x="21" y="161"/>
                    <a:pt x="21" y="161"/>
                  </a:cubicBezTo>
                  <a:lnTo>
                    <a:pt x="0" y="16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8">
              <a:extLst>
                <a:ext uri="{FF2B5EF4-FFF2-40B4-BE49-F238E27FC236}">
                  <a16:creationId xmlns:a16="http://schemas.microsoft.com/office/drawing/2014/main" id="{B29DA787-CDC4-4596-AF5F-8BBA263EFD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6729" y="6115872"/>
              <a:ext cx="101750" cy="113253"/>
            </a:xfrm>
            <a:custGeom>
              <a:avLst/>
              <a:gdLst>
                <a:gd name="T0" fmla="*/ 0 w 145"/>
                <a:gd name="T1" fmla="*/ 0 h 161"/>
                <a:gd name="T2" fmla="*/ 23 w 145"/>
                <a:gd name="T3" fmla="*/ 0 h 161"/>
                <a:gd name="T4" fmla="*/ 57 w 145"/>
                <a:gd name="T5" fmla="*/ 90 h 161"/>
                <a:gd name="T6" fmla="*/ 73 w 145"/>
                <a:gd name="T7" fmla="*/ 133 h 161"/>
                <a:gd name="T8" fmla="*/ 73 w 145"/>
                <a:gd name="T9" fmla="*/ 133 h 161"/>
                <a:gd name="T10" fmla="*/ 89 w 145"/>
                <a:gd name="T11" fmla="*/ 90 h 161"/>
                <a:gd name="T12" fmla="*/ 124 w 145"/>
                <a:gd name="T13" fmla="*/ 0 h 161"/>
                <a:gd name="T14" fmla="*/ 145 w 145"/>
                <a:gd name="T15" fmla="*/ 0 h 161"/>
                <a:gd name="T16" fmla="*/ 84 w 145"/>
                <a:gd name="T17" fmla="*/ 161 h 161"/>
                <a:gd name="T18" fmla="*/ 62 w 145"/>
                <a:gd name="T19" fmla="*/ 161 h 161"/>
                <a:gd name="T20" fmla="*/ 0 w 145"/>
                <a:gd name="T21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5" h="161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62" y="104"/>
                    <a:pt x="67" y="118"/>
                    <a:pt x="73" y="133"/>
                  </a:cubicBezTo>
                  <a:cubicBezTo>
                    <a:pt x="73" y="133"/>
                    <a:pt x="73" y="133"/>
                    <a:pt x="73" y="133"/>
                  </a:cubicBezTo>
                  <a:cubicBezTo>
                    <a:pt x="79" y="118"/>
                    <a:pt x="84" y="104"/>
                    <a:pt x="89" y="9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84" y="161"/>
                    <a:pt x="84" y="161"/>
                    <a:pt x="84" y="161"/>
                  </a:cubicBezTo>
                  <a:cubicBezTo>
                    <a:pt x="62" y="161"/>
                    <a:pt x="62" y="161"/>
                    <a:pt x="62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9">
              <a:extLst>
                <a:ext uri="{FF2B5EF4-FFF2-40B4-BE49-F238E27FC236}">
                  <a16:creationId xmlns:a16="http://schemas.microsoft.com/office/drawing/2014/main" id="{07CBA41F-92FA-460F-9E54-5291BB0ADB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60009" y="6115872"/>
              <a:ext cx="66654" cy="113253"/>
            </a:xfrm>
            <a:custGeom>
              <a:avLst/>
              <a:gdLst>
                <a:gd name="T0" fmla="*/ 0 w 226"/>
                <a:gd name="T1" fmla="*/ 0 h 384"/>
                <a:gd name="T2" fmla="*/ 221 w 226"/>
                <a:gd name="T3" fmla="*/ 0 h 384"/>
                <a:gd name="T4" fmla="*/ 221 w 226"/>
                <a:gd name="T5" fmla="*/ 45 h 384"/>
                <a:gd name="T6" fmla="*/ 50 w 226"/>
                <a:gd name="T7" fmla="*/ 45 h 384"/>
                <a:gd name="T8" fmla="*/ 50 w 226"/>
                <a:gd name="T9" fmla="*/ 162 h 384"/>
                <a:gd name="T10" fmla="*/ 199 w 226"/>
                <a:gd name="T11" fmla="*/ 162 h 384"/>
                <a:gd name="T12" fmla="*/ 199 w 226"/>
                <a:gd name="T13" fmla="*/ 207 h 384"/>
                <a:gd name="T14" fmla="*/ 50 w 226"/>
                <a:gd name="T15" fmla="*/ 207 h 384"/>
                <a:gd name="T16" fmla="*/ 50 w 226"/>
                <a:gd name="T17" fmla="*/ 338 h 384"/>
                <a:gd name="T18" fmla="*/ 226 w 226"/>
                <a:gd name="T19" fmla="*/ 338 h 384"/>
                <a:gd name="T20" fmla="*/ 226 w 226"/>
                <a:gd name="T21" fmla="*/ 384 h 384"/>
                <a:gd name="T22" fmla="*/ 0 w 226"/>
                <a:gd name="T23" fmla="*/ 384 h 384"/>
                <a:gd name="T24" fmla="*/ 0 w 226"/>
                <a:gd name="T25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" h="384">
                  <a:moveTo>
                    <a:pt x="0" y="0"/>
                  </a:moveTo>
                  <a:lnTo>
                    <a:pt x="221" y="0"/>
                  </a:lnTo>
                  <a:lnTo>
                    <a:pt x="221" y="45"/>
                  </a:lnTo>
                  <a:lnTo>
                    <a:pt x="50" y="45"/>
                  </a:lnTo>
                  <a:lnTo>
                    <a:pt x="50" y="162"/>
                  </a:lnTo>
                  <a:lnTo>
                    <a:pt x="199" y="162"/>
                  </a:lnTo>
                  <a:lnTo>
                    <a:pt x="199" y="207"/>
                  </a:lnTo>
                  <a:lnTo>
                    <a:pt x="50" y="207"/>
                  </a:lnTo>
                  <a:lnTo>
                    <a:pt x="50" y="338"/>
                  </a:lnTo>
                  <a:lnTo>
                    <a:pt x="226" y="338"/>
                  </a:lnTo>
                  <a:lnTo>
                    <a:pt x="226" y="384"/>
                  </a:lnTo>
                  <a:lnTo>
                    <a:pt x="0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9C358B1D-0025-4177-85A1-8ACA858466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50257" y="6114397"/>
              <a:ext cx="74322" cy="116792"/>
            </a:xfrm>
            <a:custGeom>
              <a:avLst/>
              <a:gdLst>
                <a:gd name="T0" fmla="*/ 4 w 106"/>
                <a:gd name="T1" fmla="*/ 130 h 166"/>
                <a:gd name="T2" fmla="*/ 52 w 106"/>
                <a:gd name="T3" fmla="*/ 146 h 166"/>
                <a:gd name="T4" fmla="*/ 85 w 106"/>
                <a:gd name="T5" fmla="*/ 120 h 166"/>
                <a:gd name="T6" fmla="*/ 45 w 106"/>
                <a:gd name="T7" fmla="*/ 90 h 166"/>
                <a:gd name="T8" fmla="*/ 0 w 106"/>
                <a:gd name="T9" fmla="*/ 45 h 166"/>
                <a:gd name="T10" fmla="*/ 52 w 106"/>
                <a:gd name="T11" fmla="*/ 0 h 166"/>
                <a:gd name="T12" fmla="*/ 99 w 106"/>
                <a:gd name="T13" fmla="*/ 12 h 166"/>
                <a:gd name="T14" fmla="*/ 99 w 106"/>
                <a:gd name="T15" fmla="*/ 34 h 166"/>
                <a:gd name="T16" fmla="*/ 52 w 106"/>
                <a:gd name="T17" fmla="*/ 19 h 166"/>
                <a:gd name="T18" fmla="*/ 21 w 106"/>
                <a:gd name="T19" fmla="*/ 43 h 166"/>
                <a:gd name="T20" fmla="*/ 59 w 106"/>
                <a:gd name="T21" fmla="*/ 72 h 166"/>
                <a:gd name="T22" fmla="*/ 106 w 106"/>
                <a:gd name="T23" fmla="*/ 119 h 166"/>
                <a:gd name="T24" fmla="*/ 52 w 106"/>
                <a:gd name="T25" fmla="*/ 166 h 166"/>
                <a:gd name="T26" fmla="*/ 4 w 106"/>
                <a:gd name="T27" fmla="*/ 153 h 166"/>
                <a:gd name="T28" fmla="*/ 4 w 106"/>
                <a:gd name="T29" fmla="*/ 13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6" h="166">
                  <a:moveTo>
                    <a:pt x="4" y="130"/>
                  </a:moveTo>
                  <a:cubicBezTo>
                    <a:pt x="19" y="141"/>
                    <a:pt x="38" y="146"/>
                    <a:pt x="52" y="146"/>
                  </a:cubicBezTo>
                  <a:cubicBezTo>
                    <a:pt x="71" y="146"/>
                    <a:pt x="85" y="138"/>
                    <a:pt x="85" y="120"/>
                  </a:cubicBezTo>
                  <a:cubicBezTo>
                    <a:pt x="85" y="99"/>
                    <a:pt x="66" y="96"/>
                    <a:pt x="45" y="90"/>
                  </a:cubicBezTo>
                  <a:cubicBezTo>
                    <a:pt x="22" y="83"/>
                    <a:pt x="0" y="74"/>
                    <a:pt x="0" y="45"/>
                  </a:cubicBezTo>
                  <a:cubicBezTo>
                    <a:pt x="0" y="16"/>
                    <a:pt x="21" y="0"/>
                    <a:pt x="52" y="0"/>
                  </a:cubicBezTo>
                  <a:cubicBezTo>
                    <a:pt x="67" y="0"/>
                    <a:pt x="86" y="4"/>
                    <a:pt x="99" y="12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84" y="24"/>
                    <a:pt x="66" y="19"/>
                    <a:pt x="52" y="19"/>
                  </a:cubicBezTo>
                  <a:cubicBezTo>
                    <a:pt x="34" y="19"/>
                    <a:pt x="21" y="27"/>
                    <a:pt x="21" y="43"/>
                  </a:cubicBezTo>
                  <a:cubicBezTo>
                    <a:pt x="21" y="63"/>
                    <a:pt x="40" y="67"/>
                    <a:pt x="59" y="72"/>
                  </a:cubicBezTo>
                  <a:cubicBezTo>
                    <a:pt x="83" y="79"/>
                    <a:pt x="106" y="88"/>
                    <a:pt x="106" y="119"/>
                  </a:cubicBezTo>
                  <a:cubicBezTo>
                    <a:pt x="106" y="148"/>
                    <a:pt x="84" y="166"/>
                    <a:pt x="52" y="166"/>
                  </a:cubicBezTo>
                  <a:cubicBezTo>
                    <a:pt x="37" y="166"/>
                    <a:pt x="18" y="161"/>
                    <a:pt x="4" y="153"/>
                  </a:cubicBezTo>
                  <a:lnTo>
                    <a:pt x="4" y="13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11">
              <a:extLst>
                <a:ext uri="{FF2B5EF4-FFF2-40B4-BE49-F238E27FC236}">
                  <a16:creationId xmlns:a16="http://schemas.microsoft.com/office/drawing/2014/main" id="{859707A6-3DAA-4211-8EB1-323766F955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35786" y="6115872"/>
              <a:ext cx="90248" cy="113253"/>
            </a:xfrm>
            <a:custGeom>
              <a:avLst/>
              <a:gdLst>
                <a:gd name="T0" fmla="*/ 128 w 306"/>
                <a:gd name="T1" fmla="*/ 45 h 384"/>
                <a:gd name="T2" fmla="*/ 0 w 306"/>
                <a:gd name="T3" fmla="*/ 45 h 384"/>
                <a:gd name="T4" fmla="*/ 0 w 306"/>
                <a:gd name="T5" fmla="*/ 0 h 384"/>
                <a:gd name="T6" fmla="*/ 306 w 306"/>
                <a:gd name="T7" fmla="*/ 0 h 384"/>
                <a:gd name="T8" fmla="*/ 306 w 306"/>
                <a:gd name="T9" fmla="*/ 45 h 384"/>
                <a:gd name="T10" fmla="*/ 178 w 306"/>
                <a:gd name="T11" fmla="*/ 45 h 384"/>
                <a:gd name="T12" fmla="*/ 178 w 306"/>
                <a:gd name="T13" fmla="*/ 384 h 384"/>
                <a:gd name="T14" fmla="*/ 128 w 306"/>
                <a:gd name="T15" fmla="*/ 384 h 384"/>
                <a:gd name="T16" fmla="*/ 128 w 306"/>
                <a:gd name="T17" fmla="*/ 45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6" h="384">
                  <a:moveTo>
                    <a:pt x="128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306" y="0"/>
                  </a:lnTo>
                  <a:lnTo>
                    <a:pt x="306" y="45"/>
                  </a:lnTo>
                  <a:lnTo>
                    <a:pt x="178" y="45"/>
                  </a:lnTo>
                  <a:lnTo>
                    <a:pt x="178" y="384"/>
                  </a:lnTo>
                  <a:lnTo>
                    <a:pt x="128" y="384"/>
                  </a:lnTo>
                  <a:lnTo>
                    <a:pt x="128" y="4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12">
              <a:extLst>
                <a:ext uri="{FF2B5EF4-FFF2-40B4-BE49-F238E27FC236}">
                  <a16:creationId xmlns:a16="http://schemas.microsoft.com/office/drawing/2014/main" id="{0FEBAF92-9D70-4CAF-816F-BD0B92702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4066" y="6270414"/>
              <a:ext cx="153953" cy="113253"/>
            </a:xfrm>
            <a:custGeom>
              <a:avLst/>
              <a:gdLst>
                <a:gd name="T0" fmla="*/ 0 w 220"/>
                <a:gd name="T1" fmla="*/ 0 h 161"/>
                <a:gd name="T2" fmla="*/ 22 w 220"/>
                <a:gd name="T3" fmla="*/ 0 h 161"/>
                <a:gd name="T4" fmla="*/ 49 w 220"/>
                <a:gd name="T5" fmla="*/ 87 h 161"/>
                <a:gd name="T6" fmla="*/ 62 w 220"/>
                <a:gd name="T7" fmla="*/ 129 h 161"/>
                <a:gd name="T8" fmla="*/ 62 w 220"/>
                <a:gd name="T9" fmla="*/ 129 h 161"/>
                <a:gd name="T10" fmla="*/ 75 w 220"/>
                <a:gd name="T11" fmla="*/ 87 h 161"/>
                <a:gd name="T12" fmla="*/ 103 w 220"/>
                <a:gd name="T13" fmla="*/ 0 h 161"/>
                <a:gd name="T14" fmla="*/ 118 w 220"/>
                <a:gd name="T15" fmla="*/ 0 h 161"/>
                <a:gd name="T16" fmla="*/ 145 w 220"/>
                <a:gd name="T17" fmla="*/ 87 h 161"/>
                <a:gd name="T18" fmla="*/ 158 w 220"/>
                <a:gd name="T19" fmla="*/ 129 h 161"/>
                <a:gd name="T20" fmla="*/ 159 w 220"/>
                <a:gd name="T21" fmla="*/ 129 h 161"/>
                <a:gd name="T22" fmla="*/ 171 w 220"/>
                <a:gd name="T23" fmla="*/ 87 h 161"/>
                <a:gd name="T24" fmla="*/ 198 w 220"/>
                <a:gd name="T25" fmla="*/ 0 h 161"/>
                <a:gd name="T26" fmla="*/ 220 w 220"/>
                <a:gd name="T27" fmla="*/ 0 h 161"/>
                <a:gd name="T28" fmla="*/ 170 w 220"/>
                <a:gd name="T29" fmla="*/ 161 h 161"/>
                <a:gd name="T30" fmla="*/ 147 w 220"/>
                <a:gd name="T31" fmla="*/ 161 h 161"/>
                <a:gd name="T32" fmla="*/ 121 w 220"/>
                <a:gd name="T33" fmla="*/ 79 h 161"/>
                <a:gd name="T34" fmla="*/ 110 w 220"/>
                <a:gd name="T35" fmla="*/ 42 h 161"/>
                <a:gd name="T36" fmla="*/ 110 w 220"/>
                <a:gd name="T37" fmla="*/ 42 h 161"/>
                <a:gd name="T38" fmla="*/ 98 w 220"/>
                <a:gd name="T39" fmla="*/ 79 h 161"/>
                <a:gd name="T40" fmla="*/ 73 w 220"/>
                <a:gd name="T41" fmla="*/ 161 h 161"/>
                <a:gd name="T42" fmla="*/ 50 w 220"/>
                <a:gd name="T43" fmla="*/ 161 h 161"/>
                <a:gd name="T44" fmla="*/ 0 w 220"/>
                <a:gd name="T45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0" h="161">
                  <a:moveTo>
                    <a:pt x="0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54" y="101"/>
                    <a:pt x="58" y="115"/>
                    <a:pt x="62" y="129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66" y="115"/>
                    <a:pt x="71" y="101"/>
                    <a:pt x="75" y="87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45" y="87"/>
                    <a:pt x="145" y="87"/>
                    <a:pt x="145" y="87"/>
                  </a:cubicBezTo>
                  <a:cubicBezTo>
                    <a:pt x="150" y="101"/>
                    <a:pt x="154" y="115"/>
                    <a:pt x="158" y="129"/>
                  </a:cubicBezTo>
                  <a:cubicBezTo>
                    <a:pt x="159" y="129"/>
                    <a:pt x="159" y="129"/>
                    <a:pt x="159" y="129"/>
                  </a:cubicBezTo>
                  <a:cubicBezTo>
                    <a:pt x="163" y="115"/>
                    <a:pt x="167" y="101"/>
                    <a:pt x="171" y="87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170" y="161"/>
                    <a:pt x="170" y="161"/>
                    <a:pt x="170" y="161"/>
                  </a:cubicBezTo>
                  <a:cubicBezTo>
                    <a:pt x="147" y="161"/>
                    <a:pt x="147" y="161"/>
                    <a:pt x="147" y="161"/>
                  </a:cubicBezTo>
                  <a:cubicBezTo>
                    <a:pt x="121" y="79"/>
                    <a:pt x="121" y="79"/>
                    <a:pt x="121" y="79"/>
                  </a:cubicBezTo>
                  <a:cubicBezTo>
                    <a:pt x="117" y="66"/>
                    <a:pt x="114" y="54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06" y="54"/>
                    <a:pt x="102" y="67"/>
                    <a:pt x="98" y="79"/>
                  </a:cubicBezTo>
                  <a:cubicBezTo>
                    <a:pt x="73" y="161"/>
                    <a:pt x="73" y="161"/>
                    <a:pt x="73" y="161"/>
                  </a:cubicBezTo>
                  <a:cubicBezTo>
                    <a:pt x="50" y="161"/>
                    <a:pt x="50" y="161"/>
                    <a:pt x="50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13">
              <a:extLst>
                <a:ext uri="{FF2B5EF4-FFF2-40B4-BE49-F238E27FC236}">
                  <a16:creationId xmlns:a16="http://schemas.microsoft.com/office/drawing/2014/main" id="{33D4A3FE-1B1E-47A9-992E-07D98ED87F5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490111" y="6268940"/>
              <a:ext cx="114727" cy="115907"/>
            </a:xfrm>
            <a:custGeom>
              <a:avLst/>
              <a:gdLst>
                <a:gd name="T0" fmla="*/ 82 w 164"/>
                <a:gd name="T1" fmla="*/ 0 h 165"/>
                <a:gd name="T2" fmla="*/ 164 w 164"/>
                <a:gd name="T3" fmla="*/ 82 h 165"/>
                <a:gd name="T4" fmla="*/ 82 w 164"/>
                <a:gd name="T5" fmla="*/ 165 h 165"/>
                <a:gd name="T6" fmla="*/ 0 w 164"/>
                <a:gd name="T7" fmla="*/ 82 h 165"/>
                <a:gd name="T8" fmla="*/ 82 w 164"/>
                <a:gd name="T9" fmla="*/ 0 h 165"/>
                <a:gd name="T10" fmla="*/ 82 w 164"/>
                <a:gd name="T11" fmla="*/ 146 h 165"/>
                <a:gd name="T12" fmla="*/ 143 w 164"/>
                <a:gd name="T13" fmla="*/ 82 h 165"/>
                <a:gd name="T14" fmla="*/ 82 w 164"/>
                <a:gd name="T15" fmla="*/ 19 h 165"/>
                <a:gd name="T16" fmla="*/ 22 w 164"/>
                <a:gd name="T17" fmla="*/ 82 h 165"/>
                <a:gd name="T18" fmla="*/ 82 w 164"/>
                <a:gd name="T19" fmla="*/ 146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5">
                  <a:moveTo>
                    <a:pt x="82" y="0"/>
                  </a:moveTo>
                  <a:cubicBezTo>
                    <a:pt x="129" y="0"/>
                    <a:pt x="164" y="36"/>
                    <a:pt x="164" y="82"/>
                  </a:cubicBezTo>
                  <a:cubicBezTo>
                    <a:pt x="164" y="129"/>
                    <a:pt x="129" y="165"/>
                    <a:pt x="82" y="165"/>
                  </a:cubicBezTo>
                  <a:cubicBezTo>
                    <a:pt x="36" y="165"/>
                    <a:pt x="0" y="129"/>
                    <a:pt x="0" y="82"/>
                  </a:cubicBezTo>
                  <a:cubicBezTo>
                    <a:pt x="0" y="36"/>
                    <a:pt x="36" y="0"/>
                    <a:pt x="82" y="0"/>
                  </a:cubicBezTo>
                  <a:close/>
                  <a:moveTo>
                    <a:pt x="82" y="146"/>
                  </a:moveTo>
                  <a:cubicBezTo>
                    <a:pt x="117" y="146"/>
                    <a:pt x="143" y="118"/>
                    <a:pt x="143" y="82"/>
                  </a:cubicBezTo>
                  <a:cubicBezTo>
                    <a:pt x="143" y="47"/>
                    <a:pt x="117" y="19"/>
                    <a:pt x="82" y="19"/>
                  </a:cubicBezTo>
                  <a:cubicBezTo>
                    <a:pt x="47" y="19"/>
                    <a:pt x="22" y="47"/>
                    <a:pt x="22" y="82"/>
                  </a:cubicBezTo>
                  <a:cubicBezTo>
                    <a:pt x="22" y="118"/>
                    <a:pt x="47" y="146"/>
                    <a:pt x="82" y="14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14">
              <a:extLst>
                <a:ext uri="{FF2B5EF4-FFF2-40B4-BE49-F238E27FC236}">
                  <a16:creationId xmlns:a16="http://schemas.microsoft.com/office/drawing/2014/main" id="{9B08F6CB-9C29-4A26-8F0F-EF3539E2E7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631382" y="6270414"/>
              <a:ext cx="86119" cy="113253"/>
            </a:xfrm>
            <a:custGeom>
              <a:avLst/>
              <a:gdLst>
                <a:gd name="T0" fmla="*/ 0 w 123"/>
                <a:gd name="T1" fmla="*/ 0 h 161"/>
                <a:gd name="T2" fmla="*/ 43 w 123"/>
                <a:gd name="T3" fmla="*/ 0 h 161"/>
                <a:gd name="T4" fmla="*/ 88 w 123"/>
                <a:gd name="T5" fmla="*/ 8 h 161"/>
                <a:gd name="T6" fmla="*/ 111 w 123"/>
                <a:gd name="T7" fmla="*/ 46 h 161"/>
                <a:gd name="T8" fmla="*/ 90 w 123"/>
                <a:gd name="T9" fmla="*/ 83 h 161"/>
                <a:gd name="T10" fmla="*/ 71 w 123"/>
                <a:gd name="T11" fmla="*/ 90 h 161"/>
                <a:gd name="T12" fmla="*/ 123 w 123"/>
                <a:gd name="T13" fmla="*/ 161 h 161"/>
                <a:gd name="T14" fmla="*/ 97 w 123"/>
                <a:gd name="T15" fmla="*/ 161 h 161"/>
                <a:gd name="T16" fmla="*/ 48 w 123"/>
                <a:gd name="T17" fmla="*/ 92 h 161"/>
                <a:gd name="T18" fmla="*/ 21 w 123"/>
                <a:gd name="T19" fmla="*/ 92 h 161"/>
                <a:gd name="T20" fmla="*/ 21 w 123"/>
                <a:gd name="T21" fmla="*/ 161 h 161"/>
                <a:gd name="T22" fmla="*/ 0 w 123"/>
                <a:gd name="T23" fmla="*/ 161 h 161"/>
                <a:gd name="T24" fmla="*/ 0 w 123"/>
                <a:gd name="T25" fmla="*/ 0 h 161"/>
                <a:gd name="T26" fmla="*/ 48 w 123"/>
                <a:gd name="T27" fmla="*/ 75 h 161"/>
                <a:gd name="T28" fmla="*/ 80 w 123"/>
                <a:gd name="T29" fmla="*/ 67 h 161"/>
                <a:gd name="T30" fmla="*/ 89 w 123"/>
                <a:gd name="T31" fmla="*/ 47 h 161"/>
                <a:gd name="T32" fmla="*/ 76 w 123"/>
                <a:gd name="T33" fmla="*/ 25 h 161"/>
                <a:gd name="T34" fmla="*/ 42 w 123"/>
                <a:gd name="T35" fmla="*/ 19 h 161"/>
                <a:gd name="T36" fmla="*/ 21 w 123"/>
                <a:gd name="T37" fmla="*/ 19 h 161"/>
                <a:gd name="T38" fmla="*/ 21 w 123"/>
                <a:gd name="T39" fmla="*/ 75 h 161"/>
                <a:gd name="T40" fmla="*/ 48 w 123"/>
                <a:gd name="T41" fmla="*/ 75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3" h="161">
                  <a:moveTo>
                    <a:pt x="0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60" y="0"/>
                    <a:pt x="75" y="1"/>
                    <a:pt x="88" y="8"/>
                  </a:cubicBezTo>
                  <a:cubicBezTo>
                    <a:pt x="102" y="15"/>
                    <a:pt x="111" y="28"/>
                    <a:pt x="111" y="46"/>
                  </a:cubicBezTo>
                  <a:cubicBezTo>
                    <a:pt x="111" y="63"/>
                    <a:pt x="102" y="76"/>
                    <a:pt x="90" y="83"/>
                  </a:cubicBezTo>
                  <a:cubicBezTo>
                    <a:pt x="84" y="87"/>
                    <a:pt x="78" y="89"/>
                    <a:pt x="71" y="90"/>
                  </a:cubicBezTo>
                  <a:cubicBezTo>
                    <a:pt x="123" y="161"/>
                    <a:pt x="123" y="161"/>
                    <a:pt x="123" y="161"/>
                  </a:cubicBezTo>
                  <a:cubicBezTo>
                    <a:pt x="97" y="161"/>
                    <a:pt x="97" y="161"/>
                    <a:pt x="97" y="161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0" y="161"/>
                    <a:pt x="0" y="161"/>
                    <a:pt x="0" y="161"/>
                  </a:cubicBezTo>
                  <a:lnTo>
                    <a:pt x="0" y="0"/>
                  </a:lnTo>
                  <a:close/>
                  <a:moveTo>
                    <a:pt x="48" y="75"/>
                  </a:moveTo>
                  <a:cubicBezTo>
                    <a:pt x="63" y="75"/>
                    <a:pt x="73" y="73"/>
                    <a:pt x="80" y="67"/>
                  </a:cubicBezTo>
                  <a:cubicBezTo>
                    <a:pt x="86" y="63"/>
                    <a:pt x="89" y="56"/>
                    <a:pt x="89" y="47"/>
                  </a:cubicBezTo>
                  <a:cubicBezTo>
                    <a:pt x="89" y="37"/>
                    <a:pt x="85" y="29"/>
                    <a:pt x="76" y="25"/>
                  </a:cubicBezTo>
                  <a:cubicBezTo>
                    <a:pt x="68" y="20"/>
                    <a:pt x="57" y="19"/>
                    <a:pt x="42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75"/>
                    <a:pt x="21" y="75"/>
                    <a:pt x="21" y="75"/>
                  </a:cubicBezTo>
                  <a:lnTo>
                    <a:pt x="48" y="7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15">
              <a:extLst>
                <a:ext uri="{FF2B5EF4-FFF2-40B4-BE49-F238E27FC236}">
                  <a16:creationId xmlns:a16="http://schemas.microsoft.com/office/drawing/2014/main" id="{F626DAF7-0DC4-4761-B822-0EF1F4E2A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44929" y="6270414"/>
              <a:ext cx="86709" cy="113253"/>
            </a:xfrm>
            <a:custGeom>
              <a:avLst/>
              <a:gdLst>
                <a:gd name="T0" fmla="*/ 0 w 294"/>
                <a:gd name="T1" fmla="*/ 0 h 384"/>
                <a:gd name="T2" fmla="*/ 49 w 294"/>
                <a:gd name="T3" fmla="*/ 0 h 384"/>
                <a:gd name="T4" fmla="*/ 49 w 294"/>
                <a:gd name="T5" fmla="*/ 174 h 384"/>
                <a:gd name="T6" fmla="*/ 49 w 294"/>
                <a:gd name="T7" fmla="*/ 174 h 384"/>
                <a:gd name="T8" fmla="*/ 216 w 294"/>
                <a:gd name="T9" fmla="*/ 0 h 384"/>
                <a:gd name="T10" fmla="*/ 280 w 294"/>
                <a:gd name="T11" fmla="*/ 0 h 384"/>
                <a:gd name="T12" fmla="*/ 106 w 294"/>
                <a:gd name="T13" fmla="*/ 179 h 384"/>
                <a:gd name="T14" fmla="*/ 294 w 294"/>
                <a:gd name="T15" fmla="*/ 384 h 384"/>
                <a:gd name="T16" fmla="*/ 227 w 294"/>
                <a:gd name="T17" fmla="*/ 384 h 384"/>
                <a:gd name="T18" fmla="*/ 49 w 294"/>
                <a:gd name="T19" fmla="*/ 186 h 384"/>
                <a:gd name="T20" fmla="*/ 49 w 294"/>
                <a:gd name="T21" fmla="*/ 186 h 384"/>
                <a:gd name="T22" fmla="*/ 49 w 294"/>
                <a:gd name="T23" fmla="*/ 384 h 384"/>
                <a:gd name="T24" fmla="*/ 0 w 294"/>
                <a:gd name="T25" fmla="*/ 384 h 384"/>
                <a:gd name="T26" fmla="*/ 0 w 294"/>
                <a:gd name="T27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384">
                  <a:moveTo>
                    <a:pt x="0" y="0"/>
                  </a:moveTo>
                  <a:lnTo>
                    <a:pt x="49" y="0"/>
                  </a:lnTo>
                  <a:lnTo>
                    <a:pt x="49" y="174"/>
                  </a:lnTo>
                  <a:lnTo>
                    <a:pt x="49" y="174"/>
                  </a:lnTo>
                  <a:lnTo>
                    <a:pt x="216" y="0"/>
                  </a:lnTo>
                  <a:lnTo>
                    <a:pt x="280" y="0"/>
                  </a:lnTo>
                  <a:lnTo>
                    <a:pt x="106" y="179"/>
                  </a:lnTo>
                  <a:lnTo>
                    <a:pt x="294" y="384"/>
                  </a:lnTo>
                  <a:lnTo>
                    <a:pt x="227" y="384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384"/>
                  </a:lnTo>
                  <a:lnTo>
                    <a:pt x="0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16">
              <a:extLst>
                <a:ext uri="{FF2B5EF4-FFF2-40B4-BE49-F238E27FC236}">
                  <a16:creationId xmlns:a16="http://schemas.microsoft.com/office/drawing/2014/main" id="{6E1B8E6D-FE7A-4E16-9FE0-27110C65BA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67106" y="6424367"/>
              <a:ext cx="66359" cy="112958"/>
            </a:xfrm>
            <a:custGeom>
              <a:avLst/>
              <a:gdLst>
                <a:gd name="T0" fmla="*/ 0 w 225"/>
                <a:gd name="T1" fmla="*/ 0 h 383"/>
                <a:gd name="T2" fmla="*/ 225 w 225"/>
                <a:gd name="T3" fmla="*/ 0 h 383"/>
                <a:gd name="T4" fmla="*/ 225 w 225"/>
                <a:gd name="T5" fmla="*/ 45 h 383"/>
                <a:gd name="T6" fmla="*/ 49 w 225"/>
                <a:gd name="T7" fmla="*/ 45 h 383"/>
                <a:gd name="T8" fmla="*/ 49 w 225"/>
                <a:gd name="T9" fmla="*/ 169 h 383"/>
                <a:gd name="T10" fmla="*/ 204 w 225"/>
                <a:gd name="T11" fmla="*/ 169 h 383"/>
                <a:gd name="T12" fmla="*/ 204 w 225"/>
                <a:gd name="T13" fmla="*/ 214 h 383"/>
                <a:gd name="T14" fmla="*/ 49 w 225"/>
                <a:gd name="T15" fmla="*/ 214 h 383"/>
                <a:gd name="T16" fmla="*/ 49 w 225"/>
                <a:gd name="T17" fmla="*/ 383 h 383"/>
                <a:gd name="T18" fmla="*/ 0 w 225"/>
                <a:gd name="T19" fmla="*/ 383 h 383"/>
                <a:gd name="T20" fmla="*/ 0 w 225"/>
                <a:gd name="T21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5" h="383">
                  <a:moveTo>
                    <a:pt x="0" y="0"/>
                  </a:moveTo>
                  <a:lnTo>
                    <a:pt x="225" y="0"/>
                  </a:lnTo>
                  <a:lnTo>
                    <a:pt x="225" y="45"/>
                  </a:lnTo>
                  <a:lnTo>
                    <a:pt x="49" y="45"/>
                  </a:lnTo>
                  <a:lnTo>
                    <a:pt x="49" y="169"/>
                  </a:lnTo>
                  <a:lnTo>
                    <a:pt x="204" y="169"/>
                  </a:lnTo>
                  <a:lnTo>
                    <a:pt x="204" y="214"/>
                  </a:lnTo>
                  <a:lnTo>
                    <a:pt x="49" y="214"/>
                  </a:lnTo>
                  <a:lnTo>
                    <a:pt x="49" y="383"/>
                  </a:lnTo>
                  <a:lnTo>
                    <a:pt x="0" y="3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Rectangle 17">
              <a:extLst>
                <a:ext uri="{FF2B5EF4-FFF2-40B4-BE49-F238E27FC236}">
                  <a16:creationId xmlns:a16="http://schemas.microsoft.com/office/drawing/2014/main" id="{40E31F21-2B6F-4D92-907D-1F1F3475A92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565023" y="6424367"/>
              <a:ext cx="14746" cy="11295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18">
              <a:extLst>
                <a:ext uri="{FF2B5EF4-FFF2-40B4-BE49-F238E27FC236}">
                  <a16:creationId xmlns:a16="http://schemas.microsoft.com/office/drawing/2014/main" id="{32FBCDEA-7BEF-42EF-81AC-24968161A2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15455" y="6424367"/>
              <a:ext cx="67834" cy="112958"/>
            </a:xfrm>
            <a:custGeom>
              <a:avLst/>
              <a:gdLst>
                <a:gd name="T0" fmla="*/ 0 w 230"/>
                <a:gd name="T1" fmla="*/ 0 h 383"/>
                <a:gd name="T2" fmla="*/ 49 w 230"/>
                <a:gd name="T3" fmla="*/ 0 h 383"/>
                <a:gd name="T4" fmla="*/ 49 w 230"/>
                <a:gd name="T5" fmla="*/ 338 h 383"/>
                <a:gd name="T6" fmla="*/ 230 w 230"/>
                <a:gd name="T7" fmla="*/ 338 h 383"/>
                <a:gd name="T8" fmla="*/ 230 w 230"/>
                <a:gd name="T9" fmla="*/ 383 h 383"/>
                <a:gd name="T10" fmla="*/ 0 w 230"/>
                <a:gd name="T11" fmla="*/ 383 h 383"/>
                <a:gd name="T12" fmla="*/ 0 w 230"/>
                <a:gd name="T13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0" h="383">
                  <a:moveTo>
                    <a:pt x="0" y="0"/>
                  </a:moveTo>
                  <a:lnTo>
                    <a:pt x="49" y="0"/>
                  </a:lnTo>
                  <a:lnTo>
                    <a:pt x="49" y="338"/>
                  </a:lnTo>
                  <a:lnTo>
                    <a:pt x="230" y="338"/>
                  </a:lnTo>
                  <a:lnTo>
                    <a:pt x="230" y="383"/>
                  </a:lnTo>
                  <a:lnTo>
                    <a:pt x="0" y="3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19">
              <a:extLst>
                <a:ext uri="{FF2B5EF4-FFF2-40B4-BE49-F238E27FC236}">
                  <a16:creationId xmlns:a16="http://schemas.microsoft.com/office/drawing/2014/main" id="{7B4A8E0B-4E22-4265-A287-290F427A44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08358" y="6424367"/>
              <a:ext cx="108534" cy="112958"/>
            </a:xfrm>
            <a:custGeom>
              <a:avLst/>
              <a:gdLst>
                <a:gd name="T0" fmla="*/ 42 w 155"/>
                <a:gd name="T1" fmla="*/ 67 h 161"/>
                <a:gd name="T2" fmla="*/ 20 w 155"/>
                <a:gd name="T3" fmla="*/ 35 h 161"/>
                <a:gd name="T4" fmla="*/ 20 w 155"/>
                <a:gd name="T5" fmla="*/ 36 h 161"/>
                <a:gd name="T6" fmla="*/ 20 w 155"/>
                <a:gd name="T7" fmla="*/ 71 h 161"/>
                <a:gd name="T8" fmla="*/ 20 w 155"/>
                <a:gd name="T9" fmla="*/ 161 h 161"/>
                <a:gd name="T10" fmla="*/ 0 w 155"/>
                <a:gd name="T11" fmla="*/ 161 h 161"/>
                <a:gd name="T12" fmla="*/ 0 w 155"/>
                <a:gd name="T13" fmla="*/ 0 h 161"/>
                <a:gd name="T14" fmla="*/ 20 w 155"/>
                <a:gd name="T15" fmla="*/ 0 h 161"/>
                <a:gd name="T16" fmla="*/ 78 w 155"/>
                <a:gd name="T17" fmla="*/ 82 h 161"/>
                <a:gd name="T18" fmla="*/ 135 w 155"/>
                <a:gd name="T19" fmla="*/ 0 h 161"/>
                <a:gd name="T20" fmla="*/ 155 w 155"/>
                <a:gd name="T21" fmla="*/ 0 h 161"/>
                <a:gd name="T22" fmla="*/ 155 w 155"/>
                <a:gd name="T23" fmla="*/ 161 h 161"/>
                <a:gd name="T24" fmla="*/ 134 w 155"/>
                <a:gd name="T25" fmla="*/ 161 h 161"/>
                <a:gd name="T26" fmla="*/ 134 w 155"/>
                <a:gd name="T27" fmla="*/ 71 h 161"/>
                <a:gd name="T28" fmla="*/ 134 w 155"/>
                <a:gd name="T29" fmla="*/ 36 h 161"/>
                <a:gd name="T30" fmla="*/ 134 w 155"/>
                <a:gd name="T31" fmla="*/ 35 h 161"/>
                <a:gd name="T32" fmla="*/ 112 w 155"/>
                <a:gd name="T33" fmla="*/ 67 h 161"/>
                <a:gd name="T34" fmla="*/ 77 w 155"/>
                <a:gd name="T35" fmla="*/ 117 h 161"/>
                <a:gd name="T36" fmla="*/ 42 w 155"/>
                <a:gd name="T37" fmla="*/ 6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61">
                  <a:moveTo>
                    <a:pt x="42" y="67"/>
                  </a:moveTo>
                  <a:cubicBezTo>
                    <a:pt x="35" y="57"/>
                    <a:pt x="28" y="46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45"/>
                    <a:pt x="20" y="57"/>
                    <a:pt x="20" y="71"/>
                  </a:cubicBezTo>
                  <a:cubicBezTo>
                    <a:pt x="20" y="161"/>
                    <a:pt x="20" y="161"/>
                    <a:pt x="2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5" y="161"/>
                    <a:pt x="155" y="161"/>
                    <a:pt x="155" y="161"/>
                  </a:cubicBezTo>
                  <a:cubicBezTo>
                    <a:pt x="134" y="161"/>
                    <a:pt x="134" y="161"/>
                    <a:pt x="134" y="161"/>
                  </a:cubicBezTo>
                  <a:cubicBezTo>
                    <a:pt x="134" y="71"/>
                    <a:pt x="134" y="71"/>
                    <a:pt x="134" y="71"/>
                  </a:cubicBezTo>
                  <a:cubicBezTo>
                    <a:pt x="134" y="57"/>
                    <a:pt x="134" y="45"/>
                    <a:pt x="134" y="36"/>
                  </a:cubicBezTo>
                  <a:cubicBezTo>
                    <a:pt x="134" y="35"/>
                    <a:pt x="134" y="35"/>
                    <a:pt x="134" y="35"/>
                  </a:cubicBezTo>
                  <a:cubicBezTo>
                    <a:pt x="127" y="46"/>
                    <a:pt x="120" y="57"/>
                    <a:pt x="112" y="67"/>
                  </a:cubicBezTo>
                  <a:cubicBezTo>
                    <a:pt x="77" y="117"/>
                    <a:pt x="77" y="117"/>
                    <a:pt x="77" y="117"/>
                  </a:cubicBezTo>
                  <a:lnTo>
                    <a:pt x="42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20">
              <a:extLst>
                <a:ext uri="{FF2B5EF4-FFF2-40B4-BE49-F238E27FC236}">
                  <a16:creationId xmlns:a16="http://schemas.microsoft.com/office/drawing/2014/main" id="{99A25193-0AFC-4FC5-A97B-9086ECF9EB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9018" y="6115872"/>
              <a:ext cx="510226" cy="421453"/>
            </a:xfrm>
            <a:custGeom>
              <a:avLst/>
              <a:gdLst>
                <a:gd name="T0" fmla="*/ 318 w 1730"/>
                <a:gd name="T1" fmla="*/ 1429 h 1429"/>
                <a:gd name="T2" fmla="*/ 0 w 1730"/>
                <a:gd name="T3" fmla="*/ 1429 h 1429"/>
                <a:gd name="T4" fmla="*/ 721 w 1730"/>
                <a:gd name="T5" fmla="*/ 0 h 1429"/>
                <a:gd name="T6" fmla="*/ 1008 w 1730"/>
                <a:gd name="T7" fmla="*/ 0 h 1429"/>
                <a:gd name="T8" fmla="*/ 1730 w 1730"/>
                <a:gd name="T9" fmla="*/ 1429 h 1429"/>
                <a:gd name="T10" fmla="*/ 1404 w 1730"/>
                <a:gd name="T11" fmla="*/ 1429 h 1429"/>
                <a:gd name="T12" fmla="*/ 861 w 1730"/>
                <a:gd name="T13" fmla="*/ 376 h 1429"/>
                <a:gd name="T14" fmla="*/ 318 w 1730"/>
                <a:gd name="T15" fmla="*/ 1429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0" h="1429">
                  <a:moveTo>
                    <a:pt x="318" y="1429"/>
                  </a:moveTo>
                  <a:lnTo>
                    <a:pt x="0" y="1429"/>
                  </a:lnTo>
                  <a:lnTo>
                    <a:pt x="721" y="0"/>
                  </a:lnTo>
                  <a:lnTo>
                    <a:pt x="1008" y="0"/>
                  </a:lnTo>
                  <a:lnTo>
                    <a:pt x="1730" y="1429"/>
                  </a:lnTo>
                  <a:lnTo>
                    <a:pt x="1404" y="1429"/>
                  </a:lnTo>
                  <a:lnTo>
                    <a:pt x="861" y="376"/>
                  </a:lnTo>
                  <a:lnTo>
                    <a:pt x="318" y="14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21">
              <a:extLst>
                <a:ext uri="{FF2B5EF4-FFF2-40B4-BE49-F238E27FC236}">
                  <a16:creationId xmlns:a16="http://schemas.microsoft.com/office/drawing/2014/main" id="{247E6B6B-34CD-4044-9D7C-221A4DFB4EC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82949" y="6118821"/>
              <a:ext cx="353914" cy="418504"/>
            </a:xfrm>
            <a:custGeom>
              <a:avLst/>
              <a:gdLst>
                <a:gd name="T0" fmla="*/ 0 w 506"/>
                <a:gd name="T1" fmla="*/ 596 h 596"/>
                <a:gd name="T2" fmla="*/ 74 w 506"/>
                <a:gd name="T3" fmla="*/ 596 h 596"/>
                <a:gd name="T4" fmla="*/ 127 w 506"/>
                <a:gd name="T5" fmla="*/ 596 h 596"/>
                <a:gd name="T6" fmla="*/ 283 w 506"/>
                <a:gd name="T7" fmla="*/ 596 h 596"/>
                <a:gd name="T8" fmla="*/ 506 w 506"/>
                <a:gd name="T9" fmla="*/ 433 h 596"/>
                <a:gd name="T10" fmla="*/ 395 w 506"/>
                <a:gd name="T11" fmla="*/ 285 h 596"/>
                <a:gd name="T12" fmla="*/ 473 w 506"/>
                <a:gd name="T13" fmla="*/ 156 h 596"/>
                <a:gd name="T14" fmla="*/ 432 w 506"/>
                <a:gd name="T15" fmla="*/ 53 h 596"/>
                <a:gd name="T16" fmla="*/ 276 w 506"/>
                <a:gd name="T17" fmla="*/ 0 h 596"/>
                <a:gd name="T18" fmla="*/ 0 w 506"/>
                <a:gd name="T19" fmla="*/ 0 h 596"/>
                <a:gd name="T20" fmla="*/ 0 w 506"/>
                <a:gd name="T21" fmla="*/ 115 h 596"/>
                <a:gd name="T22" fmla="*/ 257 w 506"/>
                <a:gd name="T23" fmla="*/ 115 h 596"/>
                <a:gd name="T24" fmla="*/ 343 w 506"/>
                <a:gd name="T25" fmla="*/ 177 h 596"/>
                <a:gd name="T26" fmla="*/ 248 w 506"/>
                <a:gd name="T27" fmla="*/ 241 h 596"/>
                <a:gd name="T28" fmla="*/ 0 w 506"/>
                <a:gd name="T29" fmla="*/ 241 h 596"/>
                <a:gd name="T30" fmla="*/ 0 w 506"/>
                <a:gd name="T31" fmla="*/ 596 h 596"/>
                <a:gd name="T32" fmla="*/ 283 w 506"/>
                <a:gd name="T33" fmla="*/ 481 h 596"/>
                <a:gd name="T34" fmla="*/ 127 w 506"/>
                <a:gd name="T35" fmla="*/ 481 h 596"/>
                <a:gd name="T36" fmla="*/ 127 w 506"/>
                <a:gd name="T37" fmla="*/ 350 h 596"/>
                <a:gd name="T38" fmla="*/ 279 w 506"/>
                <a:gd name="T39" fmla="*/ 350 h 596"/>
                <a:gd name="T40" fmla="*/ 376 w 506"/>
                <a:gd name="T41" fmla="*/ 415 h 596"/>
                <a:gd name="T42" fmla="*/ 283 w 506"/>
                <a:gd name="T43" fmla="*/ 481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06" h="596">
                  <a:moveTo>
                    <a:pt x="0" y="596"/>
                  </a:moveTo>
                  <a:cubicBezTo>
                    <a:pt x="74" y="596"/>
                    <a:pt x="74" y="596"/>
                    <a:pt x="74" y="596"/>
                  </a:cubicBezTo>
                  <a:cubicBezTo>
                    <a:pt x="127" y="596"/>
                    <a:pt x="127" y="596"/>
                    <a:pt x="127" y="596"/>
                  </a:cubicBezTo>
                  <a:cubicBezTo>
                    <a:pt x="283" y="596"/>
                    <a:pt x="283" y="596"/>
                    <a:pt x="283" y="596"/>
                  </a:cubicBezTo>
                  <a:cubicBezTo>
                    <a:pt x="418" y="596"/>
                    <a:pt x="506" y="542"/>
                    <a:pt x="506" y="433"/>
                  </a:cubicBezTo>
                  <a:cubicBezTo>
                    <a:pt x="506" y="351"/>
                    <a:pt x="464" y="311"/>
                    <a:pt x="395" y="285"/>
                  </a:cubicBezTo>
                  <a:cubicBezTo>
                    <a:pt x="437" y="261"/>
                    <a:pt x="473" y="223"/>
                    <a:pt x="473" y="156"/>
                  </a:cubicBezTo>
                  <a:cubicBezTo>
                    <a:pt x="473" y="114"/>
                    <a:pt x="459" y="80"/>
                    <a:pt x="432" y="53"/>
                  </a:cubicBezTo>
                  <a:cubicBezTo>
                    <a:pt x="398" y="19"/>
                    <a:pt x="344" y="0"/>
                    <a:pt x="27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257" y="115"/>
                    <a:pt x="257" y="115"/>
                    <a:pt x="257" y="115"/>
                  </a:cubicBezTo>
                  <a:cubicBezTo>
                    <a:pt x="312" y="115"/>
                    <a:pt x="343" y="137"/>
                    <a:pt x="343" y="177"/>
                  </a:cubicBezTo>
                  <a:cubicBezTo>
                    <a:pt x="343" y="222"/>
                    <a:pt x="306" y="241"/>
                    <a:pt x="248" y="241"/>
                  </a:cubicBezTo>
                  <a:cubicBezTo>
                    <a:pt x="0" y="241"/>
                    <a:pt x="0" y="241"/>
                    <a:pt x="0" y="241"/>
                  </a:cubicBezTo>
                  <a:lnTo>
                    <a:pt x="0" y="596"/>
                  </a:lnTo>
                  <a:close/>
                  <a:moveTo>
                    <a:pt x="283" y="481"/>
                  </a:moveTo>
                  <a:cubicBezTo>
                    <a:pt x="127" y="481"/>
                    <a:pt x="127" y="481"/>
                    <a:pt x="127" y="481"/>
                  </a:cubicBezTo>
                  <a:cubicBezTo>
                    <a:pt x="127" y="350"/>
                    <a:pt x="127" y="350"/>
                    <a:pt x="127" y="350"/>
                  </a:cubicBezTo>
                  <a:cubicBezTo>
                    <a:pt x="279" y="350"/>
                    <a:pt x="279" y="350"/>
                    <a:pt x="279" y="350"/>
                  </a:cubicBezTo>
                  <a:cubicBezTo>
                    <a:pt x="346" y="350"/>
                    <a:pt x="376" y="375"/>
                    <a:pt x="376" y="415"/>
                  </a:cubicBezTo>
                  <a:cubicBezTo>
                    <a:pt x="376" y="461"/>
                    <a:pt x="341" y="481"/>
                    <a:pt x="283" y="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9" name="object 3">
            <a:extLst>
              <a:ext uri="{FF2B5EF4-FFF2-40B4-BE49-F238E27FC236}">
                <a16:creationId xmlns:a16="http://schemas.microsoft.com/office/drawing/2014/main" id="{8D333F5B-204A-4E2E-8A90-555E8523977A}"/>
              </a:ext>
            </a:extLst>
          </p:cNvPr>
          <p:cNvSpPr/>
          <p:nvPr userDrawn="1"/>
        </p:nvSpPr>
        <p:spPr>
          <a:xfrm>
            <a:off x="9204" y="4559"/>
            <a:ext cx="655813" cy="840582"/>
          </a:xfrm>
          <a:custGeom>
            <a:avLst/>
            <a:gdLst/>
            <a:ahLst/>
            <a:cxnLst/>
            <a:rect l="l" t="t" r="r" b="b"/>
            <a:pathLst>
              <a:path w="1005205" h="1288415">
                <a:moveTo>
                  <a:pt x="0" y="0"/>
                </a:moveTo>
                <a:lnTo>
                  <a:pt x="0" y="335068"/>
                </a:lnTo>
                <a:lnTo>
                  <a:pt x="609552" y="640462"/>
                </a:lnTo>
                <a:lnTo>
                  <a:pt x="0" y="952850"/>
                </a:lnTo>
                <a:lnTo>
                  <a:pt x="0" y="1287918"/>
                </a:lnTo>
                <a:lnTo>
                  <a:pt x="1005204" y="793253"/>
                </a:lnTo>
                <a:lnTo>
                  <a:pt x="1005204" y="49601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 anchor="ctr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02528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-bleed F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52AF02E-2129-4013-BA2B-4355D657A4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635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52AF02E-2129-4013-BA2B-4355D657A4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object 3">
            <a:extLst>
              <a:ext uri="{FF2B5EF4-FFF2-40B4-BE49-F238E27FC236}">
                <a16:creationId xmlns:a16="http://schemas.microsoft.com/office/drawing/2014/main" id="{DF0DF7E7-67EA-4956-8C31-6F90A10C92FE}"/>
              </a:ext>
            </a:extLst>
          </p:cNvPr>
          <p:cNvSpPr/>
          <p:nvPr userDrawn="1"/>
        </p:nvSpPr>
        <p:spPr>
          <a:xfrm>
            <a:off x="1" y="4559"/>
            <a:ext cx="540326" cy="692558"/>
          </a:xfrm>
          <a:custGeom>
            <a:avLst/>
            <a:gdLst/>
            <a:ahLst/>
            <a:cxnLst/>
            <a:rect l="l" t="t" r="r" b="b"/>
            <a:pathLst>
              <a:path w="1005205" h="1288415">
                <a:moveTo>
                  <a:pt x="0" y="0"/>
                </a:moveTo>
                <a:lnTo>
                  <a:pt x="0" y="335068"/>
                </a:lnTo>
                <a:lnTo>
                  <a:pt x="609552" y="640462"/>
                </a:lnTo>
                <a:lnTo>
                  <a:pt x="0" y="952850"/>
                </a:lnTo>
                <a:lnTo>
                  <a:pt x="0" y="1287918"/>
                </a:lnTo>
                <a:lnTo>
                  <a:pt x="1005204" y="793253"/>
                </a:lnTo>
                <a:lnTo>
                  <a:pt x="1005204" y="49601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 anchor="ctr"/>
          <a:lstStyle/>
          <a:p>
            <a:endParaRPr/>
          </a:p>
        </p:txBody>
      </p:sp>
      <p:sp>
        <p:nvSpPr>
          <p:cNvPr id="132" name="Picture Placeholder 8">
            <a:extLst>
              <a:ext uri="{FF2B5EF4-FFF2-40B4-BE49-F238E27FC236}">
                <a16:creationId xmlns:a16="http://schemas.microsoft.com/office/drawing/2014/main" id="{EDCBD13A-C811-4A36-B374-1BD6EDEFAC8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C168B6FE-8C02-4842-88D8-2BF6C87C7203}"/>
              </a:ext>
            </a:extLst>
          </p:cNvPr>
          <p:cNvGrpSpPr/>
          <p:nvPr userDrawn="1"/>
        </p:nvGrpSpPr>
        <p:grpSpPr>
          <a:xfrm>
            <a:off x="9809018" y="6114397"/>
            <a:ext cx="2022620" cy="422928"/>
            <a:chOff x="9809018" y="6114397"/>
            <a:chExt cx="2022620" cy="422928"/>
          </a:xfrm>
        </p:grpSpPr>
        <p:sp>
          <p:nvSpPr>
            <p:cNvPr id="134" name="Freeform 5">
              <a:extLst>
                <a:ext uri="{FF2B5EF4-FFF2-40B4-BE49-F238E27FC236}">
                  <a16:creationId xmlns:a16="http://schemas.microsoft.com/office/drawing/2014/main" id="{7FC05F61-C049-43FE-8259-8A45BBC5B4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66356" y="6115872"/>
              <a:ext cx="510226" cy="421453"/>
            </a:xfrm>
            <a:custGeom>
              <a:avLst/>
              <a:gdLst>
                <a:gd name="T0" fmla="*/ 318 w 1730"/>
                <a:gd name="T1" fmla="*/ 1429 h 1429"/>
                <a:gd name="T2" fmla="*/ 0 w 1730"/>
                <a:gd name="T3" fmla="*/ 1429 h 1429"/>
                <a:gd name="T4" fmla="*/ 721 w 1730"/>
                <a:gd name="T5" fmla="*/ 0 h 1429"/>
                <a:gd name="T6" fmla="*/ 1009 w 1730"/>
                <a:gd name="T7" fmla="*/ 0 h 1429"/>
                <a:gd name="T8" fmla="*/ 1730 w 1730"/>
                <a:gd name="T9" fmla="*/ 1429 h 1429"/>
                <a:gd name="T10" fmla="*/ 1405 w 1730"/>
                <a:gd name="T11" fmla="*/ 1429 h 1429"/>
                <a:gd name="T12" fmla="*/ 861 w 1730"/>
                <a:gd name="T13" fmla="*/ 376 h 1429"/>
                <a:gd name="T14" fmla="*/ 318 w 1730"/>
                <a:gd name="T15" fmla="*/ 1429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0" h="1429">
                  <a:moveTo>
                    <a:pt x="318" y="1429"/>
                  </a:moveTo>
                  <a:lnTo>
                    <a:pt x="0" y="1429"/>
                  </a:lnTo>
                  <a:lnTo>
                    <a:pt x="721" y="0"/>
                  </a:lnTo>
                  <a:lnTo>
                    <a:pt x="1009" y="0"/>
                  </a:lnTo>
                  <a:lnTo>
                    <a:pt x="1730" y="1429"/>
                  </a:lnTo>
                  <a:lnTo>
                    <a:pt x="1405" y="1429"/>
                  </a:lnTo>
                  <a:lnTo>
                    <a:pt x="861" y="376"/>
                  </a:lnTo>
                  <a:lnTo>
                    <a:pt x="318" y="14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" name="Rectangle 6">
              <a:extLst>
                <a:ext uri="{FF2B5EF4-FFF2-40B4-BE49-F238E27FC236}">
                  <a16:creationId xmlns:a16="http://schemas.microsoft.com/office/drawing/2014/main" id="{1DF7864D-B6D0-4572-BEA5-E403C010DEC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273043" y="6115872"/>
              <a:ext cx="14746" cy="11325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" name="Freeform 7">
              <a:extLst>
                <a:ext uri="{FF2B5EF4-FFF2-40B4-BE49-F238E27FC236}">
                  <a16:creationId xmlns:a16="http://schemas.microsoft.com/office/drawing/2014/main" id="{A972C330-034B-4C10-A85F-F1AE11C233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0822" y="6115872"/>
              <a:ext cx="94967" cy="113253"/>
            </a:xfrm>
            <a:custGeom>
              <a:avLst/>
              <a:gdLst>
                <a:gd name="T0" fmla="*/ 0 w 136"/>
                <a:gd name="T1" fmla="*/ 161 h 161"/>
                <a:gd name="T2" fmla="*/ 0 w 136"/>
                <a:gd name="T3" fmla="*/ 0 h 161"/>
                <a:gd name="T4" fmla="*/ 20 w 136"/>
                <a:gd name="T5" fmla="*/ 0 h 161"/>
                <a:gd name="T6" fmla="*/ 88 w 136"/>
                <a:gd name="T7" fmla="*/ 90 h 161"/>
                <a:gd name="T8" fmla="*/ 116 w 136"/>
                <a:gd name="T9" fmla="*/ 127 h 161"/>
                <a:gd name="T10" fmla="*/ 116 w 136"/>
                <a:gd name="T11" fmla="*/ 127 h 161"/>
                <a:gd name="T12" fmla="*/ 116 w 136"/>
                <a:gd name="T13" fmla="*/ 81 h 161"/>
                <a:gd name="T14" fmla="*/ 116 w 136"/>
                <a:gd name="T15" fmla="*/ 0 h 161"/>
                <a:gd name="T16" fmla="*/ 136 w 136"/>
                <a:gd name="T17" fmla="*/ 0 h 161"/>
                <a:gd name="T18" fmla="*/ 136 w 136"/>
                <a:gd name="T19" fmla="*/ 161 h 161"/>
                <a:gd name="T20" fmla="*/ 116 w 136"/>
                <a:gd name="T21" fmla="*/ 161 h 161"/>
                <a:gd name="T22" fmla="*/ 49 w 136"/>
                <a:gd name="T23" fmla="*/ 72 h 161"/>
                <a:gd name="T24" fmla="*/ 21 w 136"/>
                <a:gd name="T25" fmla="*/ 34 h 161"/>
                <a:gd name="T26" fmla="*/ 20 w 136"/>
                <a:gd name="T27" fmla="*/ 34 h 161"/>
                <a:gd name="T28" fmla="*/ 21 w 136"/>
                <a:gd name="T29" fmla="*/ 80 h 161"/>
                <a:gd name="T30" fmla="*/ 21 w 136"/>
                <a:gd name="T31" fmla="*/ 161 h 161"/>
                <a:gd name="T32" fmla="*/ 0 w 136"/>
                <a:gd name="T33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" h="161">
                  <a:moveTo>
                    <a:pt x="0" y="16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88" y="90"/>
                    <a:pt x="88" y="90"/>
                    <a:pt x="88" y="90"/>
                  </a:cubicBezTo>
                  <a:cubicBezTo>
                    <a:pt x="97" y="102"/>
                    <a:pt x="106" y="114"/>
                    <a:pt x="116" y="127"/>
                  </a:cubicBezTo>
                  <a:cubicBezTo>
                    <a:pt x="116" y="127"/>
                    <a:pt x="116" y="127"/>
                    <a:pt x="116" y="127"/>
                  </a:cubicBezTo>
                  <a:cubicBezTo>
                    <a:pt x="116" y="113"/>
                    <a:pt x="116" y="97"/>
                    <a:pt x="116" y="81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6" y="161"/>
                    <a:pt x="136" y="161"/>
                    <a:pt x="136" y="161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39" y="60"/>
                    <a:pt x="30" y="47"/>
                    <a:pt x="21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1" y="48"/>
                    <a:pt x="21" y="65"/>
                    <a:pt x="21" y="80"/>
                  </a:cubicBezTo>
                  <a:cubicBezTo>
                    <a:pt x="21" y="161"/>
                    <a:pt x="21" y="161"/>
                    <a:pt x="21" y="161"/>
                  </a:cubicBezTo>
                  <a:lnTo>
                    <a:pt x="0" y="16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" name="Freeform 8">
              <a:extLst>
                <a:ext uri="{FF2B5EF4-FFF2-40B4-BE49-F238E27FC236}">
                  <a16:creationId xmlns:a16="http://schemas.microsoft.com/office/drawing/2014/main" id="{9C56225E-DEE0-4BC7-9BAF-A836577675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36729" y="6115872"/>
              <a:ext cx="101750" cy="113253"/>
            </a:xfrm>
            <a:custGeom>
              <a:avLst/>
              <a:gdLst>
                <a:gd name="T0" fmla="*/ 0 w 145"/>
                <a:gd name="T1" fmla="*/ 0 h 161"/>
                <a:gd name="T2" fmla="*/ 23 w 145"/>
                <a:gd name="T3" fmla="*/ 0 h 161"/>
                <a:gd name="T4" fmla="*/ 57 w 145"/>
                <a:gd name="T5" fmla="*/ 90 h 161"/>
                <a:gd name="T6" fmla="*/ 73 w 145"/>
                <a:gd name="T7" fmla="*/ 133 h 161"/>
                <a:gd name="T8" fmla="*/ 73 w 145"/>
                <a:gd name="T9" fmla="*/ 133 h 161"/>
                <a:gd name="T10" fmla="*/ 89 w 145"/>
                <a:gd name="T11" fmla="*/ 90 h 161"/>
                <a:gd name="T12" fmla="*/ 124 w 145"/>
                <a:gd name="T13" fmla="*/ 0 h 161"/>
                <a:gd name="T14" fmla="*/ 145 w 145"/>
                <a:gd name="T15" fmla="*/ 0 h 161"/>
                <a:gd name="T16" fmla="*/ 84 w 145"/>
                <a:gd name="T17" fmla="*/ 161 h 161"/>
                <a:gd name="T18" fmla="*/ 62 w 145"/>
                <a:gd name="T19" fmla="*/ 161 h 161"/>
                <a:gd name="T20" fmla="*/ 0 w 145"/>
                <a:gd name="T21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5" h="161">
                  <a:moveTo>
                    <a:pt x="0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62" y="104"/>
                    <a:pt x="67" y="118"/>
                    <a:pt x="73" y="133"/>
                  </a:cubicBezTo>
                  <a:cubicBezTo>
                    <a:pt x="73" y="133"/>
                    <a:pt x="73" y="133"/>
                    <a:pt x="73" y="133"/>
                  </a:cubicBezTo>
                  <a:cubicBezTo>
                    <a:pt x="79" y="118"/>
                    <a:pt x="84" y="104"/>
                    <a:pt x="89" y="9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84" y="161"/>
                    <a:pt x="84" y="161"/>
                    <a:pt x="84" y="161"/>
                  </a:cubicBezTo>
                  <a:cubicBezTo>
                    <a:pt x="62" y="161"/>
                    <a:pt x="62" y="161"/>
                    <a:pt x="62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" name="Freeform 9">
              <a:extLst>
                <a:ext uri="{FF2B5EF4-FFF2-40B4-BE49-F238E27FC236}">
                  <a16:creationId xmlns:a16="http://schemas.microsoft.com/office/drawing/2014/main" id="{A4B0150F-461F-4C57-953C-2A11598913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60009" y="6115872"/>
              <a:ext cx="66654" cy="113253"/>
            </a:xfrm>
            <a:custGeom>
              <a:avLst/>
              <a:gdLst>
                <a:gd name="T0" fmla="*/ 0 w 226"/>
                <a:gd name="T1" fmla="*/ 0 h 384"/>
                <a:gd name="T2" fmla="*/ 221 w 226"/>
                <a:gd name="T3" fmla="*/ 0 h 384"/>
                <a:gd name="T4" fmla="*/ 221 w 226"/>
                <a:gd name="T5" fmla="*/ 45 h 384"/>
                <a:gd name="T6" fmla="*/ 50 w 226"/>
                <a:gd name="T7" fmla="*/ 45 h 384"/>
                <a:gd name="T8" fmla="*/ 50 w 226"/>
                <a:gd name="T9" fmla="*/ 162 h 384"/>
                <a:gd name="T10" fmla="*/ 199 w 226"/>
                <a:gd name="T11" fmla="*/ 162 h 384"/>
                <a:gd name="T12" fmla="*/ 199 w 226"/>
                <a:gd name="T13" fmla="*/ 207 h 384"/>
                <a:gd name="T14" fmla="*/ 50 w 226"/>
                <a:gd name="T15" fmla="*/ 207 h 384"/>
                <a:gd name="T16" fmla="*/ 50 w 226"/>
                <a:gd name="T17" fmla="*/ 338 h 384"/>
                <a:gd name="T18" fmla="*/ 226 w 226"/>
                <a:gd name="T19" fmla="*/ 338 h 384"/>
                <a:gd name="T20" fmla="*/ 226 w 226"/>
                <a:gd name="T21" fmla="*/ 384 h 384"/>
                <a:gd name="T22" fmla="*/ 0 w 226"/>
                <a:gd name="T23" fmla="*/ 384 h 384"/>
                <a:gd name="T24" fmla="*/ 0 w 226"/>
                <a:gd name="T25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" h="384">
                  <a:moveTo>
                    <a:pt x="0" y="0"/>
                  </a:moveTo>
                  <a:lnTo>
                    <a:pt x="221" y="0"/>
                  </a:lnTo>
                  <a:lnTo>
                    <a:pt x="221" y="45"/>
                  </a:lnTo>
                  <a:lnTo>
                    <a:pt x="50" y="45"/>
                  </a:lnTo>
                  <a:lnTo>
                    <a:pt x="50" y="162"/>
                  </a:lnTo>
                  <a:lnTo>
                    <a:pt x="199" y="162"/>
                  </a:lnTo>
                  <a:lnTo>
                    <a:pt x="199" y="207"/>
                  </a:lnTo>
                  <a:lnTo>
                    <a:pt x="50" y="207"/>
                  </a:lnTo>
                  <a:lnTo>
                    <a:pt x="50" y="338"/>
                  </a:lnTo>
                  <a:lnTo>
                    <a:pt x="226" y="338"/>
                  </a:lnTo>
                  <a:lnTo>
                    <a:pt x="226" y="384"/>
                  </a:lnTo>
                  <a:lnTo>
                    <a:pt x="0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" name="Freeform 10">
              <a:extLst>
                <a:ext uri="{FF2B5EF4-FFF2-40B4-BE49-F238E27FC236}">
                  <a16:creationId xmlns:a16="http://schemas.microsoft.com/office/drawing/2014/main" id="{ABC4F550-0B0F-46F4-9CDB-53266CEC69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50257" y="6114397"/>
              <a:ext cx="74322" cy="116792"/>
            </a:xfrm>
            <a:custGeom>
              <a:avLst/>
              <a:gdLst>
                <a:gd name="T0" fmla="*/ 4 w 106"/>
                <a:gd name="T1" fmla="*/ 130 h 166"/>
                <a:gd name="T2" fmla="*/ 52 w 106"/>
                <a:gd name="T3" fmla="*/ 146 h 166"/>
                <a:gd name="T4" fmla="*/ 85 w 106"/>
                <a:gd name="T5" fmla="*/ 120 h 166"/>
                <a:gd name="T6" fmla="*/ 45 w 106"/>
                <a:gd name="T7" fmla="*/ 90 h 166"/>
                <a:gd name="T8" fmla="*/ 0 w 106"/>
                <a:gd name="T9" fmla="*/ 45 h 166"/>
                <a:gd name="T10" fmla="*/ 52 w 106"/>
                <a:gd name="T11" fmla="*/ 0 h 166"/>
                <a:gd name="T12" fmla="*/ 99 w 106"/>
                <a:gd name="T13" fmla="*/ 12 h 166"/>
                <a:gd name="T14" fmla="*/ 99 w 106"/>
                <a:gd name="T15" fmla="*/ 34 h 166"/>
                <a:gd name="T16" fmla="*/ 52 w 106"/>
                <a:gd name="T17" fmla="*/ 19 h 166"/>
                <a:gd name="T18" fmla="*/ 21 w 106"/>
                <a:gd name="T19" fmla="*/ 43 h 166"/>
                <a:gd name="T20" fmla="*/ 59 w 106"/>
                <a:gd name="T21" fmla="*/ 72 h 166"/>
                <a:gd name="T22" fmla="*/ 106 w 106"/>
                <a:gd name="T23" fmla="*/ 119 h 166"/>
                <a:gd name="T24" fmla="*/ 52 w 106"/>
                <a:gd name="T25" fmla="*/ 166 h 166"/>
                <a:gd name="T26" fmla="*/ 4 w 106"/>
                <a:gd name="T27" fmla="*/ 153 h 166"/>
                <a:gd name="T28" fmla="*/ 4 w 106"/>
                <a:gd name="T29" fmla="*/ 13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6" h="166">
                  <a:moveTo>
                    <a:pt x="4" y="130"/>
                  </a:moveTo>
                  <a:cubicBezTo>
                    <a:pt x="19" y="141"/>
                    <a:pt x="38" y="146"/>
                    <a:pt x="52" y="146"/>
                  </a:cubicBezTo>
                  <a:cubicBezTo>
                    <a:pt x="71" y="146"/>
                    <a:pt x="85" y="138"/>
                    <a:pt x="85" y="120"/>
                  </a:cubicBezTo>
                  <a:cubicBezTo>
                    <a:pt x="85" y="99"/>
                    <a:pt x="66" y="96"/>
                    <a:pt x="45" y="90"/>
                  </a:cubicBezTo>
                  <a:cubicBezTo>
                    <a:pt x="22" y="83"/>
                    <a:pt x="0" y="74"/>
                    <a:pt x="0" y="45"/>
                  </a:cubicBezTo>
                  <a:cubicBezTo>
                    <a:pt x="0" y="16"/>
                    <a:pt x="21" y="0"/>
                    <a:pt x="52" y="0"/>
                  </a:cubicBezTo>
                  <a:cubicBezTo>
                    <a:pt x="67" y="0"/>
                    <a:pt x="86" y="4"/>
                    <a:pt x="99" y="12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84" y="24"/>
                    <a:pt x="66" y="19"/>
                    <a:pt x="52" y="19"/>
                  </a:cubicBezTo>
                  <a:cubicBezTo>
                    <a:pt x="34" y="19"/>
                    <a:pt x="21" y="27"/>
                    <a:pt x="21" y="43"/>
                  </a:cubicBezTo>
                  <a:cubicBezTo>
                    <a:pt x="21" y="63"/>
                    <a:pt x="40" y="67"/>
                    <a:pt x="59" y="72"/>
                  </a:cubicBezTo>
                  <a:cubicBezTo>
                    <a:pt x="83" y="79"/>
                    <a:pt x="106" y="88"/>
                    <a:pt x="106" y="119"/>
                  </a:cubicBezTo>
                  <a:cubicBezTo>
                    <a:pt x="106" y="148"/>
                    <a:pt x="84" y="166"/>
                    <a:pt x="52" y="166"/>
                  </a:cubicBezTo>
                  <a:cubicBezTo>
                    <a:pt x="37" y="166"/>
                    <a:pt x="18" y="161"/>
                    <a:pt x="4" y="153"/>
                  </a:cubicBezTo>
                  <a:lnTo>
                    <a:pt x="4" y="13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" name="Freeform 11">
              <a:extLst>
                <a:ext uri="{FF2B5EF4-FFF2-40B4-BE49-F238E27FC236}">
                  <a16:creationId xmlns:a16="http://schemas.microsoft.com/office/drawing/2014/main" id="{D4D51628-17C0-4828-A2D1-271E4328AB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35786" y="6115872"/>
              <a:ext cx="90248" cy="113253"/>
            </a:xfrm>
            <a:custGeom>
              <a:avLst/>
              <a:gdLst>
                <a:gd name="T0" fmla="*/ 128 w 306"/>
                <a:gd name="T1" fmla="*/ 45 h 384"/>
                <a:gd name="T2" fmla="*/ 0 w 306"/>
                <a:gd name="T3" fmla="*/ 45 h 384"/>
                <a:gd name="T4" fmla="*/ 0 w 306"/>
                <a:gd name="T5" fmla="*/ 0 h 384"/>
                <a:gd name="T6" fmla="*/ 306 w 306"/>
                <a:gd name="T7" fmla="*/ 0 h 384"/>
                <a:gd name="T8" fmla="*/ 306 w 306"/>
                <a:gd name="T9" fmla="*/ 45 h 384"/>
                <a:gd name="T10" fmla="*/ 178 w 306"/>
                <a:gd name="T11" fmla="*/ 45 h 384"/>
                <a:gd name="T12" fmla="*/ 178 w 306"/>
                <a:gd name="T13" fmla="*/ 384 h 384"/>
                <a:gd name="T14" fmla="*/ 128 w 306"/>
                <a:gd name="T15" fmla="*/ 384 h 384"/>
                <a:gd name="T16" fmla="*/ 128 w 306"/>
                <a:gd name="T17" fmla="*/ 45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6" h="384">
                  <a:moveTo>
                    <a:pt x="128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306" y="0"/>
                  </a:lnTo>
                  <a:lnTo>
                    <a:pt x="306" y="45"/>
                  </a:lnTo>
                  <a:lnTo>
                    <a:pt x="178" y="45"/>
                  </a:lnTo>
                  <a:lnTo>
                    <a:pt x="178" y="384"/>
                  </a:lnTo>
                  <a:lnTo>
                    <a:pt x="128" y="384"/>
                  </a:lnTo>
                  <a:lnTo>
                    <a:pt x="128" y="4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" name="Freeform 12">
              <a:extLst>
                <a:ext uri="{FF2B5EF4-FFF2-40B4-BE49-F238E27FC236}">
                  <a16:creationId xmlns:a16="http://schemas.microsoft.com/office/drawing/2014/main" id="{F69032A7-22BC-4758-91C4-F952E59B21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4066" y="6270414"/>
              <a:ext cx="153953" cy="113253"/>
            </a:xfrm>
            <a:custGeom>
              <a:avLst/>
              <a:gdLst>
                <a:gd name="T0" fmla="*/ 0 w 220"/>
                <a:gd name="T1" fmla="*/ 0 h 161"/>
                <a:gd name="T2" fmla="*/ 22 w 220"/>
                <a:gd name="T3" fmla="*/ 0 h 161"/>
                <a:gd name="T4" fmla="*/ 49 w 220"/>
                <a:gd name="T5" fmla="*/ 87 h 161"/>
                <a:gd name="T6" fmla="*/ 62 w 220"/>
                <a:gd name="T7" fmla="*/ 129 h 161"/>
                <a:gd name="T8" fmla="*/ 62 w 220"/>
                <a:gd name="T9" fmla="*/ 129 h 161"/>
                <a:gd name="T10" fmla="*/ 75 w 220"/>
                <a:gd name="T11" fmla="*/ 87 h 161"/>
                <a:gd name="T12" fmla="*/ 103 w 220"/>
                <a:gd name="T13" fmla="*/ 0 h 161"/>
                <a:gd name="T14" fmla="*/ 118 w 220"/>
                <a:gd name="T15" fmla="*/ 0 h 161"/>
                <a:gd name="T16" fmla="*/ 145 w 220"/>
                <a:gd name="T17" fmla="*/ 87 h 161"/>
                <a:gd name="T18" fmla="*/ 158 w 220"/>
                <a:gd name="T19" fmla="*/ 129 h 161"/>
                <a:gd name="T20" fmla="*/ 159 w 220"/>
                <a:gd name="T21" fmla="*/ 129 h 161"/>
                <a:gd name="T22" fmla="*/ 171 w 220"/>
                <a:gd name="T23" fmla="*/ 87 h 161"/>
                <a:gd name="T24" fmla="*/ 198 w 220"/>
                <a:gd name="T25" fmla="*/ 0 h 161"/>
                <a:gd name="T26" fmla="*/ 220 w 220"/>
                <a:gd name="T27" fmla="*/ 0 h 161"/>
                <a:gd name="T28" fmla="*/ 170 w 220"/>
                <a:gd name="T29" fmla="*/ 161 h 161"/>
                <a:gd name="T30" fmla="*/ 147 w 220"/>
                <a:gd name="T31" fmla="*/ 161 h 161"/>
                <a:gd name="T32" fmla="*/ 121 w 220"/>
                <a:gd name="T33" fmla="*/ 79 h 161"/>
                <a:gd name="T34" fmla="*/ 110 w 220"/>
                <a:gd name="T35" fmla="*/ 42 h 161"/>
                <a:gd name="T36" fmla="*/ 110 w 220"/>
                <a:gd name="T37" fmla="*/ 42 h 161"/>
                <a:gd name="T38" fmla="*/ 98 w 220"/>
                <a:gd name="T39" fmla="*/ 79 h 161"/>
                <a:gd name="T40" fmla="*/ 73 w 220"/>
                <a:gd name="T41" fmla="*/ 161 h 161"/>
                <a:gd name="T42" fmla="*/ 50 w 220"/>
                <a:gd name="T43" fmla="*/ 161 h 161"/>
                <a:gd name="T44" fmla="*/ 0 w 220"/>
                <a:gd name="T45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0" h="161">
                  <a:moveTo>
                    <a:pt x="0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54" y="101"/>
                    <a:pt x="58" y="115"/>
                    <a:pt x="62" y="129"/>
                  </a:cubicBezTo>
                  <a:cubicBezTo>
                    <a:pt x="62" y="129"/>
                    <a:pt x="62" y="129"/>
                    <a:pt x="62" y="129"/>
                  </a:cubicBezTo>
                  <a:cubicBezTo>
                    <a:pt x="66" y="115"/>
                    <a:pt x="71" y="101"/>
                    <a:pt x="75" y="87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45" y="87"/>
                    <a:pt x="145" y="87"/>
                    <a:pt x="145" y="87"/>
                  </a:cubicBezTo>
                  <a:cubicBezTo>
                    <a:pt x="150" y="101"/>
                    <a:pt x="154" y="115"/>
                    <a:pt x="158" y="129"/>
                  </a:cubicBezTo>
                  <a:cubicBezTo>
                    <a:pt x="159" y="129"/>
                    <a:pt x="159" y="129"/>
                    <a:pt x="159" y="129"/>
                  </a:cubicBezTo>
                  <a:cubicBezTo>
                    <a:pt x="163" y="115"/>
                    <a:pt x="167" y="101"/>
                    <a:pt x="171" y="87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170" y="161"/>
                    <a:pt x="170" y="161"/>
                    <a:pt x="170" y="161"/>
                  </a:cubicBezTo>
                  <a:cubicBezTo>
                    <a:pt x="147" y="161"/>
                    <a:pt x="147" y="161"/>
                    <a:pt x="147" y="161"/>
                  </a:cubicBezTo>
                  <a:cubicBezTo>
                    <a:pt x="121" y="79"/>
                    <a:pt x="121" y="79"/>
                    <a:pt x="121" y="79"/>
                  </a:cubicBezTo>
                  <a:cubicBezTo>
                    <a:pt x="117" y="66"/>
                    <a:pt x="114" y="54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06" y="54"/>
                    <a:pt x="102" y="67"/>
                    <a:pt x="98" y="79"/>
                  </a:cubicBezTo>
                  <a:cubicBezTo>
                    <a:pt x="73" y="161"/>
                    <a:pt x="73" y="161"/>
                    <a:pt x="73" y="161"/>
                  </a:cubicBezTo>
                  <a:cubicBezTo>
                    <a:pt x="50" y="161"/>
                    <a:pt x="50" y="161"/>
                    <a:pt x="50" y="16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" name="Freeform 13">
              <a:extLst>
                <a:ext uri="{FF2B5EF4-FFF2-40B4-BE49-F238E27FC236}">
                  <a16:creationId xmlns:a16="http://schemas.microsoft.com/office/drawing/2014/main" id="{9703A661-DF9D-46EB-9410-1F7A083F338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490111" y="6268940"/>
              <a:ext cx="114727" cy="115907"/>
            </a:xfrm>
            <a:custGeom>
              <a:avLst/>
              <a:gdLst>
                <a:gd name="T0" fmla="*/ 82 w 164"/>
                <a:gd name="T1" fmla="*/ 0 h 165"/>
                <a:gd name="T2" fmla="*/ 164 w 164"/>
                <a:gd name="T3" fmla="*/ 82 h 165"/>
                <a:gd name="T4" fmla="*/ 82 w 164"/>
                <a:gd name="T5" fmla="*/ 165 h 165"/>
                <a:gd name="T6" fmla="*/ 0 w 164"/>
                <a:gd name="T7" fmla="*/ 82 h 165"/>
                <a:gd name="T8" fmla="*/ 82 w 164"/>
                <a:gd name="T9" fmla="*/ 0 h 165"/>
                <a:gd name="T10" fmla="*/ 82 w 164"/>
                <a:gd name="T11" fmla="*/ 146 h 165"/>
                <a:gd name="T12" fmla="*/ 143 w 164"/>
                <a:gd name="T13" fmla="*/ 82 h 165"/>
                <a:gd name="T14" fmla="*/ 82 w 164"/>
                <a:gd name="T15" fmla="*/ 19 h 165"/>
                <a:gd name="T16" fmla="*/ 22 w 164"/>
                <a:gd name="T17" fmla="*/ 82 h 165"/>
                <a:gd name="T18" fmla="*/ 82 w 164"/>
                <a:gd name="T19" fmla="*/ 146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5">
                  <a:moveTo>
                    <a:pt x="82" y="0"/>
                  </a:moveTo>
                  <a:cubicBezTo>
                    <a:pt x="129" y="0"/>
                    <a:pt x="164" y="36"/>
                    <a:pt x="164" y="82"/>
                  </a:cubicBezTo>
                  <a:cubicBezTo>
                    <a:pt x="164" y="129"/>
                    <a:pt x="129" y="165"/>
                    <a:pt x="82" y="165"/>
                  </a:cubicBezTo>
                  <a:cubicBezTo>
                    <a:pt x="36" y="165"/>
                    <a:pt x="0" y="129"/>
                    <a:pt x="0" y="82"/>
                  </a:cubicBezTo>
                  <a:cubicBezTo>
                    <a:pt x="0" y="36"/>
                    <a:pt x="36" y="0"/>
                    <a:pt x="82" y="0"/>
                  </a:cubicBezTo>
                  <a:close/>
                  <a:moveTo>
                    <a:pt x="82" y="146"/>
                  </a:moveTo>
                  <a:cubicBezTo>
                    <a:pt x="117" y="146"/>
                    <a:pt x="143" y="118"/>
                    <a:pt x="143" y="82"/>
                  </a:cubicBezTo>
                  <a:cubicBezTo>
                    <a:pt x="143" y="47"/>
                    <a:pt x="117" y="19"/>
                    <a:pt x="82" y="19"/>
                  </a:cubicBezTo>
                  <a:cubicBezTo>
                    <a:pt x="47" y="19"/>
                    <a:pt x="22" y="47"/>
                    <a:pt x="22" y="82"/>
                  </a:cubicBezTo>
                  <a:cubicBezTo>
                    <a:pt x="22" y="118"/>
                    <a:pt x="47" y="146"/>
                    <a:pt x="82" y="14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" name="Freeform 14">
              <a:extLst>
                <a:ext uri="{FF2B5EF4-FFF2-40B4-BE49-F238E27FC236}">
                  <a16:creationId xmlns:a16="http://schemas.microsoft.com/office/drawing/2014/main" id="{7E5E2063-914E-4654-B51A-C27F6846F0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631382" y="6270414"/>
              <a:ext cx="86119" cy="113253"/>
            </a:xfrm>
            <a:custGeom>
              <a:avLst/>
              <a:gdLst>
                <a:gd name="T0" fmla="*/ 0 w 123"/>
                <a:gd name="T1" fmla="*/ 0 h 161"/>
                <a:gd name="T2" fmla="*/ 43 w 123"/>
                <a:gd name="T3" fmla="*/ 0 h 161"/>
                <a:gd name="T4" fmla="*/ 88 w 123"/>
                <a:gd name="T5" fmla="*/ 8 h 161"/>
                <a:gd name="T6" fmla="*/ 111 w 123"/>
                <a:gd name="T7" fmla="*/ 46 h 161"/>
                <a:gd name="T8" fmla="*/ 90 w 123"/>
                <a:gd name="T9" fmla="*/ 83 h 161"/>
                <a:gd name="T10" fmla="*/ 71 w 123"/>
                <a:gd name="T11" fmla="*/ 90 h 161"/>
                <a:gd name="T12" fmla="*/ 123 w 123"/>
                <a:gd name="T13" fmla="*/ 161 h 161"/>
                <a:gd name="T14" fmla="*/ 97 w 123"/>
                <a:gd name="T15" fmla="*/ 161 h 161"/>
                <a:gd name="T16" fmla="*/ 48 w 123"/>
                <a:gd name="T17" fmla="*/ 92 h 161"/>
                <a:gd name="T18" fmla="*/ 21 w 123"/>
                <a:gd name="T19" fmla="*/ 92 h 161"/>
                <a:gd name="T20" fmla="*/ 21 w 123"/>
                <a:gd name="T21" fmla="*/ 161 h 161"/>
                <a:gd name="T22" fmla="*/ 0 w 123"/>
                <a:gd name="T23" fmla="*/ 161 h 161"/>
                <a:gd name="T24" fmla="*/ 0 w 123"/>
                <a:gd name="T25" fmla="*/ 0 h 161"/>
                <a:gd name="T26" fmla="*/ 48 w 123"/>
                <a:gd name="T27" fmla="*/ 75 h 161"/>
                <a:gd name="T28" fmla="*/ 80 w 123"/>
                <a:gd name="T29" fmla="*/ 67 h 161"/>
                <a:gd name="T30" fmla="*/ 89 w 123"/>
                <a:gd name="T31" fmla="*/ 47 h 161"/>
                <a:gd name="T32" fmla="*/ 76 w 123"/>
                <a:gd name="T33" fmla="*/ 25 h 161"/>
                <a:gd name="T34" fmla="*/ 42 w 123"/>
                <a:gd name="T35" fmla="*/ 19 h 161"/>
                <a:gd name="T36" fmla="*/ 21 w 123"/>
                <a:gd name="T37" fmla="*/ 19 h 161"/>
                <a:gd name="T38" fmla="*/ 21 w 123"/>
                <a:gd name="T39" fmla="*/ 75 h 161"/>
                <a:gd name="T40" fmla="*/ 48 w 123"/>
                <a:gd name="T41" fmla="*/ 75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3" h="161">
                  <a:moveTo>
                    <a:pt x="0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60" y="0"/>
                    <a:pt x="75" y="1"/>
                    <a:pt x="88" y="8"/>
                  </a:cubicBezTo>
                  <a:cubicBezTo>
                    <a:pt x="102" y="15"/>
                    <a:pt x="111" y="28"/>
                    <a:pt x="111" y="46"/>
                  </a:cubicBezTo>
                  <a:cubicBezTo>
                    <a:pt x="111" y="63"/>
                    <a:pt x="102" y="76"/>
                    <a:pt x="90" y="83"/>
                  </a:cubicBezTo>
                  <a:cubicBezTo>
                    <a:pt x="84" y="87"/>
                    <a:pt x="78" y="89"/>
                    <a:pt x="71" y="90"/>
                  </a:cubicBezTo>
                  <a:cubicBezTo>
                    <a:pt x="123" y="161"/>
                    <a:pt x="123" y="161"/>
                    <a:pt x="123" y="161"/>
                  </a:cubicBezTo>
                  <a:cubicBezTo>
                    <a:pt x="97" y="161"/>
                    <a:pt x="97" y="161"/>
                    <a:pt x="97" y="161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0" y="161"/>
                    <a:pt x="0" y="161"/>
                    <a:pt x="0" y="161"/>
                  </a:cubicBezTo>
                  <a:lnTo>
                    <a:pt x="0" y="0"/>
                  </a:lnTo>
                  <a:close/>
                  <a:moveTo>
                    <a:pt x="48" y="75"/>
                  </a:moveTo>
                  <a:cubicBezTo>
                    <a:pt x="63" y="75"/>
                    <a:pt x="73" y="73"/>
                    <a:pt x="80" y="67"/>
                  </a:cubicBezTo>
                  <a:cubicBezTo>
                    <a:pt x="86" y="63"/>
                    <a:pt x="89" y="56"/>
                    <a:pt x="89" y="47"/>
                  </a:cubicBezTo>
                  <a:cubicBezTo>
                    <a:pt x="89" y="37"/>
                    <a:pt x="85" y="29"/>
                    <a:pt x="76" y="25"/>
                  </a:cubicBezTo>
                  <a:cubicBezTo>
                    <a:pt x="68" y="20"/>
                    <a:pt x="57" y="19"/>
                    <a:pt x="42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75"/>
                    <a:pt x="21" y="75"/>
                    <a:pt x="21" y="75"/>
                  </a:cubicBezTo>
                  <a:lnTo>
                    <a:pt x="48" y="7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" name="Freeform 15">
              <a:extLst>
                <a:ext uri="{FF2B5EF4-FFF2-40B4-BE49-F238E27FC236}">
                  <a16:creationId xmlns:a16="http://schemas.microsoft.com/office/drawing/2014/main" id="{096ABFB1-000D-4EF9-AF51-C838608FED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44929" y="6270414"/>
              <a:ext cx="86709" cy="113253"/>
            </a:xfrm>
            <a:custGeom>
              <a:avLst/>
              <a:gdLst>
                <a:gd name="T0" fmla="*/ 0 w 294"/>
                <a:gd name="T1" fmla="*/ 0 h 384"/>
                <a:gd name="T2" fmla="*/ 49 w 294"/>
                <a:gd name="T3" fmla="*/ 0 h 384"/>
                <a:gd name="T4" fmla="*/ 49 w 294"/>
                <a:gd name="T5" fmla="*/ 174 h 384"/>
                <a:gd name="T6" fmla="*/ 49 w 294"/>
                <a:gd name="T7" fmla="*/ 174 h 384"/>
                <a:gd name="T8" fmla="*/ 216 w 294"/>
                <a:gd name="T9" fmla="*/ 0 h 384"/>
                <a:gd name="T10" fmla="*/ 280 w 294"/>
                <a:gd name="T11" fmla="*/ 0 h 384"/>
                <a:gd name="T12" fmla="*/ 106 w 294"/>
                <a:gd name="T13" fmla="*/ 179 h 384"/>
                <a:gd name="T14" fmla="*/ 294 w 294"/>
                <a:gd name="T15" fmla="*/ 384 h 384"/>
                <a:gd name="T16" fmla="*/ 227 w 294"/>
                <a:gd name="T17" fmla="*/ 384 h 384"/>
                <a:gd name="T18" fmla="*/ 49 w 294"/>
                <a:gd name="T19" fmla="*/ 186 h 384"/>
                <a:gd name="T20" fmla="*/ 49 w 294"/>
                <a:gd name="T21" fmla="*/ 186 h 384"/>
                <a:gd name="T22" fmla="*/ 49 w 294"/>
                <a:gd name="T23" fmla="*/ 384 h 384"/>
                <a:gd name="T24" fmla="*/ 0 w 294"/>
                <a:gd name="T25" fmla="*/ 384 h 384"/>
                <a:gd name="T26" fmla="*/ 0 w 294"/>
                <a:gd name="T27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4" h="384">
                  <a:moveTo>
                    <a:pt x="0" y="0"/>
                  </a:moveTo>
                  <a:lnTo>
                    <a:pt x="49" y="0"/>
                  </a:lnTo>
                  <a:lnTo>
                    <a:pt x="49" y="174"/>
                  </a:lnTo>
                  <a:lnTo>
                    <a:pt x="49" y="174"/>
                  </a:lnTo>
                  <a:lnTo>
                    <a:pt x="216" y="0"/>
                  </a:lnTo>
                  <a:lnTo>
                    <a:pt x="280" y="0"/>
                  </a:lnTo>
                  <a:lnTo>
                    <a:pt x="106" y="179"/>
                  </a:lnTo>
                  <a:lnTo>
                    <a:pt x="294" y="384"/>
                  </a:lnTo>
                  <a:lnTo>
                    <a:pt x="227" y="384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384"/>
                  </a:lnTo>
                  <a:lnTo>
                    <a:pt x="0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" name="Freeform 16">
              <a:extLst>
                <a:ext uri="{FF2B5EF4-FFF2-40B4-BE49-F238E27FC236}">
                  <a16:creationId xmlns:a16="http://schemas.microsoft.com/office/drawing/2014/main" id="{EAEBC4A3-2171-4610-B11B-E1763D8C65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67106" y="6424367"/>
              <a:ext cx="66359" cy="112958"/>
            </a:xfrm>
            <a:custGeom>
              <a:avLst/>
              <a:gdLst>
                <a:gd name="T0" fmla="*/ 0 w 225"/>
                <a:gd name="T1" fmla="*/ 0 h 383"/>
                <a:gd name="T2" fmla="*/ 225 w 225"/>
                <a:gd name="T3" fmla="*/ 0 h 383"/>
                <a:gd name="T4" fmla="*/ 225 w 225"/>
                <a:gd name="T5" fmla="*/ 45 h 383"/>
                <a:gd name="T6" fmla="*/ 49 w 225"/>
                <a:gd name="T7" fmla="*/ 45 h 383"/>
                <a:gd name="T8" fmla="*/ 49 w 225"/>
                <a:gd name="T9" fmla="*/ 169 h 383"/>
                <a:gd name="T10" fmla="*/ 204 w 225"/>
                <a:gd name="T11" fmla="*/ 169 h 383"/>
                <a:gd name="T12" fmla="*/ 204 w 225"/>
                <a:gd name="T13" fmla="*/ 214 h 383"/>
                <a:gd name="T14" fmla="*/ 49 w 225"/>
                <a:gd name="T15" fmla="*/ 214 h 383"/>
                <a:gd name="T16" fmla="*/ 49 w 225"/>
                <a:gd name="T17" fmla="*/ 383 h 383"/>
                <a:gd name="T18" fmla="*/ 0 w 225"/>
                <a:gd name="T19" fmla="*/ 383 h 383"/>
                <a:gd name="T20" fmla="*/ 0 w 225"/>
                <a:gd name="T21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5" h="383">
                  <a:moveTo>
                    <a:pt x="0" y="0"/>
                  </a:moveTo>
                  <a:lnTo>
                    <a:pt x="225" y="0"/>
                  </a:lnTo>
                  <a:lnTo>
                    <a:pt x="225" y="45"/>
                  </a:lnTo>
                  <a:lnTo>
                    <a:pt x="49" y="45"/>
                  </a:lnTo>
                  <a:lnTo>
                    <a:pt x="49" y="169"/>
                  </a:lnTo>
                  <a:lnTo>
                    <a:pt x="204" y="169"/>
                  </a:lnTo>
                  <a:lnTo>
                    <a:pt x="204" y="214"/>
                  </a:lnTo>
                  <a:lnTo>
                    <a:pt x="49" y="214"/>
                  </a:lnTo>
                  <a:lnTo>
                    <a:pt x="49" y="383"/>
                  </a:lnTo>
                  <a:lnTo>
                    <a:pt x="0" y="3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" name="Rectangle 17">
              <a:extLst>
                <a:ext uri="{FF2B5EF4-FFF2-40B4-BE49-F238E27FC236}">
                  <a16:creationId xmlns:a16="http://schemas.microsoft.com/office/drawing/2014/main" id="{AF0A0B90-7573-463E-9D9D-4BC4FC21780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565023" y="6424367"/>
              <a:ext cx="14746" cy="11295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" name="Freeform 18">
              <a:extLst>
                <a:ext uri="{FF2B5EF4-FFF2-40B4-BE49-F238E27FC236}">
                  <a16:creationId xmlns:a16="http://schemas.microsoft.com/office/drawing/2014/main" id="{39187812-ABFF-41D4-B84E-ED321FD2CD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15455" y="6424367"/>
              <a:ext cx="67834" cy="112958"/>
            </a:xfrm>
            <a:custGeom>
              <a:avLst/>
              <a:gdLst>
                <a:gd name="T0" fmla="*/ 0 w 230"/>
                <a:gd name="T1" fmla="*/ 0 h 383"/>
                <a:gd name="T2" fmla="*/ 49 w 230"/>
                <a:gd name="T3" fmla="*/ 0 h 383"/>
                <a:gd name="T4" fmla="*/ 49 w 230"/>
                <a:gd name="T5" fmla="*/ 338 h 383"/>
                <a:gd name="T6" fmla="*/ 230 w 230"/>
                <a:gd name="T7" fmla="*/ 338 h 383"/>
                <a:gd name="T8" fmla="*/ 230 w 230"/>
                <a:gd name="T9" fmla="*/ 383 h 383"/>
                <a:gd name="T10" fmla="*/ 0 w 230"/>
                <a:gd name="T11" fmla="*/ 383 h 383"/>
                <a:gd name="T12" fmla="*/ 0 w 230"/>
                <a:gd name="T13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0" h="383">
                  <a:moveTo>
                    <a:pt x="0" y="0"/>
                  </a:moveTo>
                  <a:lnTo>
                    <a:pt x="49" y="0"/>
                  </a:lnTo>
                  <a:lnTo>
                    <a:pt x="49" y="338"/>
                  </a:lnTo>
                  <a:lnTo>
                    <a:pt x="230" y="338"/>
                  </a:lnTo>
                  <a:lnTo>
                    <a:pt x="230" y="383"/>
                  </a:lnTo>
                  <a:lnTo>
                    <a:pt x="0" y="3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" name="Freeform 19">
              <a:extLst>
                <a:ext uri="{FF2B5EF4-FFF2-40B4-BE49-F238E27FC236}">
                  <a16:creationId xmlns:a16="http://schemas.microsoft.com/office/drawing/2014/main" id="{D065D3F7-EF7C-4441-AB78-2337EB2357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08358" y="6424367"/>
              <a:ext cx="108534" cy="112958"/>
            </a:xfrm>
            <a:custGeom>
              <a:avLst/>
              <a:gdLst>
                <a:gd name="T0" fmla="*/ 42 w 155"/>
                <a:gd name="T1" fmla="*/ 67 h 161"/>
                <a:gd name="T2" fmla="*/ 20 w 155"/>
                <a:gd name="T3" fmla="*/ 35 h 161"/>
                <a:gd name="T4" fmla="*/ 20 w 155"/>
                <a:gd name="T5" fmla="*/ 36 h 161"/>
                <a:gd name="T6" fmla="*/ 20 w 155"/>
                <a:gd name="T7" fmla="*/ 71 h 161"/>
                <a:gd name="T8" fmla="*/ 20 w 155"/>
                <a:gd name="T9" fmla="*/ 161 h 161"/>
                <a:gd name="T10" fmla="*/ 0 w 155"/>
                <a:gd name="T11" fmla="*/ 161 h 161"/>
                <a:gd name="T12" fmla="*/ 0 w 155"/>
                <a:gd name="T13" fmla="*/ 0 h 161"/>
                <a:gd name="T14" fmla="*/ 20 w 155"/>
                <a:gd name="T15" fmla="*/ 0 h 161"/>
                <a:gd name="T16" fmla="*/ 78 w 155"/>
                <a:gd name="T17" fmla="*/ 82 h 161"/>
                <a:gd name="T18" fmla="*/ 135 w 155"/>
                <a:gd name="T19" fmla="*/ 0 h 161"/>
                <a:gd name="T20" fmla="*/ 155 w 155"/>
                <a:gd name="T21" fmla="*/ 0 h 161"/>
                <a:gd name="T22" fmla="*/ 155 w 155"/>
                <a:gd name="T23" fmla="*/ 161 h 161"/>
                <a:gd name="T24" fmla="*/ 134 w 155"/>
                <a:gd name="T25" fmla="*/ 161 h 161"/>
                <a:gd name="T26" fmla="*/ 134 w 155"/>
                <a:gd name="T27" fmla="*/ 71 h 161"/>
                <a:gd name="T28" fmla="*/ 134 w 155"/>
                <a:gd name="T29" fmla="*/ 36 h 161"/>
                <a:gd name="T30" fmla="*/ 134 w 155"/>
                <a:gd name="T31" fmla="*/ 35 h 161"/>
                <a:gd name="T32" fmla="*/ 112 w 155"/>
                <a:gd name="T33" fmla="*/ 67 h 161"/>
                <a:gd name="T34" fmla="*/ 77 w 155"/>
                <a:gd name="T35" fmla="*/ 117 h 161"/>
                <a:gd name="T36" fmla="*/ 42 w 155"/>
                <a:gd name="T37" fmla="*/ 67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61">
                  <a:moveTo>
                    <a:pt x="42" y="67"/>
                  </a:moveTo>
                  <a:cubicBezTo>
                    <a:pt x="35" y="57"/>
                    <a:pt x="28" y="46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45"/>
                    <a:pt x="20" y="57"/>
                    <a:pt x="20" y="71"/>
                  </a:cubicBezTo>
                  <a:cubicBezTo>
                    <a:pt x="20" y="161"/>
                    <a:pt x="20" y="161"/>
                    <a:pt x="20" y="161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78" y="82"/>
                    <a:pt x="78" y="82"/>
                    <a:pt x="78" y="82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5" y="161"/>
                    <a:pt x="155" y="161"/>
                    <a:pt x="155" y="161"/>
                  </a:cubicBezTo>
                  <a:cubicBezTo>
                    <a:pt x="134" y="161"/>
                    <a:pt x="134" y="161"/>
                    <a:pt x="134" y="161"/>
                  </a:cubicBezTo>
                  <a:cubicBezTo>
                    <a:pt x="134" y="71"/>
                    <a:pt x="134" y="71"/>
                    <a:pt x="134" y="71"/>
                  </a:cubicBezTo>
                  <a:cubicBezTo>
                    <a:pt x="134" y="57"/>
                    <a:pt x="134" y="45"/>
                    <a:pt x="134" y="36"/>
                  </a:cubicBezTo>
                  <a:cubicBezTo>
                    <a:pt x="134" y="35"/>
                    <a:pt x="134" y="35"/>
                    <a:pt x="134" y="35"/>
                  </a:cubicBezTo>
                  <a:cubicBezTo>
                    <a:pt x="127" y="46"/>
                    <a:pt x="120" y="57"/>
                    <a:pt x="112" y="67"/>
                  </a:cubicBezTo>
                  <a:cubicBezTo>
                    <a:pt x="77" y="117"/>
                    <a:pt x="77" y="117"/>
                    <a:pt x="77" y="117"/>
                  </a:cubicBezTo>
                  <a:lnTo>
                    <a:pt x="42" y="6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" name="Freeform 20">
              <a:extLst>
                <a:ext uri="{FF2B5EF4-FFF2-40B4-BE49-F238E27FC236}">
                  <a16:creationId xmlns:a16="http://schemas.microsoft.com/office/drawing/2014/main" id="{C9F21C67-1735-49F4-985E-E331E05332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09018" y="6115872"/>
              <a:ext cx="510226" cy="421453"/>
            </a:xfrm>
            <a:custGeom>
              <a:avLst/>
              <a:gdLst>
                <a:gd name="T0" fmla="*/ 318 w 1730"/>
                <a:gd name="T1" fmla="*/ 1429 h 1429"/>
                <a:gd name="T2" fmla="*/ 0 w 1730"/>
                <a:gd name="T3" fmla="*/ 1429 h 1429"/>
                <a:gd name="T4" fmla="*/ 721 w 1730"/>
                <a:gd name="T5" fmla="*/ 0 h 1429"/>
                <a:gd name="T6" fmla="*/ 1008 w 1730"/>
                <a:gd name="T7" fmla="*/ 0 h 1429"/>
                <a:gd name="T8" fmla="*/ 1730 w 1730"/>
                <a:gd name="T9" fmla="*/ 1429 h 1429"/>
                <a:gd name="T10" fmla="*/ 1404 w 1730"/>
                <a:gd name="T11" fmla="*/ 1429 h 1429"/>
                <a:gd name="T12" fmla="*/ 861 w 1730"/>
                <a:gd name="T13" fmla="*/ 376 h 1429"/>
                <a:gd name="T14" fmla="*/ 318 w 1730"/>
                <a:gd name="T15" fmla="*/ 1429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0" h="1429">
                  <a:moveTo>
                    <a:pt x="318" y="1429"/>
                  </a:moveTo>
                  <a:lnTo>
                    <a:pt x="0" y="1429"/>
                  </a:lnTo>
                  <a:lnTo>
                    <a:pt x="721" y="0"/>
                  </a:lnTo>
                  <a:lnTo>
                    <a:pt x="1008" y="0"/>
                  </a:lnTo>
                  <a:lnTo>
                    <a:pt x="1730" y="1429"/>
                  </a:lnTo>
                  <a:lnTo>
                    <a:pt x="1404" y="1429"/>
                  </a:lnTo>
                  <a:lnTo>
                    <a:pt x="861" y="376"/>
                  </a:lnTo>
                  <a:lnTo>
                    <a:pt x="318" y="142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" name="Freeform 21">
              <a:extLst>
                <a:ext uri="{FF2B5EF4-FFF2-40B4-BE49-F238E27FC236}">
                  <a16:creationId xmlns:a16="http://schemas.microsoft.com/office/drawing/2014/main" id="{36D05745-9F6D-49B0-9678-5E6B0855142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382949" y="6118821"/>
              <a:ext cx="353914" cy="418504"/>
            </a:xfrm>
            <a:custGeom>
              <a:avLst/>
              <a:gdLst>
                <a:gd name="T0" fmla="*/ 0 w 506"/>
                <a:gd name="T1" fmla="*/ 596 h 596"/>
                <a:gd name="T2" fmla="*/ 74 w 506"/>
                <a:gd name="T3" fmla="*/ 596 h 596"/>
                <a:gd name="T4" fmla="*/ 127 w 506"/>
                <a:gd name="T5" fmla="*/ 596 h 596"/>
                <a:gd name="T6" fmla="*/ 283 w 506"/>
                <a:gd name="T7" fmla="*/ 596 h 596"/>
                <a:gd name="T8" fmla="*/ 506 w 506"/>
                <a:gd name="T9" fmla="*/ 433 h 596"/>
                <a:gd name="T10" fmla="*/ 395 w 506"/>
                <a:gd name="T11" fmla="*/ 285 h 596"/>
                <a:gd name="T12" fmla="*/ 473 w 506"/>
                <a:gd name="T13" fmla="*/ 156 h 596"/>
                <a:gd name="T14" fmla="*/ 432 w 506"/>
                <a:gd name="T15" fmla="*/ 53 h 596"/>
                <a:gd name="T16" fmla="*/ 276 w 506"/>
                <a:gd name="T17" fmla="*/ 0 h 596"/>
                <a:gd name="T18" fmla="*/ 0 w 506"/>
                <a:gd name="T19" fmla="*/ 0 h 596"/>
                <a:gd name="T20" fmla="*/ 0 w 506"/>
                <a:gd name="T21" fmla="*/ 115 h 596"/>
                <a:gd name="T22" fmla="*/ 257 w 506"/>
                <a:gd name="T23" fmla="*/ 115 h 596"/>
                <a:gd name="T24" fmla="*/ 343 w 506"/>
                <a:gd name="T25" fmla="*/ 177 h 596"/>
                <a:gd name="T26" fmla="*/ 248 w 506"/>
                <a:gd name="T27" fmla="*/ 241 h 596"/>
                <a:gd name="T28" fmla="*/ 0 w 506"/>
                <a:gd name="T29" fmla="*/ 241 h 596"/>
                <a:gd name="T30" fmla="*/ 0 w 506"/>
                <a:gd name="T31" fmla="*/ 596 h 596"/>
                <a:gd name="T32" fmla="*/ 283 w 506"/>
                <a:gd name="T33" fmla="*/ 481 h 596"/>
                <a:gd name="T34" fmla="*/ 127 w 506"/>
                <a:gd name="T35" fmla="*/ 481 h 596"/>
                <a:gd name="T36" fmla="*/ 127 w 506"/>
                <a:gd name="T37" fmla="*/ 350 h 596"/>
                <a:gd name="T38" fmla="*/ 279 w 506"/>
                <a:gd name="T39" fmla="*/ 350 h 596"/>
                <a:gd name="T40" fmla="*/ 376 w 506"/>
                <a:gd name="T41" fmla="*/ 415 h 596"/>
                <a:gd name="T42" fmla="*/ 283 w 506"/>
                <a:gd name="T43" fmla="*/ 481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06" h="596">
                  <a:moveTo>
                    <a:pt x="0" y="596"/>
                  </a:moveTo>
                  <a:cubicBezTo>
                    <a:pt x="74" y="596"/>
                    <a:pt x="74" y="596"/>
                    <a:pt x="74" y="596"/>
                  </a:cubicBezTo>
                  <a:cubicBezTo>
                    <a:pt x="127" y="596"/>
                    <a:pt x="127" y="596"/>
                    <a:pt x="127" y="596"/>
                  </a:cubicBezTo>
                  <a:cubicBezTo>
                    <a:pt x="283" y="596"/>
                    <a:pt x="283" y="596"/>
                    <a:pt x="283" y="596"/>
                  </a:cubicBezTo>
                  <a:cubicBezTo>
                    <a:pt x="418" y="596"/>
                    <a:pt x="506" y="542"/>
                    <a:pt x="506" y="433"/>
                  </a:cubicBezTo>
                  <a:cubicBezTo>
                    <a:pt x="506" y="351"/>
                    <a:pt x="464" y="311"/>
                    <a:pt x="395" y="285"/>
                  </a:cubicBezTo>
                  <a:cubicBezTo>
                    <a:pt x="437" y="261"/>
                    <a:pt x="473" y="223"/>
                    <a:pt x="473" y="156"/>
                  </a:cubicBezTo>
                  <a:cubicBezTo>
                    <a:pt x="473" y="114"/>
                    <a:pt x="459" y="80"/>
                    <a:pt x="432" y="53"/>
                  </a:cubicBezTo>
                  <a:cubicBezTo>
                    <a:pt x="398" y="19"/>
                    <a:pt x="344" y="0"/>
                    <a:pt x="27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257" y="115"/>
                    <a:pt x="257" y="115"/>
                    <a:pt x="257" y="115"/>
                  </a:cubicBezTo>
                  <a:cubicBezTo>
                    <a:pt x="312" y="115"/>
                    <a:pt x="343" y="137"/>
                    <a:pt x="343" y="177"/>
                  </a:cubicBezTo>
                  <a:cubicBezTo>
                    <a:pt x="343" y="222"/>
                    <a:pt x="306" y="241"/>
                    <a:pt x="248" y="241"/>
                  </a:cubicBezTo>
                  <a:cubicBezTo>
                    <a:pt x="0" y="241"/>
                    <a:pt x="0" y="241"/>
                    <a:pt x="0" y="241"/>
                  </a:cubicBezTo>
                  <a:lnTo>
                    <a:pt x="0" y="596"/>
                  </a:lnTo>
                  <a:close/>
                  <a:moveTo>
                    <a:pt x="283" y="481"/>
                  </a:moveTo>
                  <a:cubicBezTo>
                    <a:pt x="127" y="481"/>
                    <a:pt x="127" y="481"/>
                    <a:pt x="127" y="481"/>
                  </a:cubicBezTo>
                  <a:cubicBezTo>
                    <a:pt x="127" y="350"/>
                    <a:pt x="127" y="350"/>
                    <a:pt x="127" y="350"/>
                  </a:cubicBezTo>
                  <a:cubicBezTo>
                    <a:pt x="279" y="350"/>
                    <a:pt x="279" y="350"/>
                    <a:pt x="279" y="350"/>
                  </a:cubicBezTo>
                  <a:cubicBezTo>
                    <a:pt x="346" y="350"/>
                    <a:pt x="376" y="375"/>
                    <a:pt x="376" y="415"/>
                  </a:cubicBezTo>
                  <a:cubicBezTo>
                    <a:pt x="376" y="461"/>
                    <a:pt x="341" y="481"/>
                    <a:pt x="283" y="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4" name="object 3">
            <a:extLst>
              <a:ext uri="{FF2B5EF4-FFF2-40B4-BE49-F238E27FC236}">
                <a16:creationId xmlns:a16="http://schemas.microsoft.com/office/drawing/2014/main" id="{C8A8F324-BF72-42C2-A868-5F1BD7061EBF}"/>
              </a:ext>
            </a:extLst>
          </p:cNvPr>
          <p:cNvSpPr/>
          <p:nvPr userDrawn="1"/>
        </p:nvSpPr>
        <p:spPr>
          <a:xfrm>
            <a:off x="9204" y="4559"/>
            <a:ext cx="655813" cy="840582"/>
          </a:xfrm>
          <a:custGeom>
            <a:avLst/>
            <a:gdLst/>
            <a:ahLst/>
            <a:cxnLst/>
            <a:rect l="l" t="t" r="r" b="b"/>
            <a:pathLst>
              <a:path w="1005205" h="1288415">
                <a:moveTo>
                  <a:pt x="0" y="0"/>
                </a:moveTo>
                <a:lnTo>
                  <a:pt x="0" y="335068"/>
                </a:lnTo>
                <a:lnTo>
                  <a:pt x="609552" y="640462"/>
                </a:lnTo>
                <a:lnTo>
                  <a:pt x="0" y="952850"/>
                </a:lnTo>
                <a:lnTo>
                  <a:pt x="0" y="1287918"/>
                </a:lnTo>
                <a:lnTo>
                  <a:pt x="1005204" y="793253"/>
                </a:lnTo>
                <a:lnTo>
                  <a:pt x="1005204" y="49601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 anchor="ctr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78302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63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äulen +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2EF57EA-F45E-48DD-BB02-9CCBBD67DA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3100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2EF57EA-F45E-48DD-BB02-9CCBBD67DA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DCA3869-0626-4D7E-A07F-ED2B248D28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9845BF-B227-4307-81B9-E7C8FC57CD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B569F239-1A61-4E82-9B98-BB2D6F6CB5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3032" y="210212"/>
            <a:ext cx="8619431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2F2B9473-033B-41B3-A154-3B1336EE8A1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1226" y="1052513"/>
            <a:ext cx="2533010" cy="604800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2" name="Content Placeholder 7">
            <a:extLst>
              <a:ext uri="{FF2B5EF4-FFF2-40B4-BE49-F238E27FC236}">
                <a16:creationId xmlns:a16="http://schemas.microsoft.com/office/drawing/2014/main" id="{C9427F82-503C-463A-BF79-F5A5EA2D69B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226" y="1726825"/>
            <a:ext cx="2533010" cy="40433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5237C118-A019-4D33-964B-D13E6747EE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03322" y="1052513"/>
            <a:ext cx="2533010" cy="604800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4" name="Content Placeholder 7">
            <a:extLst>
              <a:ext uri="{FF2B5EF4-FFF2-40B4-BE49-F238E27FC236}">
                <a16:creationId xmlns:a16="http://schemas.microsoft.com/office/drawing/2014/main" id="{05DA6DA1-355B-4AFA-9B21-A336D734899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703322" y="1726825"/>
            <a:ext cx="2533010" cy="40433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B04C321E-06CD-460E-9A0C-1FB1F64465C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95418" y="1052513"/>
            <a:ext cx="2533010" cy="604800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6" name="Content Placeholder 7">
            <a:extLst>
              <a:ext uri="{FF2B5EF4-FFF2-40B4-BE49-F238E27FC236}">
                <a16:creationId xmlns:a16="http://schemas.microsoft.com/office/drawing/2014/main" id="{C2329C79-5F90-40E8-BB19-5B2B9787D50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95418" y="1726825"/>
            <a:ext cx="2533010" cy="40433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24F5421-6FED-4A33-932C-CE3DA5044FA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87515" y="1052513"/>
            <a:ext cx="2533010" cy="604800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28" name="Content Placeholder 7">
            <a:extLst>
              <a:ext uri="{FF2B5EF4-FFF2-40B4-BE49-F238E27FC236}">
                <a16:creationId xmlns:a16="http://schemas.microsoft.com/office/drawing/2014/main" id="{AF9CA067-2ED3-4831-B812-20849029EFC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287515" y="1726825"/>
            <a:ext cx="2533010" cy="4043397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8487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446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inks + Foto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48EF813-7050-4CFA-A5BF-35F2ECAAC8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5407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48EF813-7050-4CFA-A5BF-35F2ECAAC8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90BAE0-3503-40B7-97FF-3BBA5C4DD7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42D4FE-2A34-4C36-A765-CE00B9912A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DA4AB55-A4CD-400A-831B-870876DFDD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3031" y="210211"/>
            <a:ext cx="8631786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927D2A2D-8CE5-4B25-A24E-D55EB0EAF10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11225" y="1052513"/>
            <a:ext cx="3469957" cy="471770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25B827B4-7226-45B7-803F-EFCCFD8A354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30896" y="1052513"/>
            <a:ext cx="7561104" cy="471770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5253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446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links +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48EF813-7050-4CFA-A5BF-35F2ECAAC8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8692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48EF813-7050-4CFA-A5BF-35F2ECAAC8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490BAE0-3503-40B7-97FF-3BBA5C4DD7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42D4FE-2A34-4C36-A765-CE00B9912A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DA4AB55-A4CD-400A-831B-870876DFDD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3032" y="210210"/>
            <a:ext cx="8631786" cy="430887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30B366EE-35A0-4779-A5D6-6B35B8697D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50568" y="1052513"/>
            <a:ext cx="3469957" cy="471770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Content Placeholder 7">
            <a:extLst>
              <a:ext uri="{FF2B5EF4-FFF2-40B4-BE49-F238E27FC236}">
                <a16:creationId xmlns:a16="http://schemas.microsoft.com/office/drawing/2014/main" id="{214ABF5A-147C-4980-B700-3A8C64606DC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0" y="1052513"/>
            <a:ext cx="8112661" cy="471770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2512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44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6" Type="http://schemas.openxmlformats.org/officeDocument/2006/relationships/oleObject" Target="../embeddings/oleObject15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16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oleObject" Target="../embeddings/oleObject29.bin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tags" Target="../tags/tag30.xml"/><Relationship Id="rId2" Type="http://schemas.openxmlformats.org/officeDocument/2006/relationships/slideLayout" Target="../slideLayouts/slideLayout28.xml"/><Relationship Id="rId16" Type="http://schemas.openxmlformats.org/officeDocument/2006/relationships/theme" Target="../theme/theme3.x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36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43.xml"/><Relationship Id="rId16" Type="http://schemas.openxmlformats.org/officeDocument/2006/relationships/oleObject" Target="../embeddings/oleObject43.bin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tags" Target="../tags/tag44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56.xml"/><Relationship Id="rId16" Type="http://schemas.openxmlformats.org/officeDocument/2006/relationships/oleObject" Target="../embeddings/oleObject57.bin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tags" Target="../tags/tag58.xml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04F63A3-394E-45C1-9377-1C63F7EEFB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780554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44" imgH="344" progId="TCLayout.ActiveDocument.1">
                  <p:embed/>
                </p:oleObj>
              </mc:Choice>
              <mc:Fallback>
                <p:oleObj name="think-cell Slide" r:id="rId16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04F63A3-394E-45C1-9377-1C63F7EEFB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1" name="Title Placeholder 1"/>
          <p:cNvSpPr>
            <a:spLocks noGrp="1"/>
          </p:cNvSpPr>
          <p:nvPr>
            <p:ph type="title"/>
          </p:nvPr>
        </p:nvSpPr>
        <p:spPr>
          <a:xfrm>
            <a:off x="919537" y="209407"/>
            <a:ext cx="8631785" cy="43088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add</a:t>
            </a:r>
            <a:r>
              <a:rPr lang="de-DE" noProof="0" dirty="0"/>
              <a:t> title</a:t>
            </a:r>
          </a:p>
        </p:txBody>
      </p:sp>
      <p:sp>
        <p:nvSpPr>
          <p:cNvPr id="92" name="Text Placeholder 2"/>
          <p:cNvSpPr>
            <a:spLocks noGrp="1"/>
          </p:cNvSpPr>
          <p:nvPr>
            <p:ph type="body" idx="1"/>
          </p:nvPr>
        </p:nvSpPr>
        <p:spPr>
          <a:xfrm>
            <a:off x="911224" y="1052513"/>
            <a:ext cx="8631785" cy="470852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add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9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487" y="6400799"/>
            <a:ext cx="549530" cy="13355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 rtl="0">
              <a:defRPr sz="800">
                <a:solidFill>
                  <a:srgbClr val="E6320F"/>
                </a:solidFill>
                <a:latin typeface="Corbel" panose="020B0503020204020204" pitchFamily="34" charset="0"/>
              </a:defRPr>
            </a:lvl1pPr>
          </a:lstStyle>
          <a:p>
            <a:fld id="{4034BEE3-566C-4068-A777-C3A4762E861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15639F-9E76-41B0-BB57-8F8A1F6001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1225" y="6281020"/>
            <a:ext cx="8631786" cy="25333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rtl="0">
              <a:defRPr sz="800">
                <a:solidFill>
                  <a:srgbClr val="E6320F"/>
                </a:solidFill>
                <a:latin typeface="Corbel" panose="020B0503020204020204" pitchFamily="34" charset="0"/>
              </a:defRPr>
            </a:lvl1pPr>
          </a:lstStyle>
          <a:p>
            <a:endParaRPr lang="de-DE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2B99411-F62F-4D4C-A1E3-E95ACDE0ED6E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9018" y="6114644"/>
            <a:ext cx="2021032" cy="422681"/>
          </a:xfrm>
          <a:prstGeom prst="rect">
            <a:avLst/>
          </a:prstGeom>
          <a:noFill/>
        </p:spPr>
      </p:pic>
      <p:sp>
        <p:nvSpPr>
          <p:cNvPr id="13" name="object 3">
            <a:extLst>
              <a:ext uri="{FF2B5EF4-FFF2-40B4-BE49-F238E27FC236}">
                <a16:creationId xmlns:a16="http://schemas.microsoft.com/office/drawing/2014/main" id="{C4254384-8F22-436A-88AD-7C6C3C75DB74}"/>
              </a:ext>
            </a:extLst>
          </p:cNvPr>
          <p:cNvSpPr/>
          <p:nvPr userDrawn="1"/>
        </p:nvSpPr>
        <p:spPr>
          <a:xfrm>
            <a:off x="9204" y="4559"/>
            <a:ext cx="655813" cy="840582"/>
          </a:xfrm>
          <a:custGeom>
            <a:avLst/>
            <a:gdLst/>
            <a:ahLst/>
            <a:cxnLst/>
            <a:rect l="l" t="t" r="r" b="b"/>
            <a:pathLst>
              <a:path w="1005205" h="1288415">
                <a:moveTo>
                  <a:pt x="0" y="0"/>
                </a:moveTo>
                <a:lnTo>
                  <a:pt x="0" y="335068"/>
                </a:lnTo>
                <a:lnTo>
                  <a:pt x="609552" y="640462"/>
                </a:lnTo>
                <a:lnTo>
                  <a:pt x="0" y="952850"/>
                </a:lnTo>
                <a:lnTo>
                  <a:pt x="0" y="1287918"/>
                </a:lnTo>
                <a:lnTo>
                  <a:pt x="1005204" y="793253"/>
                </a:lnTo>
                <a:lnTo>
                  <a:pt x="1005204" y="496016"/>
                </a:lnTo>
                <a:lnTo>
                  <a:pt x="0" y="0"/>
                </a:lnTo>
                <a:close/>
              </a:path>
            </a:pathLst>
          </a:custGeom>
          <a:solidFill>
            <a:srgbClr val="E6320F"/>
          </a:solidFill>
        </p:spPr>
        <p:txBody>
          <a:bodyPr wrap="square" lIns="0" tIns="0" rIns="0" bIns="0" rtlCol="0" anchor="ctr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80662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831" r:id="rId2"/>
    <p:sldLayoutId id="2147483825" r:id="rId3"/>
    <p:sldLayoutId id="2147483762" r:id="rId4"/>
    <p:sldLayoutId id="2147483764" r:id="rId5"/>
    <p:sldLayoutId id="2147483766" r:id="rId6"/>
    <p:sldLayoutId id="2147483768" r:id="rId7"/>
    <p:sldLayoutId id="2147483832" r:id="rId8"/>
    <p:sldLayoutId id="2147483833" r:id="rId9"/>
    <p:sldLayoutId id="2147483835" r:id="rId10"/>
    <p:sldLayoutId id="2147483775" r:id="rId11"/>
    <p:sldLayoutId id="2147483834" r:id="rId12"/>
    <p:sldLayoutId id="2147483826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ts val="600"/>
        </a:spcBef>
        <a:buNone/>
        <a:defRPr sz="3600" b="1" kern="1200">
          <a:solidFill>
            <a:srgbClr val="E6320F"/>
          </a:solidFill>
          <a:latin typeface="Corbel" panose="020B05030202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00000"/>
        </a:lnSpc>
        <a:spcBef>
          <a:spcPts val="600"/>
        </a:spcBef>
        <a:buClr>
          <a:srgbClr val="004669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2pPr>
      <a:lvl3pPr marL="360000" indent="-180975" algn="l" defTabSz="914400" rtl="0" eaLnBrk="1" latinLnBrk="0" hangingPunct="1">
        <a:lnSpc>
          <a:spcPct val="100000"/>
        </a:lnSpc>
        <a:spcBef>
          <a:spcPts val="600"/>
        </a:spcBef>
        <a:buClr>
          <a:srgbClr val="004669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3pPr>
      <a:lvl4pPr marL="540000" indent="-180975" algn="l" defTabSz="914400" rtl="0" eaLnBrk="1" latinLnBrk="0" hangingPunct="1">
        <a:lnSpc>
          <a:spcPct val="100000"/>
        </a:lnSpc>
        <a:spcBef>
          <a:spcPts val="600"/>
        </a:spcBef>
        <a:buClr>
          <a:srgbClr val="004669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600"/>
        </a:spcBef>
        <a:buClr>
          <a:srgbClr val="004669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4" pos="6011" userDrawn="1">
          <p15:clr>
            <a:srgbClr val="F26B43"/>
          </p15:clr>
        </p15:guide>
        <p15:guide id="35" pos="574" userDrawn="1">
          <p15:clr>
            <a:srgbClr val="F26B43"/>
          </p15:clr>
        </p15:guide>
        <p15:guide id="40" orient="horz" pos="4118" userDrawn="1">
          <p15:clr>
            <a:srgbClr val="F26B43"/>
          </p15:clr>
        </p15:guide>
        <p15:guide id="41" orient="horz" pos="3629" userDrawn="1">
          <p15:clr>
            <a:srgbClr val="F26B43"/>
          </p15:clr>
        </p15:guide>
        <p15:guide id="42" orient="horz" pos="663" userDrawn="1">
          <p15:clr>
            <a:srgbClr val="F26B43"/>
          </p15:clr>
        </p15:guide>
        <p15:guide id="43" orient="horz" pos="12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04F63A3-394E-45C1-9377-1C63F7EEFB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554664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44" imgH="344" progId="TCLayout.ActiveDocument.1">
                  <p:embed/>
                </p:oleObj>
              </mc:Choice>
              <mc:Fallback>
                <p:oleObj name="think-cell Slide" r:id="rId16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04F63A3-394E-45C1-9377-1C63F7EEFB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1" name="Title Placeholder 1"/>
          <p:cNvSpPr>
            <a:spLocks noGrp="1"/>
          </p:cNvSpPr>
          <p:nvPr>
            <p:ph type="title"/>
          </p:nvPr>
        </p:nvSpPr>
        <p:spPr>
          <a:xfrm>
            <a:off x="919537" y="209407"/>
            <a:ext cx="8631785" cy="43088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add</a:t>
            </a:r>
            <a:r>
              <a:rPr lang="de-DE" noProof="0" dirty="0"/>
              <a:t> title</a:t>
            </a:r>
          </a:p>
        </p:txBody>
      </p:sp>
      <p:sp>
        <p:nvSpPr>
          <p:cNvPr id="92" name="Text Placeholder 2"/>
          <p:cNvSpPr>
            <a:spLocks noGrp="1"/>
          </p:cNvSpPr>
          <p:nvPr>
            <p:ph type="body" idx="1"/>
          </p:nvPr>
        </p:nvSpPr>
        <p:spPr>
          <a:xfrm>
            <a:off x="911224" y="1052513"/>
            <a:ext cx="8631785" cy="470852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add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9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487" y="6400799"/>
            <a:ext cx="549530" cy="13355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 rtl="0">
              <a:defRPr sz="800">
                <a:solidFill>
                  <a:srgbClr val="E6320F"/>
                </a:solidFill>
                <a:latin typeface="Corbel" panose="020B0503020204020204" pitchFamily="34" charset="0"/>
              </a:defRPr>
            </a:lvl1pPr>
          </a:lstStyle>
          <a:p>
            <a:fld id="{4034BEE3-566C-4068-A777-C3A4762E861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15639F-9E76-41B0-BB57-8F8A1F6001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1225" y="6281020"/>
            <a:ext cx="8631786" cy="25333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rtl="0">
              <a:defRPr sz="800">
                <a:solidFill>
                  <a:srgbClr val="E6320F"/>
                </a:solidFill>
                <a:latin typeface="Corbel" panose="020B0503020204020204" pitchFamily="34" charset="0"/>
              </a:defRPr>
            </a:lvl1pPr>
          </a:lstStyle>
          <a:p>
            <a:endParaRPr lang="de-DE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2B99411-F62F-4D4C-A1E3-E95ACDE0ED6E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9018" y="6114644"/>
            <a:ext cx="2021032" cy="422681"/>
          </a:xfrm>
          <a:prstGeom prst="rect">
            <a:avLst/>
          </a:prstGeom>
          <a:noFill/>
        </p:spPr>
      </p:pic>
      <p:sp>
        <p:nvSpPr>
          <p:cNvPr id="13" name="object 3">
            <a:extLst>
              <a:ext uri="{FF2B5EF4-FFF2-40B4-BE49-F238E27FC236}">
                <a16:creationId xmlns:a16="http://schemas.microsoft.com/office/drawing/2014/main" id="{C4254384-8F22-436A-88AD-7C6C3C75DB74}"/>
              </a:ext>
            </a:extLst>
          </p:cNvPr>
          <p:cNvSpPr/>
          <p:nvPr userDrawn="1"/>
        </p:nvSpPr>
        <p:spPr>
          <a:xfrm>
            <a:off x="9204" y="4559"/>
            <a:ext cx="655813" cy="840582"/>
          </a:xfrm>
          <a:custGeom>
            <a:avLst/>
            <a:gdLst/>
            <a:ahLst/>
            <a:cxnLst/>
            <a:rect l="l" t="t" r="r" b="b"/>
            <a:pathLst>
              <a:path w="1005205" h="1288415">
                <a:moveTo>
                  <a:pt x="0" y="0"/>
                </a:moveTo>
                <a:lnTo>
                  <a:pt x="0" y="335068"/>
                </a:lnTo>
                <a:lnTo>
                  <a:pt x="609552" y="640462"/>
                </a:lnTo>
                <a:lnTo>
                  <a:pt x="0" y="952850"/>
                </a:lnTo>
                <a:lnTo>
                  <a:pt x="0" y="1287918"/>
                </a:lnTo>
                <a:lnTo>
                  <a:pt x="1005204" y="793253"/>
                </a:lnTo>
                <a:lnTo>
                  <a:pt x="1005204" y="496016"/>
                </a:lnTo>
                <a:lnTo>
                  <a:pt x="0" y="0"/>
                </a:lnTo>
                <a:close/>
              </a:path>
            </a:pathLst>
          </a:custGeom>
          <a:solidFill>
            <a:srgbClr val="E6320F"/>
          </a:solidFill>
        </p:spPr>
        <p:txBody>
          <a:bodyPr wrap="square" lIns="0" tIns="0" rIns="0" bIns="0" rtlCol="0" anchor="ctr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60983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39" r:id="rId3"/>
    <p:sldLayoutId id="2147483840" r:id="rId4"/>
    <p:sldLayoutId id="2147483841" r:id="rId5"/>
    <p:sldLayoutId id="2147483842" r:id="rId6"/>
    <p:sldLayoutId id="2147483843" r:id="rId7"/>
    <p:sldLayoutId id="2147483844" r:id="rId8"/>
    <p:sldLayoutId id="2147483845" r:id="rId9"/>
    <p:sldLayoutId id="2147483846" r:id="rId10"/>
    <p:sldLayoutId id="2147483847" r:id="rId11"/>
    <p:sldLayoutId id="2147483848" r:id="rId12"/>
    <p:sldLayoutId id="2147483849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ts val="600"/>
        </a:spcBef>
        <a:buNone/>
        <a:defRPr sz="3600" b="1" kern="1200">
          <a:solidFill>
            <a:srgbClr val="E6320F"/>
          </a:solidFill>
          <a:latin typeface="Corbel" panose="020B05030202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00000"/>
        </a:lnSpc>
        <a:spcBef>
          <a:spcPts val="600"/>
        </a:spcBef>
        <a:buClr>
          <a:srgbClr val="004669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2pPr>
      <a:lvl3pPr marL="360000" indent="-180975" algn="l" defTabSz="914400" rtl="0" eaLnBrk="1" latinLnBrk="0" hangingPunct="1">
        <a:lnSpc>
          <a:spcPct val="100000"/>
        </a:lnSpc>
        <a:spcBef>
          <a:spcPts val="600"/>
        </a:spcBef>
        <a:buClr>
          <a:srgbClr val="004669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3pPr>
      <a:lvl4pPr marL="540000" indent="-180975" algn="l" defTabSz="914400" rtl="0" eaLnBrk="1" latinLnBrk="0" hangingPunct="1">
        <a:lnSpc>
          <a:spcPct val="100000"/>
        </a:lnSpc>
        <a:spcBef>
          <a:spcPts val="600"/>
        </a:spcBef>
        <a:buClr>
          <a:srgbClr val="004669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600"/>
        </a:spcBef>
        <a:buClr>
          <a:srgbClr val="004669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4" pos="6011">
          <p15:clr>
            <a:srgbClr val="F26B43"/>
          </p15:clr>
        </p15:guide>
        <p15:guide id="35" pos="574">
          <p15:clr>
            <a:srgbClr val="F26B43"/>
          </p15:clr>
        </p15:guide>
        <p15:guide id="40" orient="horz" pos="4118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63">
          <p15:clr>
            <a:srgbClr val="F26B43"/>
          </p15:clr>
        </p15:guide>
        <p15:guide id="43" orient="horz" pos="12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04F63A3-394E-45C1-9377-1C63F7EEFB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197323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44" imgH="344" progId="TCLayout.ActiveDocument.1">
                  <p:embed/>
                </p:oleObj>
              </mc:Choice>
              <mc:Fallback>
                <p:oleObj name="think-cell Slide" r:id="rId18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04F63A3-394E-45C1-9377-1C63F7EEFB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1" name="Title Placeholder 1"/>
          <p:cNvSpPr>
            <a:spLocks noGrp="1"/>
          </p:cNvSpPr>
          <p:nvPr>
            <p:ph type="title"/>
          </p:nvPr>
        </p:nvSpPr>
        <p:spPr>
          <a:xfrm>
            <a:off x="919537" y="209407"/>
            <a:ext cx="8631785" cy="43088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add</a:t>
            </a:r>
            <a:r>
              <a:rPr lang="de-DE" noProof="0" dirty="0"/>
              <a:t> title</a:t>
            </a:r>
          </a:p>
        </p:txBody>
      </p:sp>
      <p:sp>
        <p:nvSpPr>
          <p:cNvPr id="92" name="Text Placeholder 2"/>
          <p:cNvSpPr>
            <a:spLocks noGrp="1"/>
          </p:cNvSpPr>
          <p:nvPr>
            <p:ph type="body" idx="1"/>
          </p:nvPr>
        </p:nvSpPr>
        <p:spPr>
          <a:xfrm>
            <a:off x="911224" y="1052513"/>
            <a:ext cx="8631785" cy="470852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add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9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487" y="6400799"/>
            <a:ext cx="549530" cy="13355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 rtl="0">
              <a:defRPr sz="800">
                <a:solidFill>
                  <a:srgbClr val="E6320F"/>
                </a:solidFill>
                <a:latin typeface="Corbel" panose="020B0503020204020204" pitchFamily="34" charset="0"/>
              </a:defRPr>
            </a:lvl1pPr>
          </a:lstStyle>
          <a:p>
            <a:fld id="{4034BEE3-566C-4068-A777-C3A4762E861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15639F-9E76-41B0-BB57-8F8A1F6001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1225" y="6281020"/>
            <a:ext cx="8631786" cy="25333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rtl="0">
              <a:defRPr sz="800">
                <a:solidFill>
                  <a:srgbClr val="E6320F"/>
                </a:solidFill>
                <a:latin typeface="Corbel" panose="020B0503020204020204" pitchFamily="34" charset="0"/>
              </a:defRPr>
            </a:lvl1pPr>
          </a:lstStyle>
          <a:p>
            <a:endParaRPr lang="de-DE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2B99411-F62F-4D4C-A1E3-E95ACDE0ED6E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9018" y="6114644"/>
            <a:ext cx="2021032" cy="422681"/>
          </a:xfrm>
          <a:prstGeom prst="rect">
            <a:avLst/>
          </a:prstGeom>
          <a:noFill/>
        </p:spPr>
      </p:pic>
      <p:sp>
        <p:nvSpPr>
          <p:cNvPr id="13" name="object 3">
            <a:extLst>
              <a:ext uri="{FF2B5EF4-FFF2-40B4-BE49-F238E27FC236}">
                <a16:creationId xmlns:a16="http://schemas.microsoft.com/office/drawing/2014/main" id="{C4254384-8F22-436A-88AD-7C6C3C75DB74}"/>
              </a:ext>
            </a:extLst>
          </p:cNvPr>
          <p:cNvSpPr/>
          <p:nvPr userDrawn="1"/>
        </p:nvSpPr>
        <p:spPr>
          <a:xfrm>
            <a:off x="9204" y="4559"/>
            <a:ext cx="655813" cy="840582"/>
          </a:xfrm>
          <a:custGeom>
            <a:avLst/>
            <a:gdLst/>
            <a:ahLst/>
            <a:cxnLst/>
            <a:rect l="l" t="t" r="r" b="b"/>
            <a:pathLst>
              <a:path w="1005205" h="1288415">
                <a:moveTo>
                  <a:pt x="0" y="0"/>
                </a:moveTo>
                <a:lnTo>
                  <a:pt x="0" y="335068"/>
                </a:lnTo>
                <a:lnTo>
                  <a:pt x="609552" y="640462"/>
                </a:lnTo>
                <a:lnTo>
                  <a:pt x="0" y="952850"/>
                </a:lnTo>
                <a:lnTo>
                  <a:pt x="0" y="1287918"/>
                </a:lnTo>
                <a:lnTo>
                  <a:pt x="1005204" y="793253"/>
                </a:lnTo>
                <a:lnTo>
                  <a:pt x="1005204" y="496016"/>
                </a:lnTo>
                <a:lnTo>
                  <a:pt x="0" y="0"/>
                </a:lnTo>
                <a:close/>
              </a:path>
            </a:pathLst>
          </a:custGeom>
          <a:solidFill>
            <a:srgbClr val="E6320F"/>
          </a:solidFill>
        </p:spPr>
        <p:txBody>
          <a:bodyPr wrap="square" lIns="0" tIns="0" rIns="0" bIns="0" rtlCol="0" anchor="ctr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65296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  <p:sldLayoutId id="2147483864" r:id="rId12"/>
    <p:sldLayoutId id="2147483865" r:id="rId13"/>
    <p:sldLayoutId id="2147483866" r:id="rId14"/>
    <p:sldLayoutId id="2147483867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ts val="600"/>
        </a:spcBef>
        <a:buNone/>
        <a:defRPr sz="3600" b="1" kern="1200">
          <a:solidFill>
            <a:srgbClr val="E6320F"/>
          </a:solidFill>
          <a:latin typeface="Corbel" panose="020B05030202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00000"/>
        </a:lnSpc>
        <a:spcBef>
          <a:spcPts val="600"/>
        </a:spcBef>
        <a:buClr>
          <a:srgbClr val="004669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2pPr>
      <a:lvl3pPr marL="360000" indent="-180975" algn="l" defTabSz="914400" rtl="0" eaLnBrk="1" latinLnBrk="0" hangingPunct="1">
        <a:lnSpc>
          <a:spcPct val="100000"/>
        </a:lnSpc>
        <a:spcBef>
          <a:spcPts val="600"/>
        </a:spcBef>
        <a:buClr>
          <a:srgbClr val="004669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3pPr>
      <a:lvl4pPr marL="540000" indent="-180975" algn="l" defTabSz="914400" rtl="0" eaLnBrk="1" latinLnBrk="0" hangingPunct="1">
        <a:lnSpc>
          <a:spcPct val="100000"/>
        </a:lnSpc>
        <a:spcBef>
          <a:spcPts val="600"/>
        </a:spcBef>
        <a:buClr>
          <a:srgbClr val="004669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600"/>
        </a:spcBef>
        <a:buClr>
          <a:srgbClr val="004669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4" pos="6011">
          <p15:clr>
            <a:srgbClr val="F26B43"/>
          </p15:clr>
        </p15:guide>
        <p15:guide id="35" pos="574">
          <p15:clr>
            <a:srgbClr val="F26B43"/>
          </p15:clr>
        </p15:guide>
        <p15:guide id="40" orient="horz" pos="4118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63">
          <p15:clr>
            <a:srgbClr val="F26B43"/>
          </p15:clr>
        </p15:guide>
        <p15:guide id="43" orient="horz" pos="12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04F63A3-394E-45C1-9377-1C63F7EEFB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671820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44" imgH="344" progId="TCLayout.ActiveDocument.1">
                  <p:embed/>
                </p:oleObj>
              </mc:Choice>
              <mc:Fallback>
                <p:oleObj name="think-cell Slide" r:id="rId16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04F63A3-394E-45C1-9377-1C63F7EEFB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1" name="Title Placeholder 1"/>
          <p:cNvSpPr>
            <a:spLocks noGrp="1"/>
          </p:cNvSpPr>
          <p:nvPr>
            <p:ph type="title"/>
          </p:nvPr>
        </p:nvSpPr>
        <p:spPr>
          <a:xfrm>
            <a:off x="919537" y="209407"/>
            <a:ext cx="8631785" cy="43088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add</a:t>
            </a:r>
            <a:r>
              <a:rPr lang="de-DE" noProof="0" dirty="0"/>
              <a:t> title</a:t>
            </a:r>
          </a:p>
        </p:txBody>
      </p:sp>
      <p:sp>
        <p:nvSpPr>
          <p:cNvPr id="92" name="Text Placeholder 2"/>
          <p:cNvSpPr>
            <a:spLocks noGrp="1"/>
          </p:cNvSpPr>
          <p:nvPr>
            <p:ph type="body" idx="1"/>
          </p:nvPr>
        </p:nvSpPr>
        <p:spPr>
          <a:xfrm>
            <a:off x="911224" y="1052513"/>
            <a:ext cx="8631785" cy="470852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add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9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487" y="6400799"/>
            <a:ext cx="549530" cy="13355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 rtl="0">
              <a:defRPr sz="800">
                <a:solidFill>
                  <a:srgbClr val="E6320F"/>
                </a:solidFill>
                <a:latin typeface="Corbel" panose="020B0503020204020204" pitchFamily="34" charset="0"/>
              </a:defRPr>
            </a:lvl1pPr>
          </a:lstStyle>
          <a:p>
            <a:fld id="{4034BEE3-566C-4068-A777-C3A4762E861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15639F-9E76-41B0-BB57-8F8A1F6001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1225" y="6281020"/>
            <a:ext cx="8631786" cy="25333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rtl="0">
              <a:defRPr sz="800">
                <a:solidFill>
                  <a:srgbClr val="E6320F"/>
                </a:solidFill>
                <a:latin typeface="Corbel" panose="020B0503020204020204" pitchFamily="34" charset="0"/>
              </a:defRPr>
            </a:lvl1pPr>
          </a:lstStyle>
          <a:p>
            <a:endParaRPr lang="de-DE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2B99411-F62F-4D4C-A1E3-E95ACDE0ED6E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9018" y="6114644"/>
            <a:ext cx="2021032" cy="422681"/>
          </a:xfrm>
          <a:prstGeom prst="rect">
            <a:avLst/>
          </a:prstGeom>
          <a:noFill/>
        </p:spPr>
      </p:pic>
      <p:sp>
        <p:nvSpPr>
          <p:cNvPr id="13" name="object 3">
            <a:extLst>
              <a:ext uri="{FF2B5EF4-FFF2-40B4-BE49-F238E27FC236}">
                <a16:creationId xmlns:a16="http://schemas.microsoft.com/office/drawing/2014/main" id="{C4254384-8F22-436A-88AD-7C6C3C75DB74}"/>
              </a:ext>
            </a:extLst>
          </p:cNvPr>
          <p:cNvSpPr/>
          <p:nvPr userDrawn="1"/>
        </p:nvSpPr>
        <p:spPr>
          <a:xfrm>
            <a:off x="9204" y="4559"/>
            <a:ext cx="655813" cy="840582"/>
          </a:xfrm>
          <a:custGeom>
            <a:avLst/>
            <a:gdLst/>
            <a:ahLst/>
            <a:cxnLst/>
            <a:rect l="l" t="t" r="r" b="b"/>
            <a:pathLst>
              <a:path w="1005205" h="1288415">
                <a:moveTo>
                  <a:pt x="0" y="0"/>
                </a:moveTo>
                <a:lnTo>
                  <a:pt x="0" y="335068"/>
                </a:lnTo>
                <a:lnTo>
                  <a:pt x="609552" y="640462"/>
                </a:lnTo>
                <a:lnTo>
                  <a:pt x="0" y="952850"/>
                </a:lnTo>
                <a:lnTo>
                  <a:pt x="0" y="1287918"/>
                </a:lnTo>
                <a:lnTo>
                  <a:pt x="1005204" y="793253"/>
                </a:lnTo>
                <a:lnTo>
                  <a:pt x="1005204" y="496016"/>
                </a:lnTo>
                <a:lnTo>
                  <a:pt x="0" y="0"/>
                </a:lnTo>
                <a:close/>
              </a:path>
            </a:pathLst>
          </a:custGeom>
          <a:solidFill>
            <a:srgbClr val="E6320F"/>
          </a:solidFill>
        </p:spPr>
        <p:txBody>
          <a:bodyPr wrap="square" lIns="0" tIns="0" rIns="0" bIns="0" rtlCol="0" anchor="ctr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06229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2" r:id="rId4"/>
    <p:sldLayoutId id="2147483873" r:id="rId5"/>
    <p:sldLayoutId id="2147483874" r:id="rId6"/>
    <p:sldLayoutId id="2147483875" r:id="rId7"/>
    <p:sldLayoutId id="2147483876" r:id="rId8"/>
    <p:sldLayoutId id="2147483877" r:id="rId9"/>
    <p:sldLayoutId id="2147483878" r:id="rId10"/>
    <p:sldLayoutId id="2147483879" r:id="rId11"/>
    <p:sldLayoutId id="2147483880" r:id="rId12"/>
    <p:sldLayoutId id="2147483881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ts val="600"/>
        </a:spcBef>
        <a:buNone/>
        <a:defRPr sz="3600" b="1" kern="1200">
          <a:solidFill>
            <a:srgbClr val="E6320F"/>
          </a:solidFill>
          <a:latin typeface="Corbel" panose="020B05030202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00000"/>
        </a:lnSpc>
        <a:spcBef>
          <a:spcPts val="600"/>
        </a:spcBef>
        <a:buClr>
          <a:srgbClr val="004669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2pPr>
      <a:lvl3pPr marL="360000" indent="-180975" algn="l" defTabSz="914400" rtl="0" eaLnBrk="1" latinLnBrk="0" hangingPunct="1">
        <a:lnSpc>
          <a:spcPct val="100000"/>
        </a:lnSpc>
        <a:spcBef>
          <a:spcPts val="600"/>
        </a:spcBef>
        <a:buClr>
          <a:srgbClr val="004669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3pPr>
      <a:lvl4pPr marL="540000" indent="-180975" algn="l" defTabSz="914400" rtl="0" eaLnBrk="1" latinLnBrk="0" hangingPunct="1">
        <a:lnSpc>
          <a:spcPct val="100000"/>
        </a:lnSpc>
        <a:spcBef>
          <a:spcPts val="600"/>
        </a:spcBef>
        <a:buClr>
          <a:srgbClr val="004669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600"/>
        </a:spcBef>
        <a:buClr>
          <a:srgbClr val="004669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4" pos="6011">
          <p15:clr>
            <a:srgbClr val="F26B43"/>
          </p15:clr>
        </p15:guide>
        <p15:guide id="35" pos="574">
          <p15:clr>
            <a:srgbClr val="F26B43"/>
          </p15:clr>
        </p15:guide>
        <p15:guide id="40" orient="horz" pos="4118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63">
          <p15:clr>
            <a:srgbClr val="F26B43"/>
          </p15:clr>
        </p15:guide>
        <p15:guide id="43" orient="horz" pos="126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04F63A3-394E-45C1-9377-1C63F7EEFB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98679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44" imgH="344" progId="TCLayout.ActiveDocument.1">
                  <p:embed/>
                </p:oleObj>
              </mc:Choice>
              <mc:Fallback>
                <p:oleObj name="think-cell Slide" r:id="rId16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04F63A3-394E-45C1-9377-1C63F7EEFB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1" name="Title Placeholder 1"/>
          <p:cNvSpPr>
            <a:spLocks noGrp="1"/>
          </p:cNvSpPr>
          <p:nvPr>
            <p:ph type="title"/>
          </p:nvPr>
        </p:nvSpPr>
        <p:spPr>
          <a:xfrm>
            <a:off x="919537" y="209407"/>
            <a:ext cx="8631785" cy="43088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add</a:t>
            </a:r>
            <a:r>
              <a:rPr lang="de-DE" noProof="0" dirty="0"/>
              <a:t> title</a:t>
            </a:r>
          </a:p>
        </p:txBody>
      </p:sp>
      <p:sp>
        <p:nvSpPr>
          <p:cNvPr id="92" name="Text Placeholder 2"/>
          <p:cNvSpPr>
            <a:spLocks noGrp="1"/>
          </p:cNvSpPr>
          <p:nvPr>
            <p:ph type="body" idx="1"/>
          </p:nvPr>
        </p:nvSpPr>
        <p:spPr>
          <a:xfrm>
            <a:off x="911224" y="1052513"/>
            <a:ext cx="8631785" cy="4708525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add</a:t>
            </a:r>
            <a:r>
              <a:rPr lang="de-DE" noProof="0" dirty="0"/>
              <a:t> </a:t>
            </a:r>
            <a:r>
              <a:rPr lang="de-DE" noProof="0" dirty="0" err="1"/>
              <a:t>text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9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487" y="6400799"/>
            <a:ext cx="549530" cy="13355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 rtl="0">
              <a:defRPr sz="800">
                <a:solidFill>
                  <a:srgbClr val="E6320F"/>
                </a:solidFill>
                <a:latin typeface="Corbel" panose="020B0503020204020204" pitchFamily="34" charset="0"/>
              </a:defRPr>
            </a:lvl1pPr>
          </a:lstStyle>
          <a:p>
            <a:fld id="{4034BEE3-566C-4068-A777-C3A4762E861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15639F-9E76-41B0-BB57-8F8A1F6001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1225" y="6281020"/>
            <a:ext cx="8631786" cy="25333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rtl="0">
              <a:defRPr sz="800">
                <a:solidFill>
                  <a:srgbClr val="E6320F"/>
                </a:solidFill>
                <a:latin typeface="Corbel" panose="020B0503020204020204" pitchFamily="34" charset="0"/>
              </a:defRPr>
            </a:lvl1pPr>
          </a:lstStyle>
          <a:p>
            <a:endParaRPr lang="de-DE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2B99411-F62F-4D4C-A1E3-E95ACDE0ED6E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9018" y="6114644"/>
            <a:ext cx="2021032" cy="422681"/>
          </a:xfrm>
          <a:prstGeom prst="rect">
            <a:avLst/>
          </a:prstGeom>
          <a:noFill/>
        </p:spPr>
      </p:pic>
      <p:sp>
        <p:nvSpPr>
          <p:cNvPr id="13" name="object 3">
            <a:extLst>
              <a:ext uri="{FF2B5EF4-FFF2-40B4-BE49-F238E27FC236}">
                <a16:creationId xmlns:a16="http://schemas.microsoft.com/office/drawing/2014/main" id="{C4254384-8F22-436A-88AD-7C6C3C75DB74}"/>
              </a:ext>
            </a:extLst>
          </p:cNvPr>
          <p:cNvSpPr/>
          <p:nvPr userDrawn="1"/>
        </p:nvSpPr>
        <p:spPr>
          <a:xfrm>
            <a:off x="9204" y="4559"/>
            <a:ext cx="655813" cy="840582"/>
          </a:xfrm>
          <a:custGeom>
            <a:avLst/>
            <a:gdLst/>
            <a:ahLst/>
            <a:cxnLst/>
            <a:rect l="l" t="t" r="r" b="b"/>
            <a:pathLst>
              <a:path w="1005205" h="1288415">
                <a:moveTo>
                  <a:pt x="0" y="0"/>
                </a:moveTo>
                <a:lnTo>
                  <a:pt x="0" y="335068"/>
                </a:lnTo>
                <a:lnTo>
                  <a:pt x="609552" y="640462"/>
                </a:lnTo>
                <a:lnTo>
                  <a:pt x="0" y="952850"/>
                </a:lnTo>
                <a:lnTo>
                  <a:pt x="0" y="1287918"/>
                </a:lnTo>
                <a:lnTo>
                  <a:pt x="1005204" y="793253"/>
                </a:lnTo>
                <a:lnTo>
                  <a:pt x="1005204" y="496016"/>
                </a:lnTo>
                <a:lnTo>
                  <a:pt x="0" y="0"/>
                </a:lnTo>
                <a:close/>
              </a:path>
            </a:pathLst>
          </a:custGeom>
          <a:solidFill>
            <a:srgbClr val="E6320F"/>
          </a:solidFill>
        </p:spPr>
        <p:txBody>
          <a:bodyPr wrap="square" lIns="0" tIns="0" rIns="0" bIns="0" rtlCol="0" anchor="ctr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52191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85" r:id="rId2"/>
    <p:sldLayoutId id="2147483886" r:id="rId3"/>
    <p:sldLayoutId id="2147483887" r:id="rId4"/>
    <p:sldLayoutId id="2147483888" r:id="rId5"/>
    <p:sldLayoutId id="2147483889" r:id="rId6"/>
    <p:sldLayoutId id="2147483890" r:id="rId7"/>
    <p:sldLayoutId id="2147483891" r:id="rId8"/>
    <p:sldLayoutId id="2147483892" r:id="rId9"/>
    <p:sldLayoutId id="2147483893" r:id="rId10"/>
    <p:sldLayoutId id="2147483894" r:id="rId11"/>
    <p:sldLayoutId id="2147483895" r:id="rId12"/>
    <p:sldLayoutId id="2147483896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ts val="600"/>
        </a:spcBef>
        <a:buNone/>
        <a:defRPr sz="3600" b="1" kern="1200">
          <a:solidFill>
            <a:srgbClr val="E6320F"/>
          </a:solidFill>
          <a:latin typeface="Corbel" panose="020B05030202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100000"/>
        </a:lnSpc>
        <a:spcBef>
          <a:spcPts val="600"/>
        </a:spcBef>
        <a:buClr>
          <a:srgbClr val="004669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2pPr>
      <a:lvl3pPr marL="360000" indent="-180975" algn="l" defTabSz="914400" rtl="0" eaLnBrk="1" latinLnBrk="0" hangingPunct="1">
        <a:lnSpc>
          <a:spcPct val="100000"/>
        </a:lnSpc>
        <a:spcBef>
          <a:spcPts val="600"/>
        </a:spcBef>
        <a:buClr>
          <a:srgbClr val="004669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3pPr>
      <a:lvl4pPr marL="540000" indent="-180975" algn="l" defTabSz="914400" rtl="0" eaLnBrk="1" latinLnBrk="0" hangingPunct="1">
        <a:lnSpc>
          <a:spcPct val="100000"/>
        </a:lnSpc>
        <a:spcBef>
          <a:spcPts val="600"/>
        </a:spcBef>
        <a:buClr>
          <a:srgbClr val="004669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600"/>
        </a:spcBef>
        <a:buClr>
          <a:srgbClr val="004669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4" pos="6011">
          <p15:clr>
            <a:srgbClr val="F26B43"/>
          </p15:clr>
        </p15:guide>
        <p15:guide id="35" pos="574">
          <p15:clr>
            <a:srgbClr val="F26B43"/>
          </p15:clr>
        </p15:guide>
        <p15:guide id="40" orient="horz" pos="4118">
          <p15:clr>
            <a:srgbClr val="F26B43"/>
          </p15:clr>
        </p15:guide>
        <p15:guide id="41" orient="horz" pos="3629">
          <p15:clr>
            <a:srgbClr val="F26B43"/>
          </p15:clr>
        </p15:guide>
        <p15:guide id="42" orient="horz" pos="663">
          <p15:clr>
            <a:srgbClr val="F26B43"/>
          </p15:clr>
        </p15:guide>
        <p15:guide id="43" orient="horz" pos="12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7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6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8.xml"/><Relationship Id="rId6" Type="http://schemas.openxmlformats.org/officeDocument/2006/relationships/image" Target="../media/image1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7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9.xml"/><Relationship Id="rId6" Type="http://schemas.openxmlformats.org/officeDocument/2006/relationships/image" Target="../media/image15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8.bin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0.xml"/><Relationship Id="rId6" Type="http://schemas.openxmlformats.org/officeDocument/2006/relationships/image" Target="../media/image1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9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1.xml"/><Relationship Id="rId6" Type="http://schemas.openxmlformats.org/officeDocument/2006/relationships/image" Target="../media/image16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0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2.xml"/><Relationship Id="rId6" Type="http://schemas.openxmlformats.org/officeDocument/2006/relationships/image" Target="../media/image1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1.bin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3.xml"/><Relationship Id="rId6" Type="http://schemas.openxmlformats.org/officeDocument/2006/relationships/chart" Target="../charts/chart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5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84.xml"/><Relationship Id="rId6" Type="http://schemas.openxmlformats.org/officeDocument/2006/relationships/image" Target="../media/image1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3.bin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5.xml"/><Relationship Id="rId6" Type="http://schemas.openxmlformats.org/officeDocument/2006/relationships/image" Target="../media/image1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4.bin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3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2.bin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0" Type="http://schemas.openxmlformats.org/officeDocument/2006/relationships/image" Target="../media/image26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5.bin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notesSlide" Target="../notesSlides/notesSlide34.xml"/><Relationship Id="rId7" Type="http://schemas.openxmlformats.org/officeDocument/2006/relationships/hyperlink" Target="http://www.investinaustria.at/" TargetMode="Externa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87.xml"/><Relationship Id="rId6" Type="http://schemas.openxmlformats.org/officeDocument/2006/relationships/hyperlink" Target="http://www.exportsupport.at/" TargetMode="Externa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6.bin"/><Relationship Id="rId9" Type="http://schemas.openxmlformats.org/officeDocument/2006/relationships/image" Target="../media/image29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1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4.xml"/><Relationship Id="rId6" Type="http://schemas.openxmlformats.org/officeDocument/2006/relationships/image" Target="../media/image10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5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6.xml"/><Relationship Id="rId6" Type="http://schemas.openxmlformats.org/officeDocument/2006/relationships/image" Target="../media/image1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7CC4D30-66EF-4B5E-A2B3-C084F16C02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7CC4D30-66EF-4B5E-A2B3-C084F16C02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8B6A11D5-AD22-4AFD-BAAC-A1791DF47D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90154" y="1334782"/>
            <a:ext cx="5747474" cy="1099925"/>
          </a:xfrm>
        </p:spPr>
        <p:txBody>
          <a:bodyPr vert="horz"/>
          <a:lstStyle/>
          <a:p>
            <a:r>
              <a:rPr lang="en-GB" dirty="0" err="1"/>
              <a:t>Avstrija</a:t>
            </a:r>
            <a:r>
              <a:rPr lang="en-GB" dirty="0"/>
              <a:t> – </a:t>
            </a:r>
            <a:r>
              <a:rPr lang="sl-SI" dirty="0"/>
              <a:t>tam </a:t>
            </a:r>
            <a:r>
              <a:rPr lang="en-GB" dirty="0" err="1"/>
              <a:t>kjer</a:t>
            </a:r>
            <a:r>
              <a:rPr lang="en-GB" dirty="0"/>
              <a:t> </a:t>
            </a:r>
            <a:r>
              <a:rPr lang="en-GB" dirty="0" err="1"/>
              <a:t>inovacija</a:t>
            </a:r>
            <a:r>
              <a:rPr lang="en-GB" dirty="0"/>
              <a:t> </a:t>
            </a:r>
            <a:r>
              <a:rPr lang="en-GB" dirty="0" err="1"/>
              <a:t>premika</a:t>
            </a:r>
            <a:r>
              <a:rPr lang="en-GB" dirty="0"/>
              <a:t> go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BEA364A-1BB0-42F9-9088-64E8B4D6CEC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90154" y="3976052"/>
            <a:ext cx="5453026" cy="619426"/>
          </a:xfrm>
        </p:spPr>
        <p:txBody>
          <a:bodyPr/>
          <a:lstStyle/>
          <a:p>
            <a:endParaRPr lang="sl-SI" dirty="0"/>
          </a:p>
          <a:p>
            <a:endParaRPr lang="sl-SI" dirty="0"/>
          </a:p>
          <a:p>
            <a:endParaRPr lang="sl-SI" dirty="0"/>
          </a:p>
          <a:p>
            <a:endParaRPr lang="sl-SI" dirty="0"/>
          </a:p>
          <a:p>
            <a:r>
              <a:rPr lang="en-GB" dirty="0"/>
              <a:t>Miran Breznik </a:t>
            </a:r>
            <a:br>
              <a:rPr lang="en-GB" dirty="0"/>
            </a:br>
            <a:r>
              <a:rPr lang="sl-SI" dirty="0"/>
              <a:t>6. marec 2024</a:t>
            </a:r>
          </a:p>
          <a:p>
            <a:endParaRPr lang="sl-SI" dirty="0"/>
          </a:p>
        </p:txBody>
      </p:sp>
      <p:sp>
        <p:nvSpPr>
          <p:cNvPr id="6" name="bg object 33">
            <a:extLst>
              <a:ext uri="{FF2B5EF4-FFF2-40B4-BE49-F238E27FC236}">
                <a16:creationId xmlns:a16="http://schemas.microsoft.com/office/drawing/2014/main" id="{40684714-E0E0-453C-BFC2-33193C3B8AB3}"/>
              </a:ext>
            </a:extLst>
          </p:cNvPr>
          <p:cNvSpPr>
            <a:spLocks noChangeAspect="1"/>
          </p:cNvSpPr>
          <p:nvPr/>
        </p:nvSpPr>
        <p:spPr>
          <a:xfrm rot="16200000">
            <a:off x="3143825" y="4151406"/>
            <a:ext cx="2402958" cy="3010230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220513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E9D6F20-6536-41D7-8E15-C55C0E1A24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E9D6F20-6536-41D7-8E15-C55C0E1A24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2C804ED-8854-47EE-B26D-C79FA676A3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225" y="663265"/>
            <a:ext cx="9222331" cy="430887"/>
          </a:xfrm>
        </p:spPr>
        <p:txBody>
          <a:bodyPr vert="horz"/>
          <a:lstStyle/>
          <a:p>
            <a:r>
              <a:rPr lang="sl-SI" dirty="0"/>
              <a:t>Sistem socialnega partnerstva – nizka stopnja stavk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47C6F2F-6D71-4D2A-82B3-3ABAA89A7F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34BEE3-566C-4068-A777-C3A4762E861B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E6320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E6320F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DA7A39E-1765-408A-8DA7-3C720325F8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92471" y="6147462"/>
            <a:ext cx="8631786" cy="25333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800" b="0" i="0" u="none" strike="noStrike" kern="1200" cap="none" spc="0" normalizeH="0" baseline="0" noProof="0" dirty="0">
                <a:ln>
                  <a:noFill/>
                </a:ln>
                <a:solidFill>
                  <a:srgbClr val="E6320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Vir: 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E6320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The European Union Institute (ETUI), 2023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E6320F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DEB7150-6151-4D8A-BF1E-556B8BBB9D3C}"/>
              </a:ext>
            </a:extLst>
          </p:cNvPr>
          <p:cNvSpPr txBox="1"/>
          <p:nvPr/>
        </p:nvSpPr>
        <p:spPr>
          <a:xfrm>
            <a:off x="2465304" y="2917996"/>
            <a:ext cx="27618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300393" rtl="0" eaLnBrk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3600" b="0" i="0" u="none" strike="noStrike" kern="1200" cap="none" spc="0" normalizeH="0" baseline="0" noProof="0" dirty="0">
                <a:ln>
                  <a:noFill/>
                </a:ln>
                <a:solidFill>
                  <a:srgbClr val="004669"/>
                </a:solidFill>
                <a:effectLst/>
                <a:uLnTx/>
                <a:uFillTx/>
                <a:latin typeface="Corbel" panose="020B0503020204020204" pitchFamily="34" charset="0"/>
                <a:ea typeface="ＭＳ Ｐゴシック" charset="0"/>
                <a:cs typeface="+mn-cs"/>
              </a:rPr>
              <a:t>A</a:t>
            </a:r>
            <a:r>
              <a:rPr kumimoji="0" lang="sl-SI" sz="3600" b="0" i="0" u="none" strike="noStrike" kern="1200" cap="none" spc="0" normalizeH="0" baseline="0" noProof="0" dirty="0">
                <a:ln>
                  <a:noFill/>
                </a:ln>
                <a:solidFill>
                  <a:srgbClr val="004669"/>
                </a:solidFill>
                <a:effectLst/>
                <a:uLnTx/>
                <a:uFillTx/>
                <a:latin typeface="Corbel" panose="020B0503020204020204" pitchFamily="34" charset="0"/>
                <a:ea typeface="ＭＳ Ｐゴシック" charset="0"/>
                <a:cs typeface="+mn-cs"/>
              </a:rPr>
              <a:t>vstrija</a:t>
            </a:r>
            <a:endParaRPr kumimoji="0" lang="de-DE" sz="3600" b="0" i="0" u="none" strike="noStrike" kern="1200" cap="none" spc="0" normalizeH="0" baseline="0" noProof="0" dirty="0">
              <a:ln>
                <a:noFill/>
              </a:ln>
              <a:solidFill>
                <a:srgbClr val="004669"/>
              </a:solidFill>
              <a:effectLst/>
              <a:uLnTx/>
              <a:uFillTx/>
              <a:latin typeface="Corbel" panose="020B0503020204020204" pitchFamily="34" charset="0"/>
              <a:ea typeface="ＭＳ Ｐゴシック" charset="0"/>
              <a:cs typeface="+mn-cs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9C75CB5-C428-4661-8A4F-90E645C10B10}"/>
              </a:ext>
            </a:extLst>
          </p:cNvPr>
          <p:cNvSpPr txBox="1"/>
          <p:nvPr/>
        </p:nvSpPr>
        <p:spPr>
          <a:xfrm>
            <a:off x="6096000" y="1173215"/>
            <a:ext cx="27618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300393" rtl="0" eaLnBrk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3600" b="0" i="0" u="none" strike="noStrike" kern="1200" cap="none" spc="0" normalizeH="0" baseline="0" noProof="0" dirty="0">
                <a:ln>
                  <a:noFill/>
                </a:ln>
                <a:solidFill>
                  <a:srgbClr val="004669"/>
                </a:solidFill>
                <a:effectLst/>
                <a:uLnTx/>
                <a:uFillTx/>
                <a:latin typeface="Corbel" panose="020B0503020204020204" pitchFamily="34" charset="0"/>
                <a:ea typeface="ＭＳ Ｐゴシック" charset="0"/>
                <a:cs typeface="+mn-cs"/>
              </a:rPr>
              <a:t>E</a:t>
            </a:r>
            <a:r>
              <a:rPr kumimoji="0" lang="sl-SI" sz="3600" b="0" i="0" u="none" strike="noStrike" kern="1200" cap="none" spc="0" normalizeH="0" baseline="0" noProof="0" dirty="0">
                <a:ln>
                  <a:noFill/>
                </a:ln>
                <a:solidFill>
                  <a:srgbClr val="004669"/>
                </a:solidFill>
                <a:effectLst/>
                <a:uLnTx/>
                <a:uFillTx/>
                <a:latin typeface="Corbel" panose="020B0503020204020204" pitchFamily="34" charset="0"/>
                <a:ea typeface="ＭＳ Ｐゴシック" charset="0"/>
                <a:cs typeface="+mn-cs"/>
              </a:rPr>
              <a:t>vropa</a:t>
            </a:r>
            <a:endParaRPr kumimoji="0" lang="de-DE" sz="3600" b="0" i="0" u="none" strike="noStrike" kern="1200" cap="none" spc="0" normalizeH="0" baseline="0" noProof="0" dirty="0">
              <a:ln>
                <a:noFill/>
              </a:ln>
              <a:solidFill>
                <a:srgbClr val="004669"/>
              </a:solidFill>
              <a:effectLst/>
              <a:uLnTx/>
              <a:uFillTx/>
              <a:latin typeface="Corbel" panose="020B0503020204020204" pitchFamily="34" charset="0"/>
              <a:ea typeface="ＭＳ Ｐゴシック" charset="0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8B4D808-DA0D-4C11-A126-D00F8F69E681}"/>
              </a:ext>
            </a:extLst>
          </p:cNvPr>
          <p:cNvSpPr txBox="1"/>
          <p:nvPr/>
        </p:nvSpPr>
        <p:spPr>
          <a:xfrm>
            <a:off x="3051306" y="3425479"/>
            <a:ext cx="23664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300393" rtl="0" eaLnBrk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3600" b="0" i="0" u="none" strike="noStrike" kern="1200" cap="none" spc="0" normalizeH="0" baseline="0" noProof="0" dirty="0">
                <a:ln>
                  <a:noFill/>
                </a:ln>
                <a:solidFill>
                  <a:srgbClr val="004669"/>
                </a:solidFill>
                <a:effectLst/>
                <a:uLnTx/>
                <a:uFillTx/>
                <a:latin typeface="Corbel" panose="020B0503020204020204" pitchFamily="34" charset="0"/>
                <a:ea typeface="ＭＳ Ｐゴシック" charset="0"/>
                <a:cs typeface="+mn-cs"/>
              </a:rPr>
              <a:t>1</a:t>
            </a:r>
            <a:endParaRPr kumimoji="0" lang="de-DE" sz="3600" b="0" i="0" u="none" strike="noStrike" kern="1200" cap="none" spc="0" normalizeH="0" baseline="0" noProof="0" dirty="0">
              <a:ln>
                <a:noFill/>
              </a:ln>
              <a:solidFill>
                <a:srgbClr val="004669"/>
              </a:solidFill>
              <a:effectLst/>
              <a:uLnTx/>
              <a:uFillTx/>
              <a:latin typeface="Corbel" panose="020B0503020204020204" pitchFamily="34" charset="0"/>
              <a:ea typeface="ＭＳ Ｐゴシック" charset="0"/>
              <a:cs typeface="+mn-cs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541D441E-DAB9-4E93-98BB-6FB06B6A02E8}"/>
              </a:ext>
            </a:extLst>
          </p:cNvPr>
          <p:cNvSpPr txBox="1"/>
          <p:nvPr/>
        </p:nvSpPr>
        <p:spPr>
          <a:xfrm>
            <a:off x="5856425" y="1272628"/>
            <a:ext cx="4556968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300393" rtl="0" eaLnBrk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l-SI" sz="16600" dirty="0">
                <a:solidFill>
                  <a:srgbClr val="004669"/>
                </a:solidFill>
                <a:latin typeface="Corbel" panose="020B0503020204020204" pitchFamily="34" charset="0"/>
                <a:ea typeface="ＭＳ Ｐゴシック" charset="0"/>
              </a:rPr>
              <a:t>48,1</a:t>
            </a:r>
            <a:endParaRPr kumimoji="0" lang="de-DE" sz="16600" b="0" i="0" u="none" strike="noStrike" kern="1200" cap="none" spc="0" normalizeH="0" baseline="0" noProof="0" dirty="0">
              <a:ln>
                <a:noFill/>
              </a:ln>
              <a:solidFill>
                <a:srgbClr val="004669"/>
              </a:solidFill>
              <a:effectLst/>
              <a:uLnTx/>
              <a:uFillTx/>
              <a:latin typeface="Corbel" panose="020B0503020204020204" pitchFamily="34" charset="0"/>
              <a:ea typeface="ＭＳ Ｐゴシック" charset="0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B604F018-3FA3-4367-92F5-F243542C6F26}"/>
              </a:ext>
            </a:extLst>
          </p:cNvPr>
          <p:cNvSpPr txBox="1"/>
          <p:nvPr/>
        </p:nvSpPr>
        <p:spPr>
          <a:xfrm>
            <a:off x="2227797" y="4430121"/>
            <a:ext cx="67964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300393" rtl="0" eaLnBrk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l-SI" sz="2000" dirty="0">
                <a:solidFill>
                  <a:srgbClr val="004669"/>
                </a:solidFill>
                <a:latin typeface="Corbel" panose="020B0503020204020204" pitchFamily="34" charset="0"/>
                <a:ea typeface="ＭＳ Ｐゴシック" charset="0"/>
              </a:rPr>
              <a:t>Povprečno število stavkovnih dni  </a:t>
            </a:r>
            <a:r>
              <a:rPr kumimoji="0" lang="sl-SI" sz="2000" b="0" i="0" u="none" strike="noStrike" kern="1200" cap="none" spc="0" normalizeH="0" baseline="0" noProof="0" dirty="0">
                <a:ln>
                  <a:noFill/>
                </a:ln>
                <a:solidFill>
                  <a:srgbClr val="004669"/>
                </a:solidFill>
                <a:effectLst/>
                <a:uLnTx/>
                <a:uFillTx/>
                <a:latin typeface="Corbel" panose="020B0503020204020204" pitchFamily="34" charset="0"/>
                <a:ea typeface="ＭＳ Ｐゴシック" charset="0"/>
                <a:cs typeface="+mn-cs"/>
              </a:rPr>
              <a:t>na </a:t>
            </a:r>
            <a:r>
              <a:rPr kumimoji="0" lang="de-AT" sz="2000" b="0" i="0" u="none" strike="noStrike" kern="1200" cap="none" spc="0" normalizeH="0" baseline="0" noProof="0" dirty="0">
                <a:ln>
                  <a:noFill/>
                </a:ln>
                <a:solidFill>
                  <a:srgbClr val="004669"/>
                </a:solidFill>
                <a:effectLst/>
                <a:uLnTx/>
                <a:uFillTx/>
                <a:latin typeface="Corbel" panose="020B0503020204020204" pitchFamily="34" charset="0"/>
                <a:ea typeface="ＭＳ Ｐゴシック" charset="0"/>
                <a:cs typeface="+mn-cs"/>
              </a:rPr>
              <a:t>1.000 </a:t>
            </a:r>
            <a:r>
              <a:rPr kumimoji="0" lang="sl-SI" sz="2000" b="0" i="0" u="none" strike="noStrike" kern="1200" cap="none" spc="0" normalizeH="0" baseline="0" noProof="0" dirty="0">
                <a:ln>
                  <a:noFill/>
                </a:ln>
                <a:solidFill>
                  <a:srgbClr val="004669"/>
                </a:solidFill>
                <a:effectLst/>
                <a:uLnTx/>
                <a:uFillTx/>
                <a:latin typeface="Corbel" panose="020B0503020204020204" pitchFamily="34" charset="0"/>
                <a:ea typeface="ＭＳ Ｐゴシック" charset="0"/>
                <a:cs typeface="+mn-cs"/>
              </a:rPr>
              <a:t>zaposlenih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srgbClr val="004669"/>
              </a:solidFill>
              <a:effectLst/>
              <a:uLnTx/>
              <a:uFillTx/>
              <a:latin typeface="Corbel" panose="020B0503020204020204" pitchFamily="34" charset="0"/>
              <a:ea typeface="ＭＳ Ｐゴシック" charset="0"/>
              <a:cs typeface="+mn-cs"/>
            </a:endParaRPr>
          </a:p>
        </p:txBody>
      </p:sp>
      <p:sp>
        <p:nvSpPr>
          <p:cNvPr id="12" name="bg object 33">
            <a:extLst>
              <a:ext uri="{FF2B5EF4-FFF2-40B4-BE49-F238E27FC236}">
                <a16:creationId xmlns:a16="http://schemas.microsoft.com/office/drawing/2014/main" id="{4CBE7E19-8C79-455E-BAF7-E1A1A133B17C}"/>
              </a:ext>
            </a:extLst>
          </p:cNvPr>
          <p:cNvSpPr>
            <a:spLocks noChangeAspect="1"/>
          </p:cNvSpPr>
          <p:nvPr/>
        </p:nvSpPr>
        <p:spPr>
          <a:xfrm rot="5400000">
            <a:off x="9889251" y="-258331"/>
            <a:ext cx="2044418" cy="2561081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46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18209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A4A1AA-887C-4A32-B5D7-D15E7E2734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226" y="247703"/>
            <a:ext cx="10547273" cy="430887"/>
          </a:xfrm>
        </p:spPr>
        <p:txBody>
          <a:bodyPr/>
          <a:lstStyle/>
          <a:p>
            <a:r>
              <a:rPr lang="sl-SI" dirty="0"/>
              <a:t>Operativni stroški za vodenje posla so zelo konkurenčni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A7B5E78-6D7B-400A-BA62-671CEF0B8A6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0BE098-9B24-46EC-933A-033B3136B4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l-SI" dirty="0"/>
              <a:t>Vir:   </a:t>
            </a:r>
            <a:r>
              <a:rPr lang="en-GB" dirty="0"/>
              <a:t>CBRE Research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C38CC79-2CFF-4559-8D93-22F2CE3BB49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2071" y="890298"/>
            <a:ext cx="8630940" cy="604800"/>
          </a:xfrm>
        </p:spPr>
        <p:txBody>
          <a:bodyPr/>
          <a:lstStyle/>
          <a:p>
            <a:r>
              <a:rPr lang="sl-SI" sz="2400" b="0" dirty="0"/>
              <a:t>Najemnine  pisarn v </a:t>
            </a:r>
            <a:r>
              <a:rPr lang="de-AT" sz="2400" b="0" dirty="0"/>
              <a:t>EUR </a:t>
            </a:r>
            <a:r>
              <a:rPr lang="sl-SI" sz="2400" b="0" dirty="0"/>
              <a:t>na  m2  in leto </a:t>
            </a:r>
            <a:endParaRPr lang="de-AT" sz="2400" b="0" dirty="0"/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52C1CD70-3294-4E64-9350-5A21DC6DBD10}"/>
              </a:ext>
            </a:extLst>
          </p:cNvPr>
          <p:cNvGraphicFramePr>
            <a:graphicFrameLocks noGrp="1"/>
          </p:cNvGraphicFramePr>
          <p:nvPr>
            <p:ph sz="quarter" idx="13"/>
          </p:nvPr>
        </p:nvGraphicFramePr>
        <p:xfrm>
          <a:off x="298267" y="1457740"/>
          <a:ext cx="10810457" cy="4823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951434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9924722-BE39-48AA-AD9B-CAF0939A0B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9924722-BE39-48AA-AD9B-CAF0939A0B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BB27845-CA4C-40EA-AD7B-F7B3D728A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AT" dirty="0" err="1"/>
              <a:t>Zakaj</a:t>
            </a:r>
            <a:r>
              <a:rPr lang="de-AT" dirty="0"/>
              <a:t> </a:t>
            </a:r>
            <a:r>
              <a:rPr lang="sl-SI" dirty="0"/>
              <a:t> </a:t>
            </a:r>
            <a:r>
              <a:rPr lang="de-AT" dirty="0" err="1"/>
              <a:t>Avstrija</a:t>
            </a:r>
            <a:r>
              <a:rPr lang="de-AT" dirty="0"/>
              <a:t>?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C0B489A-C075-41E0-A453-E93B97F9D4A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34BEE3-566C-4068-A777-C3A4762E861B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E6320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E6320F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0FE4226-9E50-402C-80BD-4F7E0A147A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E6320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 </a:t>
            </a:r>
          </a:p>
        </p:txBody>
      </p:sp>
      <p:sp>
        <p:nvSpPr>
          <p:cNvPr id="6" name="bg object 33">
            <a:extLst>
              <a:ext uri="{FF2B5EF4-FFF2-40B4-BE49-F238E27FC236}">
                <a16:creationId xmlns:a16="http://schemas.microsoft.com/office/drawing/2014/main" id="{3379CB21-01A3-4F75-9061-FB9D77650757}"/>
              </a:ext>
            </a:extLst>
          </p:cNvPr>
          <p:cNvSpPr>
            <a:spLocks noChangeAspect="1"/>
          </p:cNvSpPr>
          <p:nvPr/>
        </p:nvSpPr>
        <p:spPr>
          <a:xfrm rot="3357632">
            <a:off x="4409997" y="1541149"/>
            <a:ext cx="1583798" cy="1984054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46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bg object 33">
            <a:extLst>
              <a:ext uri="{FF2B5EF4-FFF2-40B4-BE49-F238E27FC236}">
                <a16:creationId xmlns:a16="http://schemas.microsoft.com/office/drawing/2014/main" id="{343E6BA5-8BFE-42E1-B0FA-EEB4866F150B}"/>
              </a:ext>
            </a:extLst>
          </p:cNvPr>
          <p:cNvSpPr>
            <a:spLocks noChangeAspect="1"/>
          </p:cNvSpPr>
          <p:nvPr/>
        </p:nvSpPr>
        <p:spPr>
          <a:xfrm rot="7663921">
            <a:off x="6050908" y="1575725"/>
            <a:ext cx="1583797" cy="1984053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46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bg object 33">
            <a:extLst>
              <a:ext uri="{FF2B5EF4-FFF2-40B4-BE49-F238E27FC236}">
                <a16:creationId xmlns:a16="http://schemas.microsoft.com/office/drawing/2014/main" id="{AEE2CBF4-190E-49A6-9CB3-1A28A2962908}"/>
              </a:ext>
            </a:extLst>
          </p:cNvPr>
          <p:cNvSpPr>
            <a:spLocks noChangeAspect="1"/>
          </p:cNvSpPr>
          <p:nvPr/>
        </p:nvSpPr>
        <p:spPr>
          <a:xfrm rot="12098391">
            <a:off x="6462472" y="3267975"/>
            <a:ext cx="1583798" cy="1984054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rgbClr val="E6320F"/>
          </a:solidFill>
          <a:ln>
            <a:solidFill>
              <a:srgbClr val="E6320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46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bg object 33">
            <a:extLst>
              <a:ext uri="{FF2B5EF4-FFF2-40B4-BE49-F238E27FC236}">
                <a16:creationId xmlns:a16="http://schemas.microsoft.com/office/drawing/2014/main" id="{EAC1CE38-093F-434C-A007-3A73B85187E2}"/>
              </a:ext>
            </a:extLst>
          </p:cNvPr>
          <p:cNvSpPr>
            <a:spLocks noChangeAspect="1"/>
          </p:cNvSpPr>
          <p:nvPr/>
        </p:nvSpPr>
        <p:spPr>
          <a:xfrm rot="20746160">
            <a:off x="3770248" y="3076844"/>
            <a:ext cx="1583798" cy="1984054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46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bg object 33">
            <a:extLst>
              <a:ext uri="{FF2B5EF4-FFF2-40B4-BE49-F238E27FC236}">
                <a16:creationId xmlns:a16="http://schemas.microsoft.com/office/drawing/2014/main" id="{BFE1923F-C946-42E2-8039-0954AE07FB01}"/>
              </a:ext>
            </a:extLst>
          </p:cNvPr>
          <p:cNvSpPr>
            <a:spLocks noChangeAspect="1"/>
          </p:cNvSpPr>
          <p:nvPr/>
        </p:nvSpPr>
        <p:spPr>
          <a:xfrm rot="16200000">
            <a:off x="5176395" y="4125003"/>
            <a:ext cx="1583798" cy="1984054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46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4C78652B-E64E-41E1-8DCC-0B54000400A4}"/>
              </a:ext>
            </a:extLst>
          </p:cNvPr>
          <p:cNvPicPr>
            <a:picLocks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414"/>
          <a:stretch/>
        </p:blipFill>
        <p:spPr bwMode="auto">
          <a:xfrm>
            <a:off x="5506039" y="3212635"/>
            <a:ext cx="961178" cy="961178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7265C5BC-753A-47A5-98A1-38F4CB171807}"/>
              </a:ext>
            </a:extLst>
          </p:cNvPr>
          <p:cNvSpPr txBox="1">
            <a:spLocks/>
          </p:cNvSpPr>
          <p:nvPr/>
        </p:nvSpPr>
        <p:spPr>
          <a:xfrm>
            <a:off x="1123611" y="1012385"/>
            <a:ext cx="3766788" cy="6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AT" sz="3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trg</a:t>
            </a:r>
            <a:br>
              <a:rPr kumimoji="0" lang="de-AT" sz="3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</a:br>
            <a:r>
              <a:rPr kumimoji="0" lang="de-AT" sz="3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 (</a:t>
            </a:r>
            <a:r>
              <a:rPr kumimoji="0" lang="de-AT" sz="3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dostop</a:t>
            </a:r>
            <a:r>
              <a:rPr kumimoji="0" lang="de-AT" sz="3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)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FFBD65DE-BB63-4F57-A16D-58A60158519A}"/>
              </a:ext>
            </a:extLst>
          </p:cNvPr>
          <p:cNvSpPr txBox="1">
            <a:spLocks/>
          </p:cNvSpPr>
          <p:nvPr/>
        </p:nvSpPr>
        <p:spPr>
          <a:xfrm>
            <a:off x="8000014" y="4173813"/>
            <a:ext cx="4198507" cy="6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AT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004669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talent</a:t>
            </a:r>
            <a:r>
              <a:rPr kumimoji="0" lang="sl-SI" sz="3000" b="1" i="0" u="none" strike="noStrike" kern="1200" cap="none" spc="0" normalizeH="0" baseline="0" noProof="0" dirty="0">
                <a:ln>
                  <a:noFill/>
                </a:ln>
                <a:solidFill>
                  <a:srgbClr val="004669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i</a:t>
            </a:r>
            <a:r>
              <a:rPr kumimoji="0" lang="de-AT" sz="3000" b="1" i="0" u="none" strike="noStrike" kern="1200" cap="none" spc="0" normalizeH="0" baseline="0" noProof="0" dirty="0">
                <a:ln>
                  <a:noFill/>
                </a:ln>
                <a:solidFill>
                  <a:srgbClr val="004669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 &amp; </a:t>
            </a:r>
            <a:br>
              <a:rPr kumimoji="0" lang="de-AT" sz="3000" b="1" i="0" u="none" strike="noStrike" kern="1200" cap="none" spc="0" normalizeH="0" baseline="0" noProof="0" dirty="0">
                <a:ln>
                  <a:noFill/>
                </a:ln>
                <a:solidFill>
                  <a:srgbClr val="004669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</a:br>
            <a:r>
              <a:rPr kumimoji="0" lang="de-AT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004669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mentaliteta</a:t>
            </a:r>
            <a:endParaRPr kumimoji="0" lang="de-AT" sz="3000" b="1" i="0" u="none" strike="noStrike" kern="1200" cap="none" spc="0" normalizeH="0" baseline="0" noProof="0" dirty="0">
              <a:ln>
                <a:noFill/>
              </a:ln>
              <a:solidFill>
                <a:srgbClr val="004669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6FF34173-E2C2-49AA-8C28-8B9D81BB41D0}"/>
              </a:ext>
            </a:extLst>
          </p:cNvPr>
          <p:cNvSpPr txBox="1">
            <a:spLocks/>
          </p:cNvSpPr>
          <p:nvPr/>
        </p:nvSpPr>
        <p:spPr>
          <a:xfrm>
            <a:off x="7254371" y="1012385"/>
            <a:ext cx="4750875" cy="124791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AT" sz="3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varnost</a:t>
            </a:r>
            <a:r>
              <a:rPr kumimoji="0" lang="de-AT" sz="3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 &amp; </a:t>
            </a:r>
            <a:br>
              <a:rPr kumimoji="0" lang="de-AT" sz="3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</a:br>
            <a:r>
              <a:rPr kumimoji="0" lang="de-AT" sz="3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stabilnost</a:t>
            </a:r>
            <a:endParaRPr kumimoji="0" lang="de-AT" sz="30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6E372D33-7C92-44A3-9BAD-7351A57561CA}"/>
              </a:ext>
            </a:extLst>
          </p:cNvPr>
          <p:cNvSpPr txBox="1">
            <a:spLocks/>
          </p:cNvSpPr>
          <p:nvPr/>
        </p:nvSpPr>
        <p:spPr>
          <a:xfrm>
            <a:off x="2225801" y="4008311"/>
            <a:ext cx="1710773" cy="6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sl-SI" sz="3000" b="1" dirty="0">
                <a:solidFill>
                  <a:schemeClr val="accent2"/>
                </a:solidFill>
              </a:rPr>
              <a:t>s</a:t>
            </a:r>
            <a:r>
              <a:rPr kumimoji="0" lang="de-AT" sz="3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upport</a:t>
            </a:r>
            <a:endParaRPr kumimoji="0" lang="de-AT" sz="30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77FED387-18E9-4FB1-849E-698500EBEC2B}"/>
              </a:ext>
            </a:extLst>
          </p:cNvPr>
          <p:cNvSpPr txBox="1">
            <a:spLocks/>
          </p:cNvSpPr>
          <p:nvPr/>
        </p:nvSpPr>
        <p:spPr>
          <a:xfrm>
            <a:off x="4706454" y="5903285"/>
            <a:ext cx="2560347" cy="6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AT" sz="3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inovacija</a:t>
            </a:r>
            <a:r>
              <a:rPr kumimoji="0" lang="de-AT" sz="3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 &amp;</a:t>
            </a:r>
            <a:br>
              <a:rPr kumimoji="0" lang="de-AT" sz="3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</a:br>
            <a:r>
              <a:rPr kumimoji="0" lang="de-AT" sz="3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eko-sistem</a:t>
            </a:r>
            <a:endParaRPr kumimoji="0" lang="de-AT" sz="30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18" name="Flussdiagramm: Verbinder 17">
            <a:extLst>
              <a:ext uri="{FF2B5EF4-FFF2-40B4-BE49-F238E27FC236}">
                <a16:creationId xmlns:a16="http://schemas.microsoft.com/office/drawing/2014/main" id="{0212381D-FD15-457D-A5D3-0806CE1549DC}"/>
              </a:ext>
            </a:extLst>
          </p:cNvPr>
          <p:cNvSpPr/>
          <p:nvPr/>
        </p:nvSpPr>
        <p:spPr bwMode="ltGray">
          <a:xfrm>
            <a:off x="5418700" y="3182320"/>
            <a:ext cx="1055641" cy="1012723"/>
          </a:xfrm>
          <a:prstGeom prst="flowChartConnector">
            <a:avLst/>
          </a:prstGeom>
          <a:solidFill>
            <a:srgbClr val="E6320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29045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C33BFD6-CB84-4089-9D7D-4790BCA7CC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C33BFD6-CB84-4089-9D7D-4790BCA7CC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EBFB88A-9B1B-48B1-B12F-D5005AC6935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040AE1D-F9FA-49BF-AA29-76AC585ADB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l-SI" dirty="0"/>
              <a:t>slika</a:t>
            </a:r>
            <a:r>
              <a:rPr lang="en-GB" dirty="0"/>
              <a:t>: © Christian </a:t>
            </a:r>
            <a:r>
              <a:rPr lang="en-GB" dirty="0" err="1"/>
              <a:t>Vorhofer</a:t>
            </a:r>
            <a:r>
              <a:rPr lang="en-GB" dirty="0"/>
              <a:t> / Westend61</a:t>
            </a:r>
          </a:p>
          <a:p>
            <a:r>
              <a:rPr lang="sl-SI" dirty="0"/>
              <a:t>vir</a:t>
            </a:r>
            <a:r>
              <a:rPr lang="en-GB" dirty="0"/>
              <a:t>: EU-</a:t>
            </a:r>
            <a:r>
              <a:rPr lang="en-GB" dirty="0" err="1"/>
              <a:t>Kommission</a:t>
            </a:r>
            <a:r>
              <a:rPr lang="en-GB" dirty="0"/>
              <a:t>,</a:t>
            </a:r>
            <a:r>
              <a:rPr lang="en-US" dirty="0"/>
              <a:t> IMD World Competitiveness Yearbook</a:t>
            </a:r>
            <a:endParaRPr lang="en-GB" dirty="0"/>
          </a:p>
          <a:p>
            <a:endParaRPr lang="en-GB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9A67AEF-6EC7-4CB7-BE1A-6E3FAA8EBA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225" y="326270"/>
            <a:ext cx="8631786" cy="430887"/>
          </a:xfrm>
        </p:spPr>
        <p:txBody>
          <a:bodyPr vert="horz"/>
          <a:lstStyle/>
          <a:p>
            <a:r>
              <a:rPr lang="sl-SI" dirty="0"/>
              <a:t>Najdem ustrezne sodelavke &amp; sodelavce?</a:t>
            </a:r>
            <a:r>
              <a:rPr lang="de-AT" dirty="0"/>
              <a:t> </a:t>
            </a:r>
            <a:r>
              <a:rPr lang="sl-SI" dirty="0"/>
              <a:t>Da</a:t>
            </a:r>
            <a:r>
              <a:rPr lang="de-AT" dirty="0"/>
              <a:t>!!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5DFC675-D04A-4413-9F38-90AF0019ADD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496844" y="1052513"/>
            <a:ext cx="7695156" cy="4717709"/>
          </a:xfrm>
        </p:spPr>
        <p:txBody>
          <a:bodyPr/>
          <a:lstStyle/>
          <a:p>
            <a:r>
              <a:rPr lang="en-US" dirty="0"/>
              <a:t> 	</a:t>
            </a:r>
            <a:br>
              <a:rPr lang="en-US" dirty="0"/>
            </a:br>
            <a:r>
              <a:rPr lang="sl-SI" dirty="0">
                <a:solidFill>
                  <a:srgbClr val="E6320F"/>
                </a:solidFill>
              </a:rPr>
              <a:t>p</a:t>
            </a:r>
            <a:r>
              <a:rPr lang="en-US" dirty="0" err="1">
                <a:solidFill>
                  <a:srgbClr val="E6320F"/>
                </a:solidFill>
              </a:rPr>
              <a:t>rodu</a:t>
            </a:r>
            <a:r>
              <a:rPr lang="sl-SI" dirty="0">
                <a:solidFill>
                  <a:srgbClr val="E6320F"/>
                </a:solidFill>
              </a:rPr>
              <a:t>ktivnost</a:t>
            </a:r>
            <a:r>
              <a:rPr lang="en-US" dirty="0"/>
              <a:t> 1</a:t>
            </a:r>
            <a:r>
              <a:rPr lang="sl-SI" dirty="0"/>
              <a:t>6</a:t>
            </a:r>
            <a:r>
              <a:rPr lang="en-US" dirty="0"/>
              <a:t> % </a:t>
            </a:r>
            <a:r>
              <a:rPr lang="sl-SI" dirty="0"/>
              <a:t>nad povprečjem </a:t>
            </a:r>
            <a:r>
              <a:rPr lang="en-US" dirty="0"/>
              <a:t>EU</a:t>
            </a:r>
          </a:p>
          <a:p>
            <a:r>
              <a:rPr lang="sl-SI" dirty="0">
                <a:solidFill>
                  <a:srgbClr val="E6320F"/>
                </a:solidFill>
              </a:rPr>
              <a:t>izobrazba</a:t>
            </a:r>
            <a:r>
              <a:rPr lang="en-US" dirty="0"/>
              <a:t>	</a:t>
            </a:r>
            <a:r>
              <a:rPr lang="sl-SI" dirty="0"/>
              <a:t>1. mesto na svetu na področju</a:t>
            </a:r>
          </a:p>
          <a:p>
            <a:r>
              <a:rPr lang="sl-SI" dirty="0"/>
              <a:t>                              izobraževanja sodelavk in sodelavcev</a:t>
            </a:r>
            <a:endParaRPr lang="en-US" dirty="0"/>
          </a:p>
          <a:p>
            <a:r>
              <a:rPr lang="sl-SI" dirty="0">
                <a:solidFill>
                  <a:srgbClr val="E6320F"/>
                </a:solidFill>
              </a:rPr>
              <a:t>šolstvo</a:t>
            </a:r>
            <a:r>
              <a:rPr lang="en-US" dirty="0"/>
              <a:t>	</a:t>
            </a:r>
            <a:r>
              <a:rPr lang="sl-SI" dirty="0"/>
              <a:t>edinstveno poklicno izobraževalno šolstvo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		(HAK</a:t>
            </a:r>
            <a:r>
              <a:rPr lang="sl-SI" dirty="0"/>
              <a:t>-TAK v Celovcu</a:t>
            </a:r>
            <a:r>
              <a:rPr lang="en-US" dirty="0"/>
              <a:t>, HTL)</a:t>
            </a:r>
          </a:p>
          <a:p>
            <a:r>
              <a:rPr lang="sl-SI" dirty="0">
                <a:solidFill>
                  <a:srgbClr val="E6320F"/>
                </a:solidFill>
              </a:rPr>
              <a:t>u</a:t>
            </a:r>
            <a:r>
              <a:rPr lang="en-US" dirty="0" err="1">
                <a:solidFill>
                  <a:srgbClr val="E6320F"/>
                </a:solidFill>
              </a:rPr>
              <a:t>niver</a:t>
            </a:r>
            <a:r>
              <a:rPr lang="sl-SI" dirty="0">
                <a:solidFill>
                  <a:srgbClr val="E6320F"/>
                </a:solidFill>
              </a:rPr>
              <a:t>ze</a:t>
            </a:r>
            <a:r>
              <a:rPr lang="en-US" dirty="0"/>
              <a:t>	1</a:t>
            </a:r>
            <a:r>
              <a:rPr lang="sl-SI" dirty="0"/>
              <a:t>7</a:t>
            </a:r>
            <a:r>
              <a:rPr lang="en-US" dirty="0"/>
              <a:t> </a:t>
            </a:r>
            <a:r>
              <a:rPr lang="en-US" dirty="0" err="1"/>
              <a:t>privat</a:t>
            </a:r>
            <a:r>
              <a:rPr lang="sl-SI" dirty="0"/>
              <a:t>nih, </a:t>
            </a:r>
            <a:r>
              <a:rPr lang="en-US" dirty="0"/>
              <a:t>22 </a:t>
            </a:r>
            <a:r>
              <a:rPr lang="sl-SI" dirty="0"/>
              <a:t>javnih &amp; 21  visoko                             </a:t>
            </a:r>
          </a:p>
          <a:p>
            <a:r>
              <a:rPr lang="sl-SI" dirty="0"/>
              <a:t>                               strokovnih šol</a:t>
            </a:r>
            <a:endParaRPr lang="en-US" dirty="0"/>
          </a:p>
          <a:p>
            <a:r>
              <a:rPr lang="sl-SI" dirty="0">
                <a:solidFill>
                  <a:srgbClr val="E6320F"/>
                </a:solidFill>
              </a:rPr>
              <a:t>delovno pravo</a:t>
            </a:r>
            <a:r>
              <a:rPr lang="en-US" dirty="0"/>
              <a:t>modern</a:t>
            </a:r>
            <a:r>
              <a:rPr lang="sl-SI" dirty="0"/>
              <a:t>o</a:t>
            </a:r>
            <a:r>
              <a:rPr lang="en-US" dirty="0"/>
              <a:t> </a:t>
            </a:r>
            <a:r>
              <a:rPr lang="sl-SI" dirty="0"/>
              <a:t>in fleksibilno</a:t>
            </a:r>
            <a:endParaRPr lang="en-US" dirty="0"/>
          </a:p>
          <a:p>
            <a:r>
              <a:rPr lang="sl-SI" dirty="0">
                <a:solidFill>
                  <a:srgbClr val="E6320F"/>
                </a:solidFill>
              </a:rPr>
              <a:t>jezikovna sposobnost </a:t>
            </a:r>
            <a:r>
              <a:rPr lang="sl-SI" dirty="0"/>
              <a:t>Koroški Slovenci</a:t>
            </a:r>
            <a:r>
              <a:rPr lang="en-US" dirty="0"/>
              <a:t>	</a:t>
            </a:r>
          </a:p>
          <a:p>
            <a:endParaRPr lang="de-AT" dirty="0"/>
          </a:p>
        </p:txBody>
      </p:sp>
      <p:sp>
        <p:nvSpPr>
          <p:cNvPr id="9" name="bg object 33">
            <a:extLst>
              <a:ext uri="{FF2B5EF4-FFF2-40B4-BE49-F238E27FC236}">
                <a16:creationId xmlns:a16="http://schemas.microsoft.com/office/drawing/2014/main" id="{B858DE1C-FF20-4B15-92F2-CB4054878415}"/>
              </a:ext>
            </a:extLst>
          </p:cNvPr>
          <p:cNvSpPr>
            <a:spLocks noChangeAspect="1"/>
          </p:cNvSpPr>
          <p:nvPr/>
        </p:nvSpPr>
        <p:spPr>
          <a:xfrm rot="10800000">
            <a:off x="10147582" y="641098"/>
            <a:ext cx="2044418" cy="2561081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3AF9BB54-73D9-4927-AC53-3B482C57ABF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AT"/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5901BC77-EF27-480C-B0A7-0A0A660C37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225" y="1052513"/>
            <a:ext cx="3471749" cy="4717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82610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79B1C3-7453-4E0E-9963-E8A186D9DD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9537" y="209407"/>
            <a:ext cx="9035993" cy="430887"/>
          </a:xfrm>
        </p:spPr>
        <p:txBody>
          <a:bodyPr/>
          <a:lstStyle/>
          <a:p>
            <a:r>
              <a:rPr lang="de-AT" dirty="0"/>
              <a:t>Modern</a:t>
            </a:r>
            <a:r>
              <a:rPr lang="sl-SI" dirty="0"/>
              <a:t>o delovno pravo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A192DBA-D13D-4DF2-87E5-5EC24EEEEA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DCC36423-9BD3-4E58-A56E-4E4966CF101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16617" y="1547041"/>
            <a:ext cx="9365446" cy="4072295"/>
          </a:xfrm>
        </p:spPr>
        <p:txBody>
          <a:bodyPr/>
          <a:lstStyle/>
          <a:p>
            <a:pPr marL="342900" indent="-342900" eaLnBrk="1" hangingPunct="1">
              <a:lnSpc>
                <a:spcPts val="2500"/>
              </a:lnSpc>
              <a:spcBef>
                <a:spcPct val="0"/>
              </a:spcBef>
              <a:buClr>
                <a:srgbClr val="E6320F"/>
              </a:buClr>
              <a:buFont typeface="Arial" panose="020B0604020202020204" pitchFamily="34" charset="0"/>
              <a:buChar char="•"/>
            </a:pPr>
            <a:r>
              <a:rPr lang="sl-SI" altLang="de-DE" sz="2400" b="0" dirty="0">
                <a:solidFill>
                  <a:schemeClr val="tx1"/>
                </a:solidFill>
              </a:rPr>
              <a:t>Ni  splošno veljavne minimalne plače, ampak plače so  urejene z panožnimi  kolektivnimi  pogodbami</a:t>
            </a:r>
            <a:endParaRPr lang="it-IT" altLang="de-DE" sz="2400" b="0" dirty="0">
              <a:solidFill>
                <a:schemeClr val="tx1"/>
              </a:solidFill>
            </a:endParaRPr>
          </a:p>
          <a:p>
            <a:pPr marL="342900" indent="-342900" eaLnBrk="1" hangingPunct="1">
              <a:lnSpc>
                <a:spcPts val="2500"/>
              </a:lnSpc>
              <a:spcBef>
                <a:spcPct val="0"/>
              </a:spcBef>
              <a:buClr>
                <a:srgbClr val="E6320F"/>
              </a:buClr>
              <a:buFont typeface="Arial" panose="020B0604020202020204" pitchFamily="34" charset="0"/>
              <a:buChar char="•"/>
            </a:pPr>
            <a:endParaRPr lang="it-IT" altLang="de-DE" sz="2400" b="0" dirty="0">
              <a:solidFill>
                <a:schemeClr val="tx1"/>
              </a:solidFill>
            </a:endParaRPr>
          </a:p>
          <a:p>
            <a:pPr marL="342900" indent="-342900" eaLnBrk="1" hangingPunct="1">
              <a:lnSpc>
                <a:spcPts val="2500"/>
              </a:lnSpc>
              <a:spcBef>
                <a:spcPct val="0"/>
              </a:spcBef>
              <a:buClr>
                <a:srgbClr val="E6320F"/>
              </a:buClr>
              <a:buFont typeface="Arial" panose="020B0604020202020204" pitchFamily="34" charset="0"/>
              <a:buChar char="•"/>
            </a:pPr>
            <a:r>
              <a:rPr lang="sl-SI" altLang="de-DE" sz="2400" b="0" dirty="0">
                <a:solidFill>
                  <a:schemeClr val="tx1"/>
                </a:solidFill>
              </a:rPr>
              <a:t>Plače se izplačajo </a:t>
            </a:r>
            <a:r>
              <a:rPr lang="it-IT" altLang="de-DE" sz="2400" b="0" dirty="0">
                <a:solidFill>
                  <a:schemeClr val="tx1"/>
                </a:solidFill>
              </a:rPr>
              <a:t> 14 </a:t>
            </a:r>
            <a:r>
              <a:rPr lang="sl-SI" altLang="de-DE" sz="2400" b="0" dirty="0">
                <a:solidFill>
                  <a:schemeClr val="tx1"/>
                </a:solidFill>
              </a:rPr>
              <a:t>krat na leto</a:t>
            </a:r>
            <a:endParaRPr lang="it-IT" altLang="de-DE" sz="2400" b="0" dirty="0">
              <a:solidFill>
                <a:schemeClr val="tx1"/>
              </a:solidFill>
            </a:endParaRPr>
          </a:p>
          <a:p>
            <a:pPr marL="342900" indent="-342900" eaLnBrk="1" hangingPunct="1">
              <a:lnSpc>
                <a:spcPts val="2500"/>
              </a:lnSpc>
              <a:spcBef>
                <a:spcPct val="0"/>
              </a:spcBef>
              <a:buClr>
                <a:srgbClr val="E6320F"/>
              </a:buClr>
              <a:buFont typeface="Arial" panose="020B0604020202020204" pitchFamily="34" charset="0"/>
              <a:buChar char="•"/>
            </a:pPr>
            <a:endParaRPr lang="it-IT" altLang="de-DE" sz="2400" b="0" dirty="0">
              <a:solidFill>
                <a:schemeClr val="tx1"/>
              </a:solidFill>
            </a:endParaRPr>
          </a:p>
          <a:p>
            <a:pPr marL="342900" indent="-342900" eaLnBrk="1" hangingPunct="1">
              <a:lnSpc>
                <a:spcPts val="2500"/>
              </a:lnSpc>
              <a:spcBef>
                <a:spcPct val="0"/>
              </a:spcBef>
              <a:buClr>
                <a:srgbClr val="E6320F"/>
              </a:buClr>
              <a:buFont typeface="Arial" panose="020B0604020202020204" pitchFamily="34" charset="0"/>
              <a:buChar char="•"/>
            </a:pPr>
            <a:r>
              <a:rPr lang="sl-SI" altLang="de-DE" sz="2400" b="0" dirty="0">
                <a:solidFill>
                  <a:schemeClr val="tx1"/>
                </a:solidFill>
              </a:rPr>
              <a:t>Splošni delovni čas</a:t>
            </a:r>
            <a:r>
              <a:rPr lang="it-IT" altLang="de-DE" sz="2400" b="0" dirty="0">
                <a:solidFill>
                  <a:schemeClr val="tx1"/>
                </a:solidFill>
              </a:rPr>
              <a:t>: 38.5 </a:t>
            </a:r>
            <a:r>
              <a:rPr lang="sl-SI" altLang="de-DE" sz="2400" b="0" dirty="0">
                <a:solidFill>
                  <a:schemeClr val="tx1"/>
                </a:solidFill>
              </a:rPr>
              <a:t>ali </a:t>
            </a:r>
            <a:r>
              <a:rPr lang="it-IT" altLang="de-DE" sz="2400" b="0" dirty="0">
                <a:solidFill>
                  <a:schemeClr val="tx1"/>
                </a:solidFill>
              </a:rPr>
              <a:t> 40 </a:t>
            </a:r>
            <a:r>
              <a:rPr lang="sl-SI" altLang="de-DE" sz="2400" b="0" dirty="0">
                <a:solidFill>
                  <a:schemeClr val="tx1"/>
                </a:solidFill>
              </a:rPr>
              <a:t>ur</a:t>
            </a:r>
            <a:r>
              <a:rPr lang="it-IT" altLang="de-DE" sz="2400" b="0" dirty="0">
                <a:solidFill>
                  <a:schemeClr val="tx1"/>
                </a:solidFill>
              </a:rPr>
              <a:t> / </a:t>
            </a:r>
            <a:r>
              <a:rPr lang="sl-SI" altLang="de-DE" sz="2400" b="0" dirty="0">
                <a:solidFill>
                  <a:schemeClr val="tx1"/>
                </a:solidFill>
              </a:rPr>
              <a:t>na teden</a:t>
            </a:r>
            <a:r>
              <a:rPr lang="it-IT" altLang="de-DE" sz="2400" b="0" dirty="0">
                <a:solidFill>
                  <a:schemeClr val="tx1"/>
                </a:solidFill>
              </a:rPr>
              <a:t> (</a:t>
            </a:r>
            <a:r>
              <a:rPr lang="sl-SI" altLang="de-DE" sz="2400" b="0" dirty="0">
                <a:solidFill>
                  <a:schemeClr val="tx1"/>
                </a:solidFill>
              </a:rPr>
              <a:t>izvzeta je malica/kosilo</a:t>
            </a:r>
            <a:r>
              <a:rPr lang="it-IT" altLang="de-DE" sz="2400" b="0" dirty="0">
                <a:solidFill>
                  <a:schemeClr val="tx1"/>
                </a:solidFill>
              </a:rPr>
              <a:t>), max. 12 </a:t>
            </a:r>
            <a:r>
              <a:rPr lang="sl-SI" altLang="de-DE" sz="2400" b="0" dirty="0">
                <a:solidFill>
                  <a:schemeClr val="tx1"/>
                </a:solidFill>
              </a:rPr>
              <a:t>ur na dan</a:t>
            </a:r>
            <a:r>
              <a:rPr lang="it-IT" altLang="de-DE" sz="2400" b="0" dirty="0">
                <a:solidFill>
                  <a:schemeClr val="tx1"/>
                </a:solidFill>
              </a:rPr>
              <a:t> -&gt; n</a:t>
            </a:r>
            <a:r>
              <a:rPr lang="sl-SI" altLang="de-DE" sz="2400" b="0" dirty="0">
                <a:solidFill>
                  <a:schemeClr val="tx1"/>
                </a:solidFill>
              </a:rPr>
              <a:t>ov predpis</a:t>
            </a:r>
            <a:endParaRPr lang="it-IT" altLang="de-DE" sz="2400" b="0" dirty="0">
              <a:solidFill>
                <a:schemeClr val="tx1"/>
              </a:solidFill>
            </a:endParaRPr>
          </a:p>
          <a:p>
            <a:pPr marL="342900" indent="-342900" eaLnBrk="1" hangingPunct="1">
              <a:lnSpc>
                <a:spcPts val="2500"/>
              </a:lnSpc>
              <a:spcBef>
                <a:spcPct val="0"/>
              </a:spcBef>
              <a:buClr>
                <a:srgbClr val="E6320F"/>
              </a:buClr>
              <a:buFont typeface="Arial" panose="020B0604020202020204" pitchFamily="34" charset="0"/>
              <a:buChar char="•"/>
            </a:pPr>
            <a:endParaRPr lang="it-IT" altLang="de-DE" sz="2400" b="0" dirty="0">
              <a:solidFill>
                <a:schemeClr val="tx1"/>
              </a:solidFill>
            </a:endParaRPr>
          </a:p>
          <a:p>
            <a:pPr marL="342900" indent="-342900" eaLnBrk="1" hangingPunct="1">
              <a:lnSpc>
                <a:spcPts val="2500"/>
              </a:lnSpc>
              <a:spcBef>
                <a:spcPct val="0"/>
              </a:spcBef>
              <a:buClr>
                <a:srgbClr val="E6320F"/>
              </a:buClr>
              <a:buFont typeface="Arial" panose="020B0604020202020204" pitchFamily="34" charset="0"/>
              <a:buChar char="•"/>
            </a:pPr>
            <a:r>
              <a:rPr lang="sl-SI" altLang="de-DE" sz="2400" b="0" dirty="0">
                <a:solidFill>
                  <a:schemeClr val="tx1"/>
                </a:solidFill>
              </a:rPr>
              <a:t>Navadno </a:t>
            </a:r>
            <a:r>
              <a:rPr lang="it-IT" altLang="de-DE" sz="2400" b="0" dirty="0">
                <a:solidFill>
                  <a:schemeClr val="tx1"/>
                </a:solidFill>
              </a:rPr>
              <a:t>25 </a:t>
            </a:r>
            <a:r>
              <a:rPr lang="sl-SI" altLang="de-DE" sz="2400" b="0" dirty="0">
                <a:solidFill>
                  <a:schemeClr val="tx1"/>
                </a:solidFill>
              </a:rPr>
              <a:t>dni dopusta na leto</a:t>
            </a:r>
            <a:endParaRPr lang="it-IT" altLang="de-DE" sz="2400" b="0" dirty="0">
              <a:solidFill>
                <a:schemeClr val="tx1"/>
              </a:solidFill>
            </a:endParaRPr>
          </a:p>
          <a:p>
            <a:pPr marL="342900" indent="-342900" eaLnBrk="1" hangingPunct="1">
              <a:lnSpc>
                <a:spcPts val="2500"/>
              </a:lnSpc>
              <a:spcBef>
                <a:spcPct val="0"/>
              </a:spcBef>
              <a:buClr>
                <a:srgbClr val="E6320F"/>
              </a:buClr>
              <a:buFont typeface="Arial" panose="020B0604020202020204" pitchFamily="34" charset="0"/>
              <a:buChar char="•"/>
            </a:pPr>
            <a:endParaRPr lang="it-IT" altLang="de-DE" sz="2400" b="0" dirty="0">
              <a:solidFill>
                <a:schemeClr val="tx1"/>
              </a:solidFill>
            </a:endParaRPr>
          </a:p>
          <a:p>
            <a:pPr marL="342900" indent="-342900" eaLnBrk="1" hangingPunct="1">
              <a:lnSpc>
                <a:spcPts val="2500"/>
              </a:lnSpc>
              <a:spcBef>
                <a:spcPct val="0"/>
              </a:spcBef>
              <a:buClr>
                <a:srgbClr val="E6320F"/>
              </a:buClr>
              <a:buFont typeface="Arial" panose="020B0604020202020204" pitchFamily="34" charset="0"/>
              <a:buChar char="•"/>
            </a:pPr>
            <a:r>
              <a:rPr lang="sl-SI" altLang="de-DE" sz="2400" b="0" dirty="0">
                <a:solidFill>
                  <a:schemeClr val="tx1"/>
                </a:solidFill>
              </a:rPr>
              <a:t>Nov sistem odpravnin</a:t>
            </a:r>
            <a:r>
              <a:rPr lang="it-IT" altLang="de-DE" sz="2400" b="0" dirty="0">
                <a:solidFill>
                  <a:schemeClr val="tx1"/>
                </a:solidFill>
              </a:rPr>
              <a:t> – n</a:t>
            </a:r>
            <a:r>
              <a:rPr lang="sl-SI" altLang="de-DE" sz="2400" b="0" dirty="0">
                <a:solidFill>
                  <a:schemeClr val="tx1"/>
                </a:solidFill>
              </a:rPr>
              <a:t>iso potrebne rezervacije</a:t>
            </a:r>
            <a:endParaRPr lang="it-IT" altLang="de-DE" sz="2400" b="0" dirty="0">
              <a:solidFill>
                <a:schemeClr val="tx1"/>
              </a:solidFill>
            </a:endParaRPr>
          </a:p>
          <a:p>
            <a:pPr marL="342900" indent="-342900" eaLnBrk="1" hangingPunct="1">
              <a:lnSpc>
                <a:spcPts val="2500"/>
              </a:lnSpc>
              <a:spcBef>
                <a:spcPct val="0"/>
              </a:spcBef>
              <a:buClr>
                <a:srgbClr val="E6320F"/>
              </a:buClr>
              <a:buFont typeface="Arial" panose="020B0604020202020204" pitchFamily="34" charset="0"/>
              <a:buChar char="•"/>
            </a:pPr>
            <a:endParaRPr lang="it-IT" altLang="de-DE" sz="2400" b="0" dirty="0">
              <a:solidFill>
                <a:schemeClr val="tx1"/>
              </a:solidFill>
            </a:endParaRPr>
          </a:p>
          <a:p>
            <a:pPr marL="342900" indent="-342900" eaLnBrk="1" hangingPunct="1">
              <a:lnSpc>
                <a:spcPts val="2500"/>
              </a:lnSpc>
              <a:spcBef>
                <a:spcPct val="0"/>
              </a:spcBef>
              <a:buClr>
                <a:srgbClr val="E6320F"/>
              </a:buClr>
              <a:buFont typeface="Arial" panose="020B0604020202020204" pitchFamily="34" charset="0"/>
              <a:buChar char="•"/>
            </a:pPr>
            <a:r>
              <a:rPr lang="sl-SI" altLang="de-DE" dirty="0"/>
              <a:t>Odpoved je možna brez kakega razloga</a:t>
            </a:r>
            <a:endParaRPr lang="it-IT" altLang="de-DE" sz="2400" b="0" dirty="0">
              <a:solidFill>
                <a:schemeClr val="tx1"/>
              </a:solidFill>
            </a:endParaRPr>
          </a:p>
          <a:p>
            <a:pPr marL="342900" lvl="2" indent="-342900">
              <a:spcBef>
                <a:spcPts val="1200"/>
              </a:spcBef>
              <a:buClr>
                <a:srgbClr val="E10000"/>
              </a:buClr>
            </a:pPr>
            <a:endParaRPr lang="en-US" dirty="0"/>
          </a:p>
        </p:txBody>
      </p:sp>
      <p:sp>
        <p:nvSpPr>
          <p:cNvPr id="9" name="bg object 33">
            <a:extLst>
              <a:ext uri="{FF2B5EF4-FFF2-40B4-BE49-F238E27FC236}">
                <a16:creationId xmlns:a16="http://schemas.microsoft.com/office/drawing/2014/main" id="{009D9BB2-1468-4A76-A595-AF64487FC02B}"/>
              </a:ext>
            </a:extLst>
          </p:cNvPr>
          <p:cNvSpPr>
            <a:spLocks noChangeAspect="1"/>
          </p:cNvSpPr>
          <p:nvPr/>
        </p:nvSpPr>
        <p:spPr>
          <a:xfrm rot="10800000">
            <a:off x="9782063" y="1594884"/>
            <a:ext cx="2402455" cy="3009600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rgbClr val="E6320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107201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9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9924722-BE39-48AA-AD9B-CAF0939A0B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9924722-BE39-48AA-AD9B-CAF0939A0B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BB27845-CA4C-40EA-AD7B-F7B3D728A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AT" dirty="0" err="1"/>
              <a:t>Zakaj</a:t>
            </a:r>
            <a:r>
              <a:rPr lang="de-AT" dirty="0"/>
              <a:t> </a:t>
            </a:r>
            <a:r>
              <a:rPr lang="sl-SI" dirty="0"/>
              <a:t> </a:t>
            </a:r>
            <a:r>
              <a:rPr lang="de-AT" dirty="0" err="1"/>
              <a:t>Avstrija</a:t>
            </a:r>
            <a:r>
              <a:rPr lang="de-AT" dirty="0"/>
              <a:t>?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C0B489A-C075-41E0-A453-E93B97F9D4A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0FE4226-9E50-402C-80BD-4F7E0A147A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bg object 33">
            <a:extLst>
              <a:ext uri="{FF2B5EF4-FFF2-40B4-BE49-F238E27FC236}">
                <a16:creationId xmlns:a16="http://schemas.microsoft.com/office/drawing/2014/main" id="{3379CB21-01A3-4F75-9061-FB9D77650757}"/>
              </a:ext>
            </a:extLst>
          </p:cNvPr>
          <p:cNvSpPr>
            <a:spLocks noChangeAspect="1"/>
          </p:cNvSpPr>
          <p:nvPr/>
        </p:nvSpPr>
        <p:spPr>
          <a:xfrm rot="3357632">
            <a:off x="4409997" y="1541149"/>
            <a:ext cx="1583798" cy="1984054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" name="bg object 33">
            <a:extLst>
              <a:ext uri="{FF2B5EF4-FFF2-40B4-BE49-F238E27FC236}">
                <a16:creationId xmlns:a16="http://schemas.microsoft.com/office/drawing/2014/main" id="{343E6BA5-8BFE-42E1-B0FA-EEB4866F150B}"/>
              </a:ext>
            </a:extLst>
          </p:cNvPr>
          <p:cNvSpPr>
            <a:spLocks noChangeAspect="1"/>
          </p:cNvSpPr>
          <p:nvPr/>
        </p:nvSpPr>
        <p:spPr>
          <a:xfrm rot="7663921">
            <a:off x="6050908" y="1575725"/>
            <a:ext cx="1583797" cy="1984053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bg object 33">
            <a:extLst>
              <a:ext uri="{FF2B5EF4-FFF2-40B4-BE49-F238E27FC236}">
                <a16:creationId xmlns:a16="http://schemas.microsoft.com/office/drawing/2014/main" id="{AEE2CBF4-190E-49A6-9CB3-1A28A2962908}"/>
              </a:ext>
            </a:extLst>
          </p:cNvPr>
          <p:cNvSpPr>
            <a:spLocks noChangeAspect="1"/>
          </p:cNvSpPr>
          <p:nvPr/>
        </p:nvSpPr>
        <p:spPr>
          <a:xfrm rot="12098391">
            <a:off x="6462472" y="3267975"/>
            <a:ext cx="1583798" cy="1984054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bg object 33">
            <a:extLst>
              <a:ext uri="{FF2B5EF4-FFF2-40B4-BE49-F238E27FC236}">
                <a16:creationId xmlns:a16="http://schemas.microsoft.com/office/drawing/2014/main" id="{EAC1CE38-093F-434C-A007-3A73B85187E2}"/>
              </a:ext>
            </a:extLst>
          </p:cNvPr>
          <p:cNvSpPr>
            <a:spLocks noChangeAspect="1"/>
          </p:cNvSpPr>
          <p:nvPr/>
        </p:nvSpPr>
        <p:spPr>
          <a:xfrm rot="20746160">
            <a:off x="3770248" y="3076844"/>
            <a:ext cx="1583798" cy="1984054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bg object 33">
            <a:extLst>
              <a:ext uri="{FF2B5EF4-FFF2-40B4-BE49-F238E27FC236}">
                <a16:creationId xmlns:a16="http://schemas.microsoft.com/office/drawing/2014/main" id="{BFE1923F-C946-42E2-8039-0954AE07FB01}"/>
              </a:ext>
            </a:extLst>
          </p:cNvPr>
          <p:cNvSpPr>
            <a:spLocks noChangeAspect="1"/>
          </p:cNvSpPr>
          <p:nvPr/>
        </p:nvSpPr>
        <p:spPr>
          <a:xfrm rot="16200000">
            <a:off x="5176395" y="4125003"/>
            <a:ext cx="1583798" cy="1984054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rgbClr val="E6320F"/>
          </a:solidFill>
          <a:ln>
            <a:solidFill>
              <a:srgbClr val="E6320F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4C78652B-E64E-41E1-8DCC-0B54000400A4}"/>
              </a:ext>
            </a:extLst>
          </p:cNvPr>
          <p:cNvPicPr>
            <a:picLocks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414"/>
          <a:stretch/>
        </p:blipFill>
        <p:spPr bwMode="auto">
          <a:xfrm>
            <a:off x="5506039" y="3212635"/>
            <a:ext cx="961178" cy="961178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7265C5BC-753A-47A5-98A1-38F4CB171807}"/>
              </a:ext>
            </a:extLst>
          </p:cNvPr>
          <p:cNvSpPr txBox="1">
            <a:spLocks/>
          </p:cNvSpPr>
          <p:nvPr/>
        </p:nvSpPr>
        <p:spPr>
          <a:xfrm>
            <a:off x="1123611" y="1012385"/>
            <a:ext cx="3766788" cy="6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AT" sz="3000" b="1" dirty="0" err="1">
                <a:solidFill>
                  <a:schemeClr val="accent2"/>
                </a:solidFill>
              </a:rPr>
              <a:t>trg</a:t>
            </a:r>
            <a:r>
              <a:rPr lang="de-AT" sz="3000" b="1" dirty="0">
                <a:solidFill>
                  <a:schemeClr val="accent2"/>
                </a:solidFill>
              </a:rPr>
              <a:t> </a:t>
            </a:r>
            <a:br>
              <a:rPr lang="de-AT" sz="3000" b="1" dirty="0">
                <a:solidFill>
                  <a:schemeClr val="accent2"/>
                </a:solidFill>
              </a:rPr>
            </a:br>
            <a:r>
              <a:rPr lang="de-AT" sz="3000" b="1" dirty="0">
                <a:solidFill>
                  <a:schemeClr val="accent2"/>
                </a:solidFill>
              </a:rPr>
              <a:t>(</a:t>
            </a:r>
            <a:r>
              <a:rPr lang="de-AT" sz="3000" b="1" dirty="0" err="1">
                <a:solidFill>
                  <a:schemeClr val="accent2"/>
                </a:solidFill>
              </a:rPr>
              <a:t>dostop</a:t>
            </a:r>
            <a:r>
              <a:rPr lang="de-AT" sz="3000" b="1" dirty="0">
                <a:solidFill>
                  <a:schemeClr val="accent2"/>
                </a:solidFill>
              </a:rPr>
              <a:t>)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FFBD65DE-BB63-4F57-A16D-58A60158519A}"/>
              </a:ext>
            </a:extLst>
          </p:cNvPr>
          <p:cNvSpPr txBox="1">
            <a:spLocks/>
          </p:cNvSpPr>
          <p:nvPr/>
        </p:nvSpPr>
        <p:spPr>
          <a:xfrm>
            <a:off x="8000014" y="4173813"/>
            <a:ext cx="4198507" cy="6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sz="3000" b="1" dirty="0" err="1">
                <a:solidFill>
                  <a:schemeClr val="accent2"/>
                </a:solidFill>
              </a:rPr>
              <a:t>talent</a:t>
            </a:r>
            <a:r>
              <a:rPr lang="de-AT" sz="3000" b="1" dirty="0">
                <a:solidFill>
                  <a:schemeClr val="accent2"/>
                </a:solidFill>
              </a:rPr>
              <a:t> &amp; </a:t>
            </a:r>
            <a:br>
              <a:rPr lang="de-AT" sz="3000" b="1" dirty="0">
                <a:solidFill>
                  <a:schemeClr val="accent2"/>
                </a:solidFill>
              </a:rPr>
            </a:br>
            <a:r>
              <a:rPr lang="de-AT" sz="3000" b="1" dirty="0" err="1">
                <a:solidFill>
                  <a:schemeClr val="accent2"/>
                </a:solidFill>
              </a:rPr>
              <a:t>mentaliteta</a:t>
            </a:r>
            <a:endParaRPr lang="de-AT" sz="3000" b="1" dirty="0">
              <a:solidFill>
                <a:schemeClr val="accent2"/>
              </a:solidFill>
            </a:endParaRP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6FF34173-E2C2-49AA-8C28-8B9D81BB41D0}"/>
              </a:ext>
            </a:extLst>
          </p:cNvPr>
          <p:cNvSpPr txBox="1">
            <a:spLocks/>
          </p:cNvSpPr>
          <p:nvPr/>
        </p:nvSpPr>
        <p:spPr>
          <a:xfrm>
            <a:off x="7254371" y="1012385"/>
            <a:ext cx="4750875" cy="124791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sz="3000" b="1" dirty="0" err="1">
                <a:solidFill>
                  <a:schemeClr val="accent2"/>
                </a:solidFill>
              </a:rPr>
              <a:t>varnost</a:t>
            </a:r>
            <a:r>
              <a:rPr lang="de-AT" sz="3000" b="1" dirty="0">
                <a:solidFill>
                  <a:schemeClr val="accent2"/>
                </a:solidFill>
              </a:rPr>
              <a:t> &amp;</a:t>
            </a:r>
            <a:br>
              <a:rPr lang="de-AT" sz="3000" b="1" dirty="0">
                <a:solidFill>
                  <a:schemeClr val="accent2"/>
                </a:solidFill>
              </a:rPr>
            </a:br>
            <a:r>
              <a:rPr lang="de-AT" sz="3000" b="1" dirty="0" err="1">
                <a:solidFill>
                  <a:schemeClr val="accent2"/>
                </a:solidFill>
              </a:rPr>
              <a:t>stabilnost</a:t>
            </a:r>
            <a:endParaRPr lang="de-AT" sz="3000" b="1" dirty="0">
              <a:solidFill>
                <a:schemeClr val="accent2"/>
              </a:solidFill>
            </a:endParaRP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6E372D33-7C92-44A3-9BAD-7351A57561CA}"/>
              </a:ext>
            </a:extLst>
          </p:cNvPr>
          <p:cNvSpPr txBox="1">
            <a:spLocks/>
          </p:cNvSpPr>
          <p:nvPr/>
        </p:nvSpPr>
        <p:spPr>
          <a:xfrm>
            <a:off x="2225801" y="4008311"/>
            <a:ext cx="1710773" cy="6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sz="3000" b="1" dirty="0">
                <a:solidFill>
                  <a:schemeClr val="accent2"/>
                </a:solidFill>
              </a:rPr>
              <a:t>Support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77FED387-18E9-4FB1-849E-698500EBEC2B}"/>
              </a:ext>
            </a:extLst>
          </p:cNvPr>
          <p:cNvSpPr txBox="1">
            <a:spLocks/>
          </p:cNvSpPr>
          <p:nvPr/>
        </p:nvSpPr>
        <p:spPr>
          <a:xfrm>
            <a:off x="4706454" y="5953069"/>
            <a:ext cx="2560347" cy="6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sz="3000" b="1" dirty="0" err="1"/>
              <a:t>inovacija</a:t>
            </a:r>
            <a:r>
              <a:rPr lang="de-AT" sz="3000" b="1" dirty="0"/>
              <a:t> &amp;</a:t>
            </a:r>
            <a:br>
              <a:rPr lang="de-AT" sz="3000" b="1" dirty="0"/>
            </a:br>
            <a:r>
              <a:rPr lang="de-AT" sz="3000" b="1" dirty="0" err="1"/>
              <a:t>eko-sistem</a:t>
            </a:r>
            <a:endParaRPr lang="de-AT" sz="3000" b="1" dirty="0"/>
          </a:p>
        </p:txBody>
      </p:sp>
      <p:sp>
        <p:nvSpPr>
          <p:cNvPr id="18" name="Flussdiagramm: Verbinder 17">
            <a:extLst>
              <a:ext uri="{FF2B5EF4-FFF2-40B4-BE49-F238E27FC236}">
                <a16:creationId xmlns:a16="http://schemas.microsoft.com/office/drawing/2014/main" id="{8379352B-511F-4635-B5C9-3484B712C4C4}"/>
              </a:ext>
            </a:extLst>
          </p:cNvPr>
          <p:cNvSpPr/>
          <p:nvPr/>
        </p:nvSpPr>
        <p:spPr bwMode="ltGray">
          <a:xfrm>
            <a:off x="5418700" y="3182320"/>
            <a:ext cx="1055641" cy="1012723"/>
          </a:xfrm>
          <a:prstGeom prst="flowChartConnector">
            <a:avLst/>
          </a:prstGeom>
          <a:solidFill>
            <a:srgbClr val="E6320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7244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8E9DB57C-8303-46C4-9789-779490D0F9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8E9DB57C-8303-46C4-9789-779490D0F9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998382F-5894-443E-8B05-1A5EEC67D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9537" y="209407"/>
            <a:ext cx="10403992" cy="430887"/>
          </a:xfrm>
        </p:spPr>
        <p:txBody>
          <a:bodyPr vert="horz"/>
          <a:lstStyle/>
          <a:p>
            <a:r>
              <a:rPr lang="sl-SI" dirty="0"/>
              <a:t>Izdatki  za raziskave in razvoj rastejo  nadpovprečno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B798C30-0D23-49F9-936C-542FFE05B9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34BEE3-566C-4068-A777-C3A4762E861B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E6320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E6320F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91B646-3C18-4979-B634-A3B92DFCC8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E6320F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3E9156E-AE94-436E-9416-06F00899181F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911225" y="1039615"/>
            <a:ext cx="8631240" cy="4708525"/>
          </a:xfrm>
        </p:spPr>
        <p:txBody>
          <a:bodyPr/>
          <a:lstStyle/>
          <a:p>
            <a:r>
              <a:rPr lang="sl-SI" dirty="0"/>
              <a:t>v % BDP</a:t>
            </a:r>
            <a:endParaRPr lang="de-AT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65D7C10-D07E-496E-AFE2-C070D0AA46EA}"/>
              </a:ext>
            </a:extLst>
          </p:cNvPr>
          <p:cNvSpPr txBox="1"/>
          <p:nvPr/>
        </p:nvSpPr>
        <p:spPr>
          <a:xfrm>
            <a:off x="8967986" y="3656668"/>
            <a:ext cx="27618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300393" rtl="0" eaLnBrk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2400" b="0" i="0" u="none" strike="noStrike" kern="1200" cap="none" spc="0" normalizeH="0" baseline="0" noProof="0" dirty="0">
                <a:ln>
                  <a:noFill/>
                </a:ln>
                <a:solidFill>
                  <a:srgbClr val="004669"/>
                </a:solidFill>
                <a:effectLst/>
                <a:uLnTx/>
                <a:uFillTx/>
                <a:latin typeface="Corbel" panose="020B0503020204020204" pitchFamily="34" charset="0"/>
                <a:ea typeface="ＭＳ Ｐゴシック" charset="0"/>
                <a:cs typeface="+mn-cs"/>
              </a:rPr>
              <a:t>2.23     </a:t>
            </a:r>
            <a:r>
              <a:rPr kumimoji="0" lang="de-AT" sz="2400" b="0" i="0" u="none" strike="noStrike" kern="1200" cap="none" spc="0" normalizeH="0" baseline="0" noProof="0" dirty="0">
                <a:ln>
                  <a:noFill/>
                </a:ln>
                <a:solidFill>
                  <a:srgbClr val="004669"/>
                </a:solidFill>
                <a:effectLst/>
                <a:uLnTx/>
                <a:uFillTx/>
                <a:latin typeface="Corbel" panose="020B0503020204020204" pitchFamily="34" charset="0"/>
                <a:ea typeface="ＭＳ Ｐゴシック" charset="0"/>
                <a:cs typeface="+mn-cs"/>
              </a:rPr>
              <a:t>EU</a:t>
            </a: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srgbClr val="004669"/>
              </a:solidFill>
              <a:effectLst/>
              <a:uLnTx/>
              <a:uFillTx/>
              <a:latin typeface="Corbel" panose="020B0503020204020204" pitchFamily="34" charset="0"/>
              <a:ea typeface="ＭＳ Ｐゴシック" charset="0"/>
              <a:cs typeface="+mn-cs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83AD4F7-B64D-40DF-B8A2-7AD9E5466CF6}"/>
              </a:ext>
            </a:extLst>
          </p:cNvPr>
          <p:cNvSpPr txBox="1"/>
          <p:nvPr/>
        </p:nvSpPr>
        <p:spPr>
          <a:xfrm>
            <a:off x="8855445" y="2173244"/>
            <a:ext cx="27618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defTabSz="1300393" eaLnBrk="0">
              <a:defRPr sz="2400">
                <a:solidFill>
                  <a:schemeClr val="accent3"/>
                </a:solidFill>
                <a:latin typeface="Corbel" panose="020B0503020204020204" pitchFamily="34" charset="0"/>
                <a:ea typeface="ＭＳ Ｐゴシック" charset="0"/>
              </a:defRPr>
            </a:lvl1pPr>
          </a:lstStyle>
          <a:p>
            <a:pPr marL="0" marR="0" lvl="0" indent="0" algn="l" defTabSz="1300393" rtl="0" eaLnBrk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l-SI" dirty="0">
                <a:solidFill>
                  <a:srgbClr val="46928B"/>
                </a:solidFill>
              </a:rPr>
              <a:t>3.13    Nemčija</a:t>
            </a: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srgbClr val="46928B"/>
              </a:solidFill>
              <a:effectLst/>
              <a:uLnTx/>
              <a:uFillTx/>
              <a:latin typeface="Corbel" panose="020B0503020204020204" pitchFamily="34" charset="0"/>
              <a:ea typeface="ＭＳ Ｐゴシック" charset="0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6225F728-8794-49DE-9C95-2F7A865A035E}"/>
              </a:ext>
            </a:extLst>
          </p:cNvPr>
          <p:cNvSpPr txBox="1"/>
          <p:nvPr/>
        </p:nvSpPr>
        <p:spPr>
          <a:xfrm>
            <a:off x="8849101" y="1797709"/>
            <a:ext cx="12117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300393" rtl="0" eaLnBrk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2400" b="0" i="0" u="none" strike="noStrike" kern="1200" cap="none" spc="0" normalizeH="0" baseline="0" noProof="0" dirty="0">
                <a:ln>
                  <a:noFill/>
                </a:ln>
                <a:solidFill>
                  <a:srgbClr val="E6320F"/>
                </a:solidFill>
                <a:effectLst/>
                <a:uLnTx/>
                <a:uFillTx/>
                <a:latin typeface="Corbel" panose="020B0503020204020204" pitchFamily="34" charset="0"/>
                <a:ea typeface="ＭＳ Ｐゴシック" charset="0"/>
                <a:cs typeface="+mn-cs"/>
              </a:rPr>
              <a:t>3.2</a:t>
            </a:r>
            <a:r>
              <a:rPr kumimoji="0" lang="sl-SI" sz="2400" b="0" i="0" u="none" strike="noStrike" kern="1200" cap="none" spc="0" normalizeH="0" baseline="0" noProof="0" dirty="0">
                <a:ln>
                  <a:noFill/>
                </a:ln>
                <a:solidFill>
                  <a:srgbClr val="E6320F"/>
                </a:solidFill>
                <a:effectLst/>
                <a:uLnTx/>
                <a:uFillTx/>
                <a:latin typeface="Corbel" panose="020B0503020204020204" pitchFamily="34" charset="0"/>
                <a:ea typeface="ＭＳ Ｐゴシック" charset="0"/>
                <a:cs typeface="+mn-cs"/>
              </a:rPr>
              <a:t>2</a:t>
            </a:r>
            <a:r>
              <a:rPr kumimoji="0" lang="de-AT" sz="2400" b="0" i="0" u="none" strike="noStrike" kern="1200" cap="none" spc="0" normalizeH="0" baseline="0" noProof="0" dirty="0">
                <a:ln>
                  <a:noFill/>
                </a:ln>
                <a:solidFill>
                  <a:srgbClr val="E6320F"/>
                </a:solidFill>
                <a:effectLst/>
                <a:uLnTx/>
                <a:uFillTx/>
                <a:latin typeface="Corbel" panose="020B0503020204020204" pitchFamily="34" charset="0"/>
                <a:ea typeface="ＭＳ Ｐゴシック" charset="0"/>
                <a:cs typeface="+mn-cs"/>
              </a:rPr>
              <a:t>*</a:t>
            </a: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srgbClr val="E6320F"/>
              </a:solidFill>
              <a:effectLst/>
              <a:uLnTx/>
              <a:uFillTx/>
              <a:latin typeface="Corbel" panose="020B0503020204020204" pitchFamily="34" charset="0"/>
              <a:ea typeface="ＭＳ Ｐゴシック" charset="0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F5D6926-92B5-480A-AE79-4E5F0F3E804F}"/>
              </a:ext>
            </a:extLst>
          </p:cNvPr>
          <p:cNvSpPr txBox="1"/>
          <p:nvPr/>
        </p:nvSpPr>
        <p:spPr>
          <a:xfrm>
            <a:off x="9587847" y="1797709"/>
            <a:ext cx="11985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300393" rtl="0" eaLnBrk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2400" b="0" i="0" u="none" strike="noStrike" kern="1200" cap="none" spc="0" normalizeH="0" baseline="0" noProof="0" dirty="0">
                <a:ln>
                  <a:noFill/>
                </a:ln>
                <a:solidFill>
                  <a:srgbClr val="E6320F"/>
                </a:solidFill>
                <a:effectLst/>
                <a:uLnTx/>
                <a:uFillTx/>
                <a:latin typeface="Corbel" panose="020B0503020204020204" pitchFamily="34" charset="0"/>
                <a:ea typeface="ＭＳ Ｐゴシック" charset="0"/>
                <a:cs typeface="+mn-cs"/>
              </a:rPr>
              <a:t>A</a:t>
            </a:r>
            <a:r>
              <a:rPr kumimoji="0" lang="sl-SI" sz="2400" b="0" i="0" u="none" strike="noStrike" kern="1200" cap="none" spc="0" normalizeH="0" baseline="0" noProof="0" dirty="0">
                <a:ln>
                  <a:noFill/>
                </a:ln>
                <a:solidFill>
                  <a:srgbClr val="E6320F"/>
                </a:solidFill>
                <a:effectLst/>
                <a:uLnTx/>
                <a:uFillTx/>
                <a:latin typeface="Corbel" panose="020B0503020204020204" pitchFamily="34" charset="0"/>
                <a:ea typeface="ＭＳ Ｐゴシック" charset="0"/>
                <a:cs typeface="+mn-cs"/>
              </a:rPr>
              <a:t>vstrija</a:t>
            </a: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srgbClr val="E6320F"/>
              </a:solidFill>
              <a:effectLst/>
              <a:uLnTx/>
              <a:uFillTx/>
              <a:latin typeface="Corbel" panose="020B0503020204020204" pitchFamily="34" charset="0"/>
              <a:ea typeface="ＭＳ Ｐゴシック" charset="0"/>
              <a:cs typeface="+mn-cs"/>
            </a:endParaRPr>
          </a:p>
        </p:txBody>
      </p:sp>
      <p:sp>
        <p:nvSpPr>
          <p:cNvPr id="16" name="bg object 33">
            <a:extLst>
              <a:ext uri="{FF2B5EF4-FFF2-40B4-BE49-F238E27FC236}">
                <a16:creationId xmlns:a16="http://schemas.microsoft.com/office/drawing/2014/main" id="{6E8D3E7B-8F6D-44D8-A0E0-8B4D7FB401F6}"/>
              </a:ext>
            </a:extLst>
          </p:cNvPr>
          <p:cNvSpPr>
            <a:spLocks noChangeAspect="1"/>
          </p:cNvSpPr>
          <p:nvPr/>
        </p:nvSpPr>
        <p:spPr>
          <a:xfrm rot="10800000">
            <a:off x="11157367" y="1797710"/>
            <a:ext cx="1034633" cy="1296104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rgbClr val="E6320F"/>
          </a:solidFill>
          <a:ln>
            <a:solidFill>
              <a:srgbClr val="E6320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46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2F26AF2-B408-2FED-B231-0905EAA32BA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7157" y="1337891"/>
            <a:ext cx="8023031" cy="4182218"/>
          </a:xfrm>
          <a:prstGeom prst="rect">
            <a:avLst/>
          </a:prstGeom>
        </p:spPr>
      </p:pic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D2D5C50A-4E6E-2106-779B-DCE47D1A5C3F}"/>
              </a:ext>
            </a:extLst>
          </p:cNvPr>
          <p:cNvSpPr txBox="1">
            <a:spLocks/>
          </p:cNvSpPr>
          <p:nvPr/>
        </p:nvSpPr>
        <p:spPr>
          <a:xfrm>
            <a:off x="665017" y="6040055"/>
            <a:ext cx="8631786" cy="25333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rgbClr val="E6320F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* </a:t>
            </a:r>
            <a:r>
              <a:rPr lang="en-GB" dirty="0" err="1"/>
              <a:t>Globalna</a:t>
            </a:r>
            <a:r>
              <a:rPr lang="en-GB" dirty="0"/>
              <a:t> </a:t>
            </a:r>
            <a:r>
              <a:rPr lang="en-GB" dirty="0" err="1"/>
              <a:t>ovena</a:t>
            </a:r>
            <a:r>
              <a:rPr lang="en-GB" dirty="0"/>
              <a:t> 2023</a:t>
            </a:r>
          </a:p>
          <a:p>
            <a:r>
              <a:rPr lang="sl-SI" dirty="0"/>
              <a:t>Vir:  </a:t>
            </a:r>
            <a:r>
              <a:rPr lang="en-GB" dirty="0"/>
              <a:t>Eurostat / UNESCO / </a:t>
            </a:r>
            <a:r>
              <a:rPr lang="en-GB" dirty="0" err="1"/>
              <a:t>Statistik</a:t>
            </a:r>
            <a:r>
              <a:rPr lang="en-GB" dirty="0"/>
              <a:t> Austria </a:t>
            </a:r>
          </a:p>
        </p:txBody>
      </p:sp>
    </p:spTree>
    <p:extLst>
      <p:ext uri="{BB962C8B-B14F-4D97-AF65-F5344CB8AC3E}">
        <p14:creationId xmlns:p14="http://schemas.microsoft.com/office/powerpoint/2010/main" val="11472037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E67C142-250E-4F8A-B10B-A0F5BE7F7B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E67C142-250E-4F8A-B10B-A0F5BE7F7B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1" name="Shape 231"/>
          <p:cNvSpPr/>
          <p:nvPr/>
        </p:nvSpPr>
        <p:spPr>
          <a:xfrm>
            <a:off x="7422127" y="6574054"/>
            <a:ext cx="2032594" cy="14907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5718" tIns="35718" rIns="35718" bIns="35718">
            <a:spAutoFit/>
          </a:bodyPr>
          <a:lstStyle>
            <a:lvl1pPr algn="r" defTabSz="457200">
              <a:defRPr sz="1500">
                <a:solidFill>
                  <a:srgbClr val="4D626D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algn="l"/>
            <a:r>
              <a:rPr lang="en-GB" sz="500" dirty="0"/>
              <a:t>Quelle: European </a:t>
            </a:r>
            <a:r>
              <a:rPr lang="en-GB" sz="500" dirty="0" err="1"/>
              <a:t>inovacija</a:t>
            </a:r>
            <a:r>
              <a:rPr lang="en-GB" sz="500" dirty="0"/>
              <a:t> Scoreboard 2022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3699ACF-539F-45DB-BB7C-36520B568C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l-SI" dirty="0"/>
              <a:t>Močan inovator</a:t>
            </a:r>
            <a:r>
              <a:rPr lang="de-AT" dirty="0"/>
              <a:t> – #6 </a:t>
            </a:r>
            <a:r>
              <a:rPr lang="sl-SI" dirty="0"/>
              <a:t>v </a:t>
            </a:r>
            <a:r>
              <a:rPr lang="de-AT" dirty="0"/>
              <a:t>EU</a:t>
            </a:r>
          </a:p>
        </p:txBody>
      </p:sp>
      <p:sp>
        <p:nvSpPr>
          <p:cNvPr id="8" name="bg object 33">
            <a:extLst>
              <a:ext uri="{FF2B5EF4-FFF2-40B4-BE49-F238E27FC236}">
                <a16:creationId xmlns:a16="http://schemas.microsoft.com/office/drawing/2014/main" id="{2C349823-6930-4BAB-B14A-B695D0D27C2E}"/>
              </a:ext>
            </a:extLst>
          </p:cNvPr>
          <p:cNvSpPr>
            <a:spLocks noChangeAspect="1"/>
          </p:cNvSpPr>
          <p:nvPr/>
        </p:nvSpPr>
        <p:spPr>
          <a:xfrm rot="10800000">
            <a:off x="10757642" y="2530576"/>
            <a:ext cx="1434358" cy="1796847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rgbClr val="E6320F"/>
          </a:solidFill>
          <a:ln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Foliennummernplatzhalter 1">
            <a:extLst>
              <a:ext uri="{FF2B5EF4-FFF2-40B4-BE49-F238E27FC236}">
                <a16:creationId xmlns:a16="http://schemas.microsoft.com/office/drawing/2014/main" id="{E427328E-28A2-4F63-87DA-4AA4F03D37B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5487" y="6400799"/>
            <a:ext cx="549530" cy="13355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34BEE3-566C-4068-A777-C3A4762E861B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E6320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E6320F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FC62CFC2-7DDF-4AEE-B021-1E3C33C0FD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11225" y="6281020"/>
            <a:ext cx="8631786" cy="25333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800" b="0" i="0" u="none" strike="noStrike" kern="1200" cap="none" spc="0" normalizeH="0" baseline="0" noProof="0" dirty="0">
                <a:ln>
                  <a:noFill/>
                </a:ln>
                <a:solidFill>
                  <a:srgbClr val="E6320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Vir: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E6320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 European in</a:t>
            </a:r>
            <a:r>
              <a:rPr kumimoji="0" lang="sl-SI" sz="800" b="0" i="0" u="none" strike="noStrike" kern="1200" cap="none" spc="0" normalizeH="0" baseline="0" noProof="0" dirty="0">
                <a:ln>
                  <a:noFill/>
                </a:ln>
                <a:solidFill>
                  <a:srgbClr val="E6320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novation 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E6320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Scoreboard 2023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D95FD8F-B1CC-F4AD-B6DE-A5F1665E83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0252" y="1064669"/>
            <a:ext cx="10626249" cy="5017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1005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85A8EFF-821B-4678-ABCE-11DE4F99923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34BEE3-566C-4068-A777-C3A4762E861B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E6320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E6320F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E954036-DD8D-4F4E-8F34-AEC970CF32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E6320F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784FC3B-7AE7-4A51-A7A5-7559E9AE51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0576" y="266547"/>
            <a:ext cx="9928002" cy="430887"/>
          </a:xfrm>
        </p:spPr>
        <p:txBody>
          <a:bodyPr/>
          <a:lstStyle/>
          <a:p>
            <a:r>
              <a:rPr lang="de-AT" dirty="0"/>
              <a:t>D</a:t>
            </a:r>
            <a:r>
              <a:rPr lang="sl-SI" dirty="0"/>
              <a:t>ualni sistem spodbudb za raziskave in razvoj podjetij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63478ED-AF09-4BAC-93A9-65B7921B4FA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07281" y="1216743"/>
            <a:ext cx="3469957" cy="604800"/>
          </a:xfrm>
        </p:spPr>
        <p:txBody>
          <a:bodyPr/>
          <a:lstStyle/>
          <a:p>
            <a:r>
              <a:rPr lang="sl-SI" dirty="0"/>
              <a:t>neposredne spodbude</a:t>
            </a:r>
            <a:endParaRPr lang="de-AT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B13B52FA-F5FF-40E3-9957-BAD3B552DD0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46306" y="1174773"/>
            <a:ext cx="3469957" cy="604800"/>
          </a:xfrm>
        </p:spPr>
        <p:txBody>
          <a:bodyPr/>
          <a:lstStyle/>
          <a:p>
            <a:r>
              <a:rPr lang="sl-SI" dirty="0"/>
              <a:t>posredne spodbude</a:t>
            </a:r>
            <a:endParaRPr lang="de-AT" dirty="0"/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27167DDC-F1FA-4E87-AE51-8D880E933EF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346306" y="1821543"/>
            <a:ext cx="3469957" cy="4043397"/>
          </a:xfrm>
        </p:spPr>
        <p:txBody>
          <a:bodyPr/>
          <a:lstStyle/>
          <a:p>
            <a:r>
              <a:rPr lang="sl-SI" dirty="0"/>
              <a:t>r</a:t>
            </a:r>
            <a:r>
              <a:rPr lang="de-AT" dirty="0" err="1"/>
              <a:t>aziskovalni</a:t>
            </a:r>
            <a:r>
              <a:rPr lang="de-AT" dirty="0"/>
              <a:t> </a:t>
            </a:r>
            <a:r>
              <a:rPr lang="de-AT" dirty="0" err="1"/>
              <a:t>bonus</a:t>
            </a:r>
            <a:r>
              <a:rPr lang="en-US" dirty="0"/>
              <a:t>:  14 %</a:t>
            </a:r>
          </a:p>
          <a:p>
            <a:pPr marL="523875" lvl="1" indent="-342900"/>
            <a:r>
              <a:rPr lang="sl-SI" sz="2000" dirty="0"/>
              <a:t>Stroški zaposlenih in materijala</a:t>
            </a:r>
            <a:endParaRPr lang="en-US" sz="2000" dirty="0"/>
          </a:p>
          <a:p>
            <a:pPr marL="523875" lvl="1" indent="-342900"/>
            <a:r>
              <a:rPr lang="sl-SI" sz="2000" dirty="0"/>
              <a:t>Stroški raziskovalne oz. razvojne dejavnosti</a:t>
            </a:r>
            <a:r>
              <a:rPr lang="de-AT" sz="2000" dirty="0"/>
              <a:t> v hi</a:t>
            </a:r>
            <a:r>
              <a:rPr lang="sl-SI" sz="2000" dirty="0"/>
              <a:t>š</a:t>
            </a:r>
            <a:r>
              <a:rPr lang="de-AT" sz="2000" dirty="0"/>
              <a:t>i</a:t>
            </a:r>
            <a:r>
              <a:rPr lang="sl-SI" sz="2000" dirty="0"/>
              <a:t> </a:t>
            </a:r>
          </a:p>
          <a:p>
            <a:pPr marL="523875" lvl="1" indent="-342900"/>
            <a:r>
              <a:rPr lang="sl-SI" sz="2000" dirty="0"/>
              <a:t>izvajana po naročilu izven hiše pri avstrijskih raziskovalnih ustanovah </a:t>
            </a:r>
            <a:endParaRPr lang="en-US" sz="2000" dirty="0"/>
          </a:p>
          <a:p>
            <a:r>
              <a:rPr lang="sl-SI" dirty="0"/>
              <a:t>pogoj</a:t>
            </a:r>
            <a:r>
              <a:rPr lang="en-US" dirty="0"/>
              <a:t>:</a:t>
            </a:r>
          </a:p>
          <a:p>
            <a:pPr marL="523875" lvl="1" indent="-342900"/>
            <a:r>
              <a:rPr lang="sl-SI" sz="2000" dirty="0"/>
              <a:t>Ekspertno mnenje  </a:t>
            </a:r>
            <a:r>
              <a:rPr lang="en-US" sz="2000" dirty="0"/>
              <a:t>FFG</a:t>
            </a:r>
          </a:p>
          <a:p>
            <a:endParaRPr lang="en-US" dirty="0"/>
          </a:p>
          <a:p>
            <a:endParaRPr lang="en-US" dirty="0"/>
          </a:p>
          <a:p>
            <a:endParaRPr lang="de-AT" dirty="0"/>
          </a:p>
          <a:p>
            <a:endParaRPr lang="de-AT" dirty="0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4F3DD4C8-6C86-487D-8EC9-6D0E164BF832}"/>
              </a:ext>
            </a:extLst>
          </p:cNvPr>
          <p:cNvGrpSpPr/>
          <p:nvPr/>
        </p:nvGrpSpPr>
        <p:grpSpPr>
          <a:xfrm flipH="1">
            <a:off x="4665947" y="1034711"/>
            <a:ext cx="2268000" cy="1963014"/>
            <a:chOff x="4663570" y="1034710"/>
            <a:chExt cx="2936236" cy="2541129"/>
          </a:xfrm>
        </p:grpSpPr>
        <p:sp>
          <p:nvSpPr>
            <p:cNvPr id="12" name="bg object 33">
              <a:extLst>
                <a:ext uri="{FF2B5EF4-FFF2-40B4-BE49-F238E27FC236}">
                  <a16:creationId xmlns:a16="http://schemas.microsoft.com/office/drawing/2014/main" id="{54481B81-AFD5-42F2-8436-321930FC7D1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123806" y="1726825"/>
              <a:ext cx="1476000" cy="1849014"/>
            </a:xfrm>
            <a:custGeom>
              <a:avLst/>
              <a:gdLst/>
              <a:ahLst/>
              <a:cxnLst/>
              <a:rect l="l" t="t" r="r" b="b"/>
              <a:pathLst>
                <a:path w="3962400" h="4963795">
                  <a:moveTo>
                    <a:pt x="0" y="0"/>
                  </a:moveTo>
                  <a:lnTo>
                    <a:pt x="0" y="910307"/>
                  </a:lnTo>
                  <a:lnTo>
                    <a:pt x="2922654" y="2470029"/>
                  </a:lnTo>
                  <a:lnTo>
                    <a:pt x="0" y="4029699"/>
                  </a:lnTo>
                  <a:lnTo>
                    <a:pt x="0" y="4963199"/>
                  </a:lnTo>
                  <a:lnTo>
                    <a:pt x="3962392" y="2893252"/>
                  </a:lnTo>
                  <a:lnTo>
                    <a:pt x="3962392" y="20699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bg object 33">
              <a:extLst>
                <a:ext uri="{FF2B5EF4-FFF2-40B4-BE49-F238E27FC236}">
                  <a16:creationId xmlns:a16="http://schemas.microsoft.com/office/drawing/2014/main" id="{E2C3776A-D427-439E-89F2-77EF94C67242}"/>
                </a:ext>
              </a:extLst>
            </p:cNvPr>
            <p:cNvSpPr>
              <a:spLocks noChangeAspect="1"/>
            </p:cNvSpPr>
            <p:nvPr/>
          </p:nvSpPr>
          <p:spPr>
            <a:xfrm rot="10800000">
              <a:off x="4663570" y="1034710"/>
              <a:ext cx="1476000" cy="1849012"/>
            </a:xfrm>
            <a:custGeom>
              <a:avLst/>
              <a:gdLst/>
              <a:ahLst/>
              <a:cxnLst/>
              <a:rect l="l" t="t" r="r" b="b"/>
              <a:pathLst>
                <a:path w="3962400" h="4963795">
                  <a:moveTo>
                    <a:pt x="0" y="0"/>
                  </a:moveTo>
                  <a:lnTo>
                    <a:pt x="0" y="910307"/>
                  </a:lnTo>
                  <a:lnTo>
                    <a:pt x="2922654" y="2470029"/>
                  </a:lnTo>
                  <a:lnTo>
                    <a:pt x="0" y="4029699"/>
                  </a:lnTo>
                  <a:lnTo>
                    <a:pt x="0" y="4963199"/>
                  </a:lnTo>
                  <a:lnTo>
                    <a:pt x="3962392" y="2893252"/>
                  </a:lnTo>
                  <a:lnTo>
                    <a:pt x="3962392" y="20699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320F"/>
            </a:solidFill>
            <a:ln>
              <a:noFill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C9DC6D1F-149E-82EC-4504-FE21239B540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1225" y="1727200"/>
            <a:ext cx="3470275" cy="4043363"/>
          </a:xfrm>
        </p:spPr>
        <p:txBody>
          <a:bodyPr/>
          <a:lstStyle/>
          <a:p>
            <a:r>
              <a:rPr lang="sl-SI" dirty="0"/>
              <a:t>k</a:t>
            </a:r>
            <a:r>
              <a:rPr lang="de-DE" dirty="0" err="1"/>
              <a:t>ombinacija</a:t>
            </a:r>
            <a:r>
              <a:rPr lang="sl-SI" dirty="0"/>
              <a:t>:</a:t>
            </a: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l-SI" dirty="0"/>
              <a:t>nepovratna </a:t>
            </a:r>
            <a:r>
              <a:rPr lang="de-DE" dirty="0" err="1"/>
              <a:t>sredstv</a:t>
            </a:r>
            <a:r>
              <a:rPr lang="sl-SI" dirty="0"/>
              <a:t>a</a:t>
            </a:r>
            <a:r>
              <a:rPr lang="de-DE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l-SI" dirty="0"/>
              <a:t>z </a:t>
            </a:r>
            <a:r>
              <a:rPr lang="de-DE" dirty="0" err="1"/>
              <a:t>subvencioniranimi</a:t>
            </a:r>
            <a:r>
              <a:rPr lang="de-DE" dirty="0"/>
              <a:t>  </a:t>
            </a:r>
            <a:r>
              <a:rPr lang="de-DE" dirty="0" err="1"/>
              <a:t>posojili</a:t>
            </a:r>
            <a:endParaRPr lang="de-DE" dirty="0"/>
          </a:p>
          <a:p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err="1"/>
              <a:t>preko</a:t>
            </a:r>
            <a:r>
              <a:rPr lang="de-DE" dirty="0"/>
              <a:t>  FFG</a:t>
            </a:r>
          </a:p>
          <a:p>
            <a:endParaRPr lang="de-DE" dirty="0"/>
          </a:p>
          <a:p>
            <a:r>
              <a:rPr lang="de-DE" dirty="0"/>
              <a:t>   2022: </a:t>
            </a:r>
            <a:r>
              <a:rPr lang="sl-SI" dirty="0"/>
              <a:t> </a:t>
            </a:r>
            <a:r>
              <a:rPr lang="de-DE" dirty="0"/>
              <a:t>€</a:t>
            </a:r>
            <a:r>
              <a:rPr lang="sl-SI" dirty="0"/>
              <a:t> </a:t>
            </a:r>
            <a:r>
              <a:rPr lang="de-DE" dirty="0"/>
              <a:t>819 mio. </a:t>
            </a:r>
            <a:r>
              <a:rPr lang="de-DE" dirty="0" err="1"/>
              <a:t>za</a:t>
            </a:r>
            <a:r>
              <a:rPr lang="de-DE" dirty="0"/>
              <a:t> R&amp;R</a:t>
            </a:r>
          </a:p>
          <a:p>
            <a:endParaRPr lang="de-AT" dirty="0"/>
          </a:p>
          <a:p>
            <a:endParaRPr lang="de-AT" dirty="0"/>
          </a:p>
        </p:txBody>
      </p:sp>
      <p:sp>
        <p:nvSpPr>
          <p:cNvPr id="10" name="Inhaltsplatzhalter 11">
            <a:extLst>
              <a:ext uri="{FF2B5EF4-FFF2-40B4-BE49-F238E27FC236}">
                <a16:creationId xmlns:a16="http://schemas.microsoft.com/office/drawing/2014/main" id="{7BBE7EA2-2C63-65BF-DD5A-4C3E8131651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41350" y="5670282"/>
            <a:ext cx="10909299" cy="349592"/>
          </a:xfrm>
        </p:spPr>
        <p:txBody>
          <a:bodyPr/>
          <a:lstStyle/>
          <a:p>
            <a:pPr algn="ctr"/>
            <a:r>
              <a:rPr lang="sl-SI" b="1" dirty="0"/>
              <a:t>Za vsa podjetja, vseeno kako velika ali iz katere panoge!!!</a:t>
            </a:r>
            <a:r>
              <a:rPr lang="en-US" b="1" dirty="0"/>
              <a:t> </a:t>
            </a:r>
          </a:p>
          <a:p>
            <a:pPr algn="ctr"/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1297093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E67C142-250E-4F8A-B10B-A0F5BE7F7B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E67C142-250E-4F8A-B10B-A0F5BE7F7B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1" name="Shape 231"/>
          <p:cNvSpPr/>
          <p:nvPr/>
        </p:nvSpPr>
        <p:spPr>
          <a:xfrm>
            <a:off x="880626" y="6506378"/>
            <a:ext cx="2032594" cy="195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5718" tIns="35718" rIns="35718" bIns="35718">
            <a:spAutoFit/>
          </a:bodyPr>
          <a:lstStyle>
            <a:lvl1pPr algn="r" defTabSz="457200">
              <a:defRPr sz="1500">
                <a:solidFill>
                  <a:srgbClr val="4D626D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algn="l"/>
            <a:r>
              <a:rPr lang="sl-SI" sz="800" dirty="0">
                <a:solidFill>
                  <a:srgbClr val="E6320F"/>
                </a:solidFill>
                <a:latin typeface="Corbel" panose="020B0503020204020204" pitchFamily="34" charset="0"/>
              </a:rPr>
              <a:t>Vir: </a:t>
            </a:r>
            <a:r>
              <a:rPr lang="en-GB" sz="800" dirty="0">
                <a:solidFill>
                  <a:srgbClr val="E6320F"/>
                </a:solidFill>
                <a:latin typeface="Corbel" panose="020B0503020204020204" pitchFamily="34" charset="0"/>
              </a:rPr>
              <a:t> European</a:t>
            </a:r>
            <a:r>
              <a:rPr lang="sl-SI" sz="800" dirty="0">
                <a:solidFill>
                  <a:srgbClr val="E6320F"/>
                </a:solidFill>
                <a:latin typeface="Corbel" panose="020B0503020204020204" pitchFamily="34" charset="0"/>
              </a:rPr>
              <a:t> Innovation </a:t>
            </a:r>
            <a:r>
              <a:rPr lang="en-GB" sz="800" dirty="0">
                <a:solidFill>
                  <a:srgbClr val="E6320F"/>
                </a:solidFill>
                <a:latin typeface="Corbel" panose="020B0503020204020204" pitchFamily="34" charset="0"/>
              </a:rPr>
              <a:t> Scoreboard 202</a:t>
            </a:r>
            <a:r>
              <a:rPr lang="sl-SI" sz="800" dirty="0">
                <a:solidFill>
                  <a:srgbClr val="E6320F"/>
                </a:solidFill>
                <a:latin typeface="Corbel" panose="020B0503020204020204" pitchFamily="34" charset="0"/>
              </a:rPr>
              <a:t>3</a:t>
            </a:r>
            <a:endParaRPr lang="en-GB" sz="800" dirty="0">
              <a:solidFill>
                <a:srgbClr val="E6320F"/>
              </a:solidFill>
              <a:latin typeface="Corbel" panose="020B0503020204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3699ACF-539F-45DB-BB7C-36520B568C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9378" y="423378"/>
            <a:ext cx="10724472" cy="430887"/>
          </a:xfrm>
        </p:spPr>
        <p:txBody>
          <a:bodyPr vert="horz"/>
          <a:lstStyle/>
          <a:p>
            <a:r>
              <a:rPr lang="pl-PL" dirty="0"/>
              <a:t>Neposredne in posredne spodbude za raziskave in razvoj  podjetjem</a:t>
            </a:r>
            <a:endParaRPr lang="de-AT" dirty="0"/>
          </a:p>
        </p:txBody>
      </p:sp>
      <p:sp>
        <p:nvSpPr>
          <p:cNvPr id="8" name="bg object 33">
            <a:extLst>
              <a:ext uri="{FF2B5EF4-FFF2-40B4-BE49-F238E27FC236}">
                <a16:creationId xmlns:a16="http://schemas.microsoft.com/office/drawing/2014/main" id="{2C349823-6930-4BAB-B14A-B695D0D27C2E}"/>
              </a:ext>
            </a:extLst>
          </p:cNvPr>
          <p:cNvSpPr>
            <a:spLocks noChangeAspect="1"/>
          </p:cNvSpPr>
          <p:nvPr/>
        </p:nvSpPr>
        <p:spPr>
          <a:xfrm rot="10800000">
            <a:off x="11241854" y="1079623"/>
            <a:ext cx="1434358" cy="1796847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rgbClr val="E6320F"/>
          </a:solidFill>
          <a:ln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graphicFrame>
        <p:nvGraphicFramePr>
          <p:cNvPr id="3" name="Diagramm 2">
            <a:extLst>
              <a:ext uri="{FF2B5EF4-FFF2-40B4-BE49-F238E27FC236}">
                <a16:creationId xmlns:a16="http://schemas.microsoft.com/office/drawing/2014/main" id="{80BE0EF6-4D9C-BF61-2537-BF08D450E4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97880705"/>
              </p:ext>
            </p:extLst>
          </p:nvPr>
        </p:nvGraphicFramePr>
        <p:xfrm>
          <a:off x="390252" y="1300458"/>
          <a:ext cx="10627627" cy="4980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7192756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186D5E9-C790-45ED-A5EE-AE69E0D425C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781D9C5-8B66-4FF0-B7CC-72AF32FDAE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6BB1C8-70ED-4C7E-AB7F-FA66D2878B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Visoke</a:t>
            </a:r>
            <a:r>
              <a:rPr lang="de-AT" dirty="0"/>
              <a:t> </a:t>
            </a:r>
            <a:r>
              <a:rPr lang="de-AT" dirty="0" err="1"/>
              <a:t>gore</a:t>
            </a:r>
            <a:r>
              <a:rPr lang="de-AT" dirty="0"/>
              <a:t> in </a:t>
            </a:r>
            <a:r>
              <a:rPr lang="de-AT" dirty="0" err="1"/>
              <a:t>majhni</a:t>
            </a:r>
            <a:r>
              <a:rPr lang="de-AT" dirty="0"/>
              <a:t> </a:t>
            </a:r>
            <a:r>
              <a:rPr lang="sl-SI" dirty="0"/>
              <a:t>kristalni kamenčki</a:t>
            </a:r>
            <a:r>
              <a:rPr lang="de-AT" dirty="0"/>
              <a:t>.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7984CD98-0DED-4C5A-9E8D-3DE0F546947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1225" y="4696691"/>
            <a:ext cx="2758901" cy="1073531"/>
          </a:xfrm>
        </p:spPr>
        <p:txBody>
          <a:bodyPr/>
          <a:lstStyle/>
          <a:p>
            <a:r>
              <a:rPr lang="de-AT" b="1" dirty="0"/>
              <a:t>Großglockner / </a:t>
            </a:r>
            <a:r>
              <a:rPr lang="de-AT" b="1" dirty="0" err="1"/>
              <a:t>Veliki</a:t>
            </a:r>
            <a:r>
              <a:rPr lang="de-AT" b="1" dirty="0"/>
              <a:t> </a:t>
            </a:r>
            <a:r>
              <a:rPr lang="de-AT" b="1" dirty="0" err="1"/>
              <a:t>klek</a:t>
            </a:r>
            <a:endParaRPr lang="de-AT" b="1" dirty="0"/>
          </a:p>
          <a:p>
            <a:r>
              <a:rPr lang="sl-SI" dirty="0"/>
              <a:t>n</a:t>
            </a:r>
            <a:r>
              <a:rPr lang="de-AT" dirty="0" err="1"/>
              <a:t>ajvi</a:t>
            </a:r>
            <a:r>
              <a:rPr lang="sl-SI" dirty="0"/>
              <a:t>š</a:t>
            </a:r>
            <a:r>
              <a:rPr lang="de-AT" dirty="0"/>
              <a:t>ja </a:t>
            </a:r>
            <a:r>
              <a:rPr lang="de-AT" dirty="0" err="1"/>
              <a:t>gora</a:t>
            </a:r>
            <a:r>
              <a:rPr lang="de-AT" dirty="0"/>
              <a:t> z </a:t>
            </a:r>
            <a:r>
              <a:rPr lang="sl-SI" dirty="0"/>
              <a:t> </a:t>
            </a:r>
            <a:r>
              <a:rPr lang="de-AT" dirty="0"/>
              <a:t>3.798 m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A1CA86A-3EAF-4432-90DF-0E7747591D7B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DDC26954-62C0-431B-9FF0-B159555E8501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de-AT" b="1" dirty="0"/>
              <a:t>Swarovski</a:t>
            </a:r>
          </a:p>
          <a:p>
            <a:r>
              <a:rPr lang="sl-SI" dirty="0"/>
              <a:t>Ustanovljeno leta </a:t>
            </a:r>
            <a:r>
              <a:rPr lang="de-AT" dirty="0"/>
              <a:t>1895 </a:t>
            </a:r>
            <a:r>
              <a:rPr lang="sl-SI" dirty="0"/>
              <a:t>v </a:t>
            </a:r>
            <a:r>
              <a:rPr lang="de-AT" dirty="0"/>
              <a:t>Wattens</a:t>
            </a:r>
            <a:r>
              <a:rPr lang="sl-SI" dirty="0"/>
              <a:t>-u</a:t>
            </a:r>
            <a:endParaRPr lang="de-AT" dirty="0"/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A79AD661-CE58-4B10-A7C5-79BB6C7E54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  <p:txBody>
          <a:bodyPr/>
          <a:lstStyle/>
          <a:p>
            <a:endParaRPr lang="de-AT"/>
          </a:p>
        </p:txBody>
      </p:sp>
      <p:pic>
        <p:nvPicPr>
          <p:cNvPr id="23" name="Bildplatzhalter 22" descr="Ein Bild, das blau, Porzellan enthält.&#10;&#10;Automatisch generierte Beschreibung">
            <a:extLst>
              <a:ext uri="{FF2B5EF4-FFF2-40B4-BE49-F238E27FC236}">
                <a16:creationId xmlns:a16="http://schemas.microsoft.com/office/drawing/2014/main" id="{7F7C3012-0B94-45EB-9CBC-957C8FF96F30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7" name="Inhaltsplatzhalter 10">
            <a:extLst>
              <a:ext uri="{FF2B5EF4-FFF2-40B4-BE49-F238E27FC236}">
                <a16:creationId xmlns:a16="http://schemas.microsoft.com/office/drawing/2014/main" id="{13C882EC-1F4A-4E54-BC3B-182594C6A2E6}"/>
              </a:ext>
            </a:extLst>
          </p:cNvPr>
          <p:cNvSpPr txBox="1">
            <a:spLocks/>
          </p:cNvSpPr>
          <p:nvPr/>
        </p:nvSpPr>
        <p:spPr>
          <a:xfrm>
            <a:off x="4043160" y="2512139"/>
            <a:ext cx="4105479" cy="1073531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l-SI" sz="3200" dirty="0"/>
              <a:t>S</a:t>
            </a:r>
            <a:r>
              <a:rPr lang="de-AT" sz="3200" dirty="0" err="1"/>
              <a:t>te</a:t>
            </a:r>
            <a:r>
              <a:rPr lang="de-AT" sz="3200" dirty="0"/>
              <a:t> </a:t>
            </a:r>
            <a:r>
              <a:rPr lang="de-AT" sz="3200" dirty="0" err="1"/>
              <a:t>vedeli</a:t>
            </a:r>
            <a:r>
              <a:rPr lang="de-AT" sz="3200" dirty="0"/>
              <a:t>?</a:t>
            </a:r>
          </a:p>
        </p:txBody>
      </p:sp>
      <p:pic>
        <p:nvPicPr>
          <p:cNvPr id="21" name="Bildplatzhalter 20" descr="Ein Bild, das Berg, Himmel, draußen, Natur enthält.&#10;&#10;Automatisch generierte Beschreibung">
            <a:extLst>
              <a:ext uri="{FF2B5EF4-FFF2-40B4-BE49-F238E27FC236}">
                <a16:creationId xmlns:a16="http://schemas.microsoft.com/office/drawing/2014/main" id="{2996D769-5DC3-4936-A34C-9BC382267CE8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06474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9924722-BE39-48AA-AD9B-CAF0939A0B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9924722-BE39-48AA-AD9B-CAF0939A0B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BB27845-CA4C-40EA-AD7B-F7B3D728A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AT" dirty="0" err="1"/>
              <a:t>Zakaj</a:t>
            </a:r>
            <a:r>
              <a:rPr lang="de-AT" dirty="0"/>
              <a:t> </a:t>
            </a:r>
            <a:r>
              <a:rPr lang="sl-SI" dirty="0"/>
              <a:t> </a:t>
            </a:r>
            <a:r>
              <a:rPr lang="de-AT" dirty="0" err="1"/>
              <a:t>Avstrija</a:t>
            </a:r>
            <a:r>
              <a:rPr lang="de-AT" dirty="0"/>
              <a:t>?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C0B489A-C075-41E0-A453-E93B97F9D4A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34BEE3-566C-4068-A777-C3A4762E861B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E6320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E6320F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0FE4226-9E50-402C-80BD-4F7E0A147A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E6320F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6" name="bg object 33">
            <a:extLst>
              <a:ext uri="{FF2B5EF4-FFF2-40B4-BE49-F238E27FC236}">
                <a16:creationId xmlns:a16="http://schemas.microsoft.com/office/drawing/2014/main" id="{3379CB21-01A3-4F75-9061-FB9D77650757}"/>
              </a:ext>
            </a:extLst>
          </p:cNvPr>
          <p:cNvSpPr>
            <a:spLocks noChangeAspect="1"/>
          </p:cNvSpPr>
          <p:nvPr/>
        </p:nvSpPr>
        <p:spPr>
          <a:xfrm rot="3357632">
            <a:off x="4409997" y="1541149"/>
            <a:ext cx="1583798" cy="1984054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46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bg object 33">
            <a:extLst>
              <a:ext uri="{FF2B5EF4-FFF2-40B4-BE49-F238E27FC236}">
                <a16:creationId xmlns:a16="http://schemas.microsoft.com/office/drawing/2014/main" id="{343E6BA5-8BFE-42E1-B0FA-EEB4866F150B}"/>
              </a:ext>
            </a:extLst>
          </p:cNvPr>
          <p:cNvSpPr>
            <a:spLocks noChangeAspect="1"/>
          </p:cNvSpPr>
          <p:nvPr/>
        </p:nvSpPr>
        <p:spPr>
          <a:xfrm rot="7663921">
            <a:off x="6050908" y="1575725"/>
            <a:ext cx="1583797" cy="1984053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46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bg object 33">
            <a:extLst>
              <a:ext uri="{FF2B5EF4-FFF2-40B4-BE49-F238E27FC236}">
                <a16:creationId xmlns:a16="http://schemas.microsoft.com/office/drawing/2014/main" id="{AEE2CBF4-190E-49A6-9CB3-1A28A2962908}"/>
              </a:ext>
            </a:extLst>
          </p:cNvPr>
          <p:cNvSpPr>
            <a:spLocks noChangeAspect="1"/>
          </p:cNvSpPr>
          <p:nvPr/>
        </p:nvSpPr>
        <p:spPr>
          <a:xfrm rot="12098391">
            <a:off x="6462472" y="3267975"/>
            <a:ext cx="1583798" cy="1984054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46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bg object 33">
            <a:extLst>
              <a:ext uri="{FF2B5EF4-FFF2-40B4-BE49-F238E27FC236}">
                <a16:creationId xmlns:a16="http://schemas.microsoft.com/office/drawing/2014/main" id="{EAC1CE38-093F-434C-A007-3A73B85187E2}"/>
              </a:ext>
            </a:extLst>
          </p:cNvPr>
          <p:cNvSpPr>
            <a:spLocks noChangeAspect="1"/>
          </p:cNvSpPr>
          <p:nvPr/>
        </p:nvSpPr>
        <p:spPr>
          <a:xfrm rot="20746160">
            <a:off x="3770248" y="3076844"/>
            <a:ext cx="1583798" cy="1984054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rgbClr val="E6320F"/>
          </a:solidFill>
          <a:ln>
            <a:solidFill>
              <a:srgbClr val="E6320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46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bg object 33">
            <a:extLst>
              <a:ext uri="{FF2B5EF4-FFF2-40B4-BE49-F238E27FC236}">
                <a16:creationId xmlns:a16="http://schemas.microsoft.com/office/drawing/2014/main" id="{BFE1923F-C946-42E2-8039-0954AE07FB01}"/>
              </a:ext>
            </a:extLst>
          </p:cNvPr>
          <p:cNvSpPr>
            <a:spLocks noChangeAspect="1"/>
          </p:cNvSpPr>
          <p:nvPr/>
        </p:nvSpPr>
        <p:spPr>
          <a:xfrm rot="16200000">
            <a:off x="5176395" y="4125003"/>
            <a:ext cx="1583798" cy="1984054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46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4C78652B-E64E-41E1-8DCC-0B54000400A4}"/>
              </a:ext>
            </a:extLst>
          </p:cNvPr>
          <p:cNvPicPr>
            <a:picLocks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414"/>
          <a:stretch/>
        </p:blipFill>
        <p:spPr bwMode="auto">
          <a:xfrm>
            <a:off x="5506039" y="3212635"/>
            <a:ext cx="961178" cy="961178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7265C5BC-753A-47A5-98A1-38F4CB171807}"/>
              </a:ext>
            </a:extLst>
          </p:cNvPr>
          <p:cNvSpPr txBox="1">
            <a:spLocks/>
          </p:cNvSpPr>
          <p:nvPr/>
        </p:nvSpPr>
        <p:spPr>
          <a:xfrm>
            <a:off x="1123611" y="1012385"/>
            <a:ext cx="3766788" cy="6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AT" sz="3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trg</a:t>
            </a:r>
            <a:r>
              <a:rPr kumimoji="0" lang="de-AT" sz="3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 </a:t>
            </a:r>
            <a:br>
              <a:rPr kumimoji="0" lang="de-AT" sz="3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</a:br>
            <a:r>
              <a:rPr kumimoji="0" lang="de-AT" sz="3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(</a:t>
            </a:r>
            <a:r>
              <a:rPr kumimoji="0" lang="de-AT" sz="3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dostop</a:t>
            </a:r>
            <a:r>
              <a:rPr kumimoji="0" lang="de-AT" sz="3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)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FFBD65DE-BB63-4F57-A16D-58A60158519A}"/>
              </a:ext>
            </a:extLst>
          </p:cNvPr>
          <p:cNvSpPr txBox="1">
            <a:spLocks/>
          </p:cNvSpPr>
          <p:nvPr/>
        </p:nvSpPr>
        <p:spPr>
          <a:xfrm>
            <a:off x="8000014" y="4173813"/>
            <a:ext cx="4198507" cy="6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AT" sz="3000" b="1" dirty="0" err="1">
                <a:solidFill>
                  <a:schemeClr val="accent2"/>
                </a:solidFill>
              </a:rPr>
              <a:t>talent</a:t>
            </a:r>
            <a:r>
              <a:rPr lang="de-AT" sz="3000" b="1" dirty="0">
                <a:solidFill>
                  <a:schemeClr val="accent2"/>
                </a:solidFill>
              </a:rPr>
              <a:t> </a:t>
            </a:r>
            <a:r>
              <a:rPr kumimoji="0" lang="de-AT" sz="3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&amp; </a:t>
            </a:r>
            <a:br>
              <a:rPr kumimoji="0" lang="de-AT" sz="3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</a:br>
            <a:r>
              <a:rPr kumimoji="0" lang="de-AT" sz="3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mentaliteta</a:t>
            </a:r>
            <a:endParaRPr kumimoji="0" lang="de-AT" sz="30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6FF34173-E2C2-49AA-8C28-8B9D81BB41D0}"/>
              </a:ext>
            </a:extLst>
          </p:cNvPr>
          <p:cNvSpPr txBox="1">
            <a:spLocks/>
          </p:cNvSpPr>
          <p:nvPr/>
        </p:nvSpPr>
        <p:spPr>
          <a:xfrm>
            <a:off x="7254371" y="1012385"/>
            <a:ext cx="4750875" cy="124791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AT" sz="3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varnost</a:t>
            </a:r>
            <a:r>
              <a:rPr kumimoji="0" lang="de-AT" sz="3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 &amp;</a:t>
            </a:r>
            <a:br>
              <a:rPr kumimoji="0" lang="de-AT" sz="3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</a:br>
            <a:r>
              <a:rPr kumimoji="0" lang="de-AT" sz="3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stabilnost</a:t>
            </a:r>
            <a:endParaRPr kumimoji="0" lang="de-AT" sz="30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6E372D33-7C92-44A3-9BAD-7351A57561CA}"/>
              </a:ext>
            </a:extLst>
          </p:cNvPr>
          <p:cNvSpPr txBox="1">
            <a:spLocks/>
          </p:cNvSpPr>
          <p:nvPr/>
        </p:nvSpPr>
        <p:spPr>
          <a:xfrm>
            <a:off x="2225801" y="4008311"/>
            <a:ext cx="1710773" cy="6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AT" sz="3000" b="1" i="0" u="none" strike="noStrike" kern="1200" cap="none" spc="0" normalizeH="0" baseline="0" noProof="0" dirty="0">
                <a:ln>
                  <a:noFill/>
                </a:ln>
                <a:solidFill>
                  <a:srgbClr val="004669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Support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77FED387-18E9-4FB1-849E-698500EBEC2B}"/>
              </a:ext>
            </a:extLst>
          </p:cNvPr>
          <p:cNvSpPr txBox="1">
            <a:spLocks/>
          </p:cNvSpPr>
          <p:nvPr/>
        </p:nvSpPr>
        <p:spPr>
          <a:xfrm>
            <a:off x="4706454" y="5932014"/>
            <a:ext cx="2560347" cy="6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AT" sz="3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inovacija</a:t>
            </a:r>
            <a:r>
              <a:rPr kumimoji="0" lang="de-AT" sz="3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 &amp; </a:t>
            </a:r>
            <a:r>
              <a:rPr kumimoji="0" lang="de-AT" sz="3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eko-sistem</a:t>
            </a:r>
            <a:endParaRPr kumimoji="0" lang="de-AT" sz="30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18" name="Flussdiagramm: Verbinder 17">
            <a:extLst>
              <a:ext uri="{FF2B5EF4-FFF2-40B4-BE49-F238E27FC236}">
                <a16:creationId xmlns:a16="http://schemas.microsoft.com/office/drawing/2014/main" id="{95BF9E64-E549-4B85-8780-FAB29CF53FCC}"/>
              </a:ext>
            </a:extLst>
          </p:cNvPr>
          <p:cNvSpPr/>
          <p:nvPr/>
        </p:nvSpPr>
        <p:spPr bwMode="ltGray">
          <a:xfrm>
            <a:off x="5418700" y="3182320"/>
            <a:ext cx="1055641" cy="1012723"/>
          </a:xfrm>
          <a:prstGeom prst="flowChartConnector">
            <a:avLst/>
          </a:prstGeom>
          <a:solidFill>
            <a:srgbClr val="E6320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32110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CFB62AB-890C-48E6-9EE8-BD1B63408C7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21</a:t>
            </a:fld>
            <a:endParaRPr lang="en-GB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205E45D-635C-4073-BA4C-D6B8FDFD97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dirty="0"/>
              <a:t>Prijazen davčni sistem</a:t>
            </a:r>
            <a:endParaRPr lang="de-AT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AAD8B287-CD71-43FB-B97D-EAFADE76CC3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23030" y="888312"/>
            <a:ext cx="6116597" cy="4717709"/>
          </a:xfrm>
        </p:spPr>
        <p:txBody>
          <a:bodyPr/>
          <a:lstStyle/>
          <a:p>
            <a:endParaRPr lang="en-US" dirty="0"/>
          </a:p>
          <a:p>
            <a:pPr marL="342900" lvl="2" indent="-342900">
              <a:spcBef>
                <a:spcPts val="1200"/>
              </a:spcBef>
              <a:buClr>
                <a:srgbClr val="E6320F"/>
              </a:buClr>
            </a:pPr>
            <a:r>
              <a:rPr lang="sl-SI" altLang="de-DE" dirty="0"/>
              <a:t>davek od dohodka pravnih oseb</a:t>
            </a:r>
            <a:r>
              <a:rPr lang="en-US" altLang="de-DE" dirty="0"/>
              <a:t>: 2</a:t>
            </a:r>
            <a:r>
              <a:rPr lang="sl-SI" altLang="de-DE" dirty="0"/>
              <a:t>3</a:t>
            </a:r>
            <a:r>
              <a:rPr lang="en-US" altLang="de-DE" dirty="0"/>
              <a:t>%  </a:t>
            </a:r>
          </a:p>
          <a:p>
            <a:pPr marL="342900" lvl="2" indent="-342900">
              <a:spcBef>
                <a:spcPts val="1200"/>
              </a:spcBef>
              <a:buClr>
                <a:srgbClr val="E6320F"/>
              </a:buClr>
            </a:pPr>
            <a:r>
              <a:rPr lang="sl-SI" altLang="de-DE" dirty="0"/>
              <a:t>moderni sistem obdavčitve skupin</a:t>
            </a:r>
            <a:endParaRPr lang="en-US" altLang="de-DE" dirty="0"/>
          </a:p>
          <a:p>
            <a:pPr marL="342900" lvl="2" indent="-342900">
              <a:spcBef>
                <a:spcPts val="1200"/>
              </a:spcBef>
              <a:buClr>
                <a:srgbClr val="E6320F"/>
              </a:buClr>
            </a:pPr>
            <a:r>
              <a:rPr lang="sl-SI" altLang="de-DE" dirty="0"/>
              <a:t>davčna premija za </a:t>
            </a:r>
            <a:r>
              <a:rPr lang="en-US" altLang="de-DE" dirty="0"/>
              <a:t> </a:t>
            </a:r>
            <a:r>
              <a:rPr lang="sl-SI" altLang="de-DE" dirty="0"/>
              <a:t>raziskave in razvoj: </a:t>
            </a:r>
            <a:r>
              <a:rPr lang="en-US" altLang="de-DE" dirty="0"/>
              <a:t>14%</a:t>
            </a:r>
            <a:r>
              <a:rPr lang="sl-SI" altLang="de-DE" dirty="0"/>
              <a:t>  ... in dodatne možnosti spodbudb</a:t>
            </a:r>
            <a:endParaRPr lang="en-US" altLang="de-DE" dirty="0"/>
          </a:p>
          <a:p>
            <a:pPr marL="342900" lvl="2" indent="-342900">
              <a:spcBef>
                <a:spcPts val="1200"/>
              </a:spcBef>
              <a:buClr>
                <a:srgbClr val="E6320F"/>
              </a:buClr>
            </a:pPr>
            <a:r>
              <a:rPr lang="sl-SI" altLang="de-DE" dirty="0"/>
              <a:t>ni obrtnega davka</a:t>
            </a:r>
            <a:endParaRPr lang="en-US" altLang="de-DE" dirty="0"/>
          </a:p>
          <a:p>
            <a:pPr marL="342900" lvl="2" indent="-342900">
              <a:spcBef>
                <a:spcPts val="1200"/>
              </a:spcBef>
              <a:buClr>
                <a:srgbClr val="E6320F"/>
              </a:buClr>
            </a:pPr>
            <a:r>
              <a:rPr lang="sl-SI" altLang="de-DE" dirty="0"/>
              <a:t>ni davka na premoženje</a:t>
            </a:r>
          </a:p>
          <a:p>
            <a:pPr marL="342900" lvl="2" indent="-342900">
              <a:spcBef>
                <a:spcPts val="1200"/>
              </a:spcBef>
              <a:buClr>
                <a:srgbClr val="E6320F"/>
              </a:buClr>
            </a:pPr>
            <a:r>
              <a:rPr lang="sl-SI" altLang="de-DE" dirty="0"/>
              <a:t>ni davka na  darila in dediščino</a:t>
            </a:r>
          </a:p>
          <a:p>
            <a:pPr marL="342900" lvl="2" indent="-342900">
              <a:spcBef>
                <a:spcPts val="1200"/>
              </a:spcBef>
              <a:buClr>
                <a:srgbClr val="E6320F"/>
              </a:buClr>
            </a:pPr>
            <a:r>
              <a:rPr lang="sl-SI" altLang="de-DE" dirty="0"/>
              <a:t>konvencija o izogibanju dvojnega obdavčevanja</a:t>
            </a:r>
            <a:endParaRPr lang="en-US" altLang="de-DE" dirty="0"/>
          </a:p>
        </p:txBody>
      </p:sp>
      <p:sp>
        <p:nvSpPr>
          <p:cNvPr id="6" name="bg object 33">
            <a:extLst>
              <a:ext uri="{FF2B5EF4-FFF2-40B4-BE49-F238E27FC236}">
                <a16:creationId xmlns:a16="http://schemas.microsoft.com/office/drawing/2014/main" id="{05572A1E-6DA7-4193-8D1F-34B50011BCC1}"/>
              </a:ext>
            </a:extLst>
          </p:cNvPr>
          <p:cNvSpPr>
            <a:spLocks noChangeAspect="1"/>
          </p:cNvSpPr>
          <p:nvPr/>
        </p:nvSpPr>
        <p:spPr>
          <a:xfrm rot="10800000">
            <a:off x="9789545" y="1742368"/>
            <a:ext cx="2402455" cy="3009600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rgbClr val="E6320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510480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DB4AEDB-003B-464C-AD9E-9BF25E1DC6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DB4AEDB-003B-464C-AD9E-9BF25E1DC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3F65EEE-D732-4E03-A213-FEAE751663D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34BEE3-566C-4068-A777-C3A4762E861B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E6320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E6320F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DF8A6EF-A8AF-406F-B2F2-EE49359FE3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800" b="0" i="0" u="none" strike="noStrike" kern="1200" cap="none" spc="0" normalizeH="0" baseline="0" noProof="0" dirty="0">
                <a:ln>
                  <a:noFill/>
                </a:ln>
                <a:solidFill>
                  <a:srgbClr val="E6320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Vir: 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E6320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 KSV, 2022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BE9199A-ED2D-4D87-844A-9E0348E4A2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l-SI" dirty="0"/>
              <a:t>Visoka plačilna disciplina</a:t>
            </a:r>
            <a:endParaRPr lang="de-AT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56DE38B-4773-4576-89C4-12E5A46F30E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612352" y="1658239"/>
            <a:ext cx="5427406" cy="2856611"/>
          </a:xfrm>
        </p:spPr>
        <p:txBody>
          <a:bodyPr vert="horz" lIns="0" tIns="0" rIns="0" bIns="0" rtlCol="0" anchor="t">
            <a:noAutofit/>
          </a:bodyPr>
          <a:lstStyle/>
          <a:p>
            <a:pPr marL="342900" lvl="2" indent="-342900">
              <a:spcBef>
                <a:spcPts val="1200"/>
              </a:spcBef>
            </a:pPr>
            <a:r>
              <a:rPr lang="sl-SI" altLang="de-DE" dirty="0">
                <a:latin typeface="Corbel"/>
              </a:rPr>
              <a:t>podjetja</a:t>
            </a:r>
            <a:r>
              <a:rPr lang="en-US" altLang="de-DE" dirty="0">
                <a:latin typeface="Corbel"/>
              </a:rPr>
              <a:t>:</a:t>
            </a:r>
            <a:r>
              <a:rPr lang="sl-SI" altLang="de-DE" dirty="0">
                <a:latin typeface="Corbel"/>
              </a:rPr>
              <a:t> </a:t>
            </a:r>
            <a:r>
              <a:rPr lang="en-US" altLang="de-DE" dirty="0">
                <a:solidFill>
                  <a:srgbClr val="E6320F"/>
                </a:solidFill>
                <a:latin typeface="Corbel"/>
              </a:rPr>
              <a:t>25 d</a:t>
            </a:r>
            <a:r>
              <a:rPr lang="sl-SI" altLang="de-DE" dirty="0">
                <a:solidFill>
                  <a:srgbClr val="E6320F"/>
                </a:solidFill>
                <a:latin typeface="Corbel"/>
              </a:rPr>
              <a:t>ni</a:t>
            </a:r>
            <a:endParaRPr lang="en-US" altLang="de-DE" dirty="0">
              <a:solidFill>
                <a:srgbClr val="E6320F"/>
              </a:solidFill>
              <a:latin typeface="Corbel"/>
            </a:endParaRPr>
          </a:p>
          <a:p>
            <a:pPr marL="342900" lvl="2" indent="-342900">
              <a:spcBef>
                <a:spcPts val="1200"/>
              </a:spcBef>
            </a:pPr>
            <a:endParaRPr lang="en-US" altLang="de-DE" dirty="0"/>
          </a:p>
          <a:p>
            <a:pPr marL="342900" lvl="2" indent="-342900">
              <a:spcBef>
                <a:spcPts val="1200"/>
              </a:spcBef>
            </a:pPr>
            <a:r>
              <a:rPr lang="sl-SI" altLang="de-DE" dirty="0">
                <a:latin typeface="Corbel"/>
              </a:rPr>
              <a:t>potrošniki</a:t>
            </a:r>
            <a:r>
              <a:rPr lang="en-US" altLang="de-DE" dirty="0">
                <a:latin typeface="Corbel"/>
              </a:rPr>
              <a:t>:</a:t>
            </a:r>
            <a:r>
              <a:rPr lang="sl-SI" altLang="de-DE" dirty="0">
                <a:latin typeface="Corbel"/>
              </a:rPr>
              <a:t> </a:t>
            </a:r>
            <a:r>
              <a:rPr lang="en-US" altLang="de-DE" dirty="0">
                <a:solidFill>
                  <a:srgbClr val="E6320F"/>
                </a:solidFill>
                <a:latin typeface="Corbel"/>
              </a:rPr>
              <a:t>13 d</a:t>
            </a:r>
            <a:r>
              <a:rPr lang="sl-SI" altLang="de-DE" dirty="0">
                <a:solidFill>
                  <a:srgbClr val="E6320F"/>
                </a:solidFill>
                <a:latin typeface="Corbel"/>
              </a:rPr>
              <a:t>ni</a:t>
            </a:r>
            <a:endParaRPr lang="en-US" altLang="de-DE" dirty="0">
              <a:solidFill>
                <a:srgbClr val="E6320F"/>
              </a:solidFill>
              <a:latin typeface="Corbel"/>
            </a:endParaRPr>
          </a:p>
          <a:p>
            <a:pPr marL="342900" lvl="2" indent="-342900">
              <a:spcBef>
                <a:spcPts val="1200"/>
              </a:spcBef>
            </a:pPr>
            <a:endParaRPr lang="en-US" altLang="de-DE" dirty="0"/>
          </a:p>
          <a:p>
            <a:pPr marL="342900" lvl="2" indent="-342900">
              <a:spcBef>
                <a:spcPts val="1200"/>
              </a:spcBef>
            </a:pPr>
            <a:r>
              <a:rPr lang="sl-SI" altLang="de-DE" dirty="0">
                <a:latin typeface="Corbel"/>
              </a:rPr>
              <a:t>javni sektor</a:t>
            </a:r>
            <a:r>
              <a:rPr lang="en-US" altLang="de-DE" dirty="0">
                <a:latin typeface="Corbel"/>
              </a:rPr>
              <a:t>: </a:t>
            </a:r>
            <a:r>
              <a:rPr lang="en-US" altLang="de-DE" dirty="0">
                <a:solidFill>
                  <a:srgbClr val="E6320F"/>
                </a:solidFill>
                <a:latin typeface="Corbel"/>
              </a:rPr>
              <a:t>34 d</a:t>
            </a:r>
            <a:r>
              <a:rPr lang="sl-SI" altLang="de-DE" dirty="0">
                <a:solidFill>
                  <a:srgbClr val="E6320F"/>
                </a:solidFill>
                <a:latin typeface="Corbel"/>
              </a:rPr>
              <a:t>ni</a:t>
            </a:r>
            <a:endParaRPr lang="en-US" altLang="de-DE" dirty="0">
              <a:solidFill>
                <a:srgbClr val="E6320F"/>
              </a:solidFill>
              <a:latin typeface="Corbel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52985A3-271A-459D-A154-52D158DA286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4346" y="951222"/>
            <a:ext cx="4237305" cy="4136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3779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79B1C3-7453-4E0E-9963-E8A186D9DD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9537" y="209407"/>
            <a:ext cx="9035993" cy="430887"/>
          </a:xfrm>
        </p:spPr>
        <p:txBody>
          <a:bodyPr/>
          <a:lstStyle/>
          <a:p>
            <a:r>
              <a:rPr lang="sl-SI" dirty="0"/>
              <a:t>Ustanavljanje  d.o.o. </a:t>
            </a:r>
            <a:r>
              <a:rPr lang="de-AT" dirty="0"/>
              <a:t>(GmbH)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A192DBA-D13D-4DF2-87E5-5EC24EEEEA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DCC36423-9BD3-4E58-A56E-4E4966CF101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537" y="995894"/>
            <a:ext cx="10691460" cy="6073102"/>
          </a:xfrm>
        </p:spPr>
        <p:txBody>
          <a:bodyPr/>
          <a:lstStyle/>
          <a:p>
            <a:pPr marL="342900" lvl="2" indent="-342900">
              <a:spcBef>
                <a:spcPts val="1200"/>
              </a:spcBef>
              <a:buClr>
                <a:srgbClr val="E6320F"/>
              </a:buClr>
            </a:pPr>
            <a:r>
              <a:rPr lang="sl-SI" dirty="0"/>
              <a:t>Možno tudi samo z eno osebo</a:t>
            </a:r>
            <a:endParaRPr lang="en-US" dirty="0"/>
          </a:p>
          <a:p>
            <a:pPr marL="342900" lvl="2" indent="-342900">
              <a:spcBef>
                <a:spcPts val="1200"/>
              </a:spcBef>
              <a:buClr>
                <a:srgbClr val="E6320F"/>
              </a:buClr>
            </a:pPr>
            <a:r>
              <a:rPr lang="sl-SI" dirty="0"/>
              <a:t>Družbeniki</a:t>
            </a:r>
            <a:r>
              <a:rPr lang="en-US" dirty="0"/>
              <a:t>:</a:t>
            </a:r>
          </a:p>
          <a:p>
            <a:pPr marL="522900" lvl="3" indent="-342900">
              <a:spcBef>
                <a:spcPts val="1200"/>
              </a:spcBef>
              <a:buClr>
                <a:srgbClr val="E6320F"/>
              </a:buClr>
            </a:pPr>
            <a:r>
              <a:rPr lang="sl-SI" sz="2000" dirty="0"/>
              <a:t>Fizična/e oseba/e</a:t>
            </a:r>
            <a:endParaRPr lang="en-US" sz="2000" dirty="0"/>
          </a:p>
          <a:p>
            <a:pPr marL="522900" lvl="3" indent="-342900">
              <a:spcBef>
                <a:spcPts val="1200"/>
              </a:spcBef>
              <a:buClr>
                <a:srgbClr val="E6320F"/>
              </a:buClr>
            </a:pPr>
            <a:r>
              <a:rPr lang="sl-SI" sz="2000" dirty="0"/>
              <a:t>Pravna/e oseba/e</a:t>
            </a:r>
            <a:endParaRPr lang="en-US" sz="2000" dirty="0"/>
          </a:p>
          <a:p>
            <a:pPr marL="342900" lvl="2" indent="-342900">
              <a:spcBef>
                <a:spcPts val="1200"/>
              </a:spcBef>
              <a:buClr>
                <a:srgbClr val="E6320F"/>
              </a:buClr>
            </a:pPr>
            <a:r>
              <a:rPr lang="en-US" dirty="0"/>
              <a:t>N</a:t>
            </a:r>
            <a:r>
              <a:rPr lang="sl-SI" dirty="0"/>
              <a:t>i potrebno</a:t>
            </a:r>
            <a:r>
              <a:rPr lang="en-US" dirty="0"/>
              <a:t>: </a:t>
            </a:r>
          </a:p>
          <a:p>
            <a:pPr marL="522900" lvl="3" indent="-342900">
              <a:spcBef>
                <a:spcPts val="1200"/>
              </a:spcBef>
              <a:buClr>
                <a:srgbClr val="E6320F"/>
              </a:buClr>
            </a:pPr>
            <a:r>
              <a:rPr lang="en-US" sz="2000" dirty="0"/>
              <a:t>AT </a:t>
            </a:r>
            <a:r>
              <a:rPr lang="sl-SI" sz="2000" dirty="0"/>
              <a:t>državljanstvo</a:t>
            </a:r>
            <a:endParaRPr lang="en-US" sz="2000" dirty="0"/>
          </a:p>
          <a:p>
            <a:pPr marL="522900" lvl="3" indent="-342900">
              <a:spcBef>
                <a:spcPts val="1200"/>
              </a:spcBef>
              <a:buClr>
                <a:srgbClr val="E6320F"/>
              </a:buClr>
            </a:pPr>
            <a:r>
              <a:rPr lang="sl-SI" sz="2000" dirty="0"/>
              <a:t>Domicil ali stalno bivališče v Avstriji </a:t>
            </a:r>
            <a:endParaRPr lang="en-US" sz="2000" dirty="0"/>
          </a:p>
          <a:p>
            <a:pPr marL="342900" lvl="2" indent="-342900">
              <a:spcBef>
                <a:spcPts val="1200"/>
              </a:spcBef>
              <a:buClr>
                <a:srgbClr val="E6320F"/>
              </a:buClr>
            </a:pPr>
            <a:r>
              <a:rPr lang="en-US" dirty="0"/>
              <a:t>Minim</a:t>
            </a:r>
            <a:r>
              <a:rPr lang="sl-SI" dirty="0"/>
              <a:t>alni ustanovitveni/osnovni kapital</a:t>
            </a:r>
            <a:r>
              <a:rPr lang="en-US" dirty="0"/>
              <a:t>:</a:t>
            </a:r>
          </a:p>
          <a:p>
            <a:pPr marL="180000" lvl="3" indent="0">
              <a:spcBef>
                <a:spcPts val="1200"/>
              </a:spcBef>
              <a:buClr>
                <a:srgbClr val="E6320F"/>
              </a:buClr>
              <a:buNone/>
            </a:pPr>
            <a:r>
              <a:rPr lang="en-US" sz="2000" dirty="0"/>
              <a:t>   € 10.000, </a:t>
            </a:r>
            <a:r>
              <a:rPr lang="sl-SI" sz="2000" dirty="0"/>
              <a:t>od tega </a:t>
            </a:r>
            <a:r>
              <a:rPr lang="en-US" sz="2000" dirty="0"/>
              <a:t>€ 5.000 </a:t>
            </a:r>
            <a:r>
              <a:rPr lang="sl-SI" sz="2000" dirty="0"/>
              <a:t>v gotovini ob ustanovitvi</a:t>
            </a: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>
              <a:solidFill>
                <a:srgbClr val="034569"/>
              </a:solidFill>
            </a:endParaRPr>
          </a:p>
        </p:txBody>
      </p:sp>
      <p:sp>
        <p:nvSpPr>
          <p:cNvPr id="9" name="bg object 33">
            <a:extLst>
              <a:ext uri="{FF2B5EF4-FFF2-40B4-BE49-F238E27FC236}">
                <a16:creationId xmlns:a16="http://schemas.microsoft.com/office/drawing/2014/main" id="{009D9BB2-1468-4A76-A595-AF64487FC02B}"/>
              </a:ext>
            </a:extLst>
          </p:cNvPr>
          <p:cNvSpPr>
            <a:spLocks noChangeAspect="1"/>
          </p:cNvSpPr>
          <p:nvPr/>
        </p:nvSpPr>
        <p:spPr>
          <a:xfrm rot="10800000">
            <a:off x="9782063" y="1594884"/>
            <a:ext cx="2402455" cy="3009600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rgbClr val="E6320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91EEDF59-7974-4C30-BF62-064354C3D53E}"/>
              </a:ext>
            </a:extLst>
          </p:cNvPr>
          <p:cNvSpPr txBox="1"/>
          <p:nvPr/>
        </p:nvSpPr>
        <p:spPr>
          <a:xfrm>
            <a:off x="7017770" y="2699988"/>
            <a:ext cx="304161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sl-SI" sz="2400" b="0" i="0" u="none" strike="noStrike" cap="none" spc="0" normalizeH="0" baseline="0" dirty="0">
                <a:ln>
                  <a:noFill/>
                </a:ln>
                <a:solidFill>
                  <a:srgbClr val="E6320F"/>
                </a:solidFill>
                <a:effectLst/>
                <a:uFillTx/>
                <a:latin typeface="Corbel" panose="020B0503020204020204" pitchFamily="34" charset="0"/>
                <a:ea typeface="Helvetica Light"/>
                <a:cs typeface="Helvetica Light"/>
                <a:sym typeface="Helvetica Light"/>
              </a:rPr>
              <a:t>Ustanovitev traja ponavadi </a:t>
            </a:r>
            <a:r>
              <a:rPr lang="de-AT" sz="2400" baseline="0" dirty="0">
                <a:solidFill>
                  <a:srgbClr val="E6320F"/>
                </a:solidFill>
                <a:latin typeface="Corbel" panose="020B0503020204020204" pitchFamily="34" charset="0"/>
                <a:ea typeface="Helvetica Light"/>
                <a:cs typeface="Helvetica Light"/>
                <a:sym typeface="Helvetica Light"/>
              </a:rPr>
              <a:t>2 </a:t>
            </a:r>
            <a:r>
              <a:rPr lang="sl-SI" sz="2400" baseline="0" dirty="0">
                <a:solidFill>
                  <a:srgbClr val="E6320F"/>
                </a:solidFill>
                <a:latin typeface="Corbel" panose="020B0503020204020204" pitchFamily="34" charset="0"/>
                <a:ea typeface="Helvetica Light"/>
                <a:cs typeface="Helvetica Light"/>
                <a:sym typeface="Helvetica Light"/>
              </a:rPr>
              <a:t>do</a:t>
            </a:r>
            <a:r>
              <a:rPr lang="de-AT" sz="2400" baseline="0" dirty="0">
                <a:solidFill>
                  <a:srgbClr val="E6320F"/>
                </a:solidFill>
                <a:latin typeface="Corbel" panose="020B0503020204020204" pitchFamily="34" charset="0"/>
                <a:ea typeface="Helvetica Light"/>
                <a:cs typeface="Helvetica Light"/>
                <a:sym typeface="Helvetica Light"/>
              </a:rPr>
              <a:t> 3 </a:t>
            </a:r>
            <a:r>
              <a:rPr lang="sl-SI" sz="2400" baseline="0" dirty="0">
                <a:solidFill>
                  <a:srgbClr val="E6320F"/>
                </a:solidFill>
                <a:latin typeface="Corbel" panose="020B0503020204020204" pitchFamily="34" charset="0"/>
                <a:ea typeface="Helvetica Light"/>
                <a:cs typeface="Helvetica Light"/>
                <a:sym typeface="Helvetica Light"/>
              </a:rPr>
              <a:t>tedna</a:t>
            </a:r>
            <a:endParaRPr kumimoji="0" lang="de-AT" sz="2400" b="0" i="0" u="none" strike="noStrike" cap="none" spc="0" normalizeH="0" baseline="0" dirty="0">
              <a:ln>
                <a:noFill/>
              </a:ln>
              <a:solidFill>
                <a:srgbClr val="E6320F"/>
              </a:solidFill>
              <a:effectLst/>
              <a:uFillTx/>
              <a:latin typeface="Corbel" panose="020B0503020204020204" pitchFamily="34" charset="0"/>
              <a:ea typeface="Helvetica Light"/>
              <a:cs typeface="Helvetica Light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32837574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9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C42999-489F-8EB2-B84E-7DC0BBF425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C6C7BA-2698-F898-056E-CFE8F0A4A7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9537" y="396000"/>
            <a:ext cx="9035993" cy="430887"/>
          </a:xfrm>
        </p:spPr>
        <p:txBody>
          <a:bodyPr/>
          <a:lstStyle/>
          <a:p>
            <a:br>
              <a:rPr lang="sl-SI" dirty="0"/>
            </a:br>
            <a:r>
              <a:rPr lang="sl-SI" dirty="0"/>
              <a:t>Nova pravna oblika kapitalske družbe  =  FlexCo</a:t>
            </a:r>
            <a:br>
              <a:rPr lang="sl-SI" dirty="0"/>
            </a:br>
            <a:r>
              <a:rPr lang="sl-SI" sz="2400" dirty="0">
                <a:solidFill>
                  <a:srgbClr val="FF0000"/>
                </a:solidFill>
              </a:rPr>
              <a:t>Kaj je novo?</a:t>
            </a:r>
            <a:endParaRPr lang="de-AT" sz="2400" dirty="0">
              <a:solidFill>
                <a:srgbClr val="FF0000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BB48099-8B9D-0AEC-BE3B-9F374DD7C10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24</a:t>
            </a:fld>
            <a:endParaRPr lang="en-GB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3D4705E-F9D2-0882-774F-A278DA9DAB1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537" y="1567933"/>
            <a:ext cx="10691460" cy="6073102"/>
          </a:xfrm>
        </p:spPr>
        <p:txBody>
          <a:bodyPr/>
          <a:lstStyle/>
          <a:p>
            <a:pPr marL="342900" lvl="2" indent="-342900">
              <a:spcBef>
                <a:spcPts val="1200"/>
              </a:spcBef>
              <a:buClr>
                <a:srgbClr val="E6320F"/>
              </a:buClr>
            </a:pPr>
            <a:endParaRPr lang="sl-SI" dirty="0"/>
          </a:p>
          <a:p>
            <a:pPr marL="342900" lvl="2" indent="-342900">
              <a:spcBef>
                <a:spcPts val="1200"/>
              </a:spcBef>
              <a:buClr>
                <a:srgbClr val="E6320F"/>
              </a:buClr>
            </a:pPr>
            <a:r>
              <a:rPr lang="sl-SI" dirty="0"/>
              <a:t>FlexCo oz. FlexKapG = kombinacija  klasične d.o.o.  s klasično d.d.</a:t>
            </a:r>
          </a:p>
          <a:p>
            <a:pPr marL="342900" lvl="2" indent="-342900">
              <a:spcBef>
                <a:spcPts val="1200"/>
              </a:spcBef>
              <a:buClr>
                <a:srgbClr val="E6320F"/>
              </a:buClr>
            </a:pPr>
            <a:r>
              <a:rPr lang="sl-SI" dirty="0"/>
              <a:t>izdaja različnih razredov delnic </a:t>
            </a:r>
            <a:r>
              <a:rPr lang="sl-SI" sz="1800" dirty="0"/>
              <a:t>(navadne delnice &amp; delnice z vrednostjo podjetja)</a:t>
            </a:r>
          </a:p>
          <a:p>
            <a:pPr marL="342900" lvl="2" indent="-342900">
              <a:spcBef>
                <a:spcPts val="1200"/>
              </a:spcBef>
              <a:buClr>
                <a:srgbClr val="E6320F"/>
              </a:buClr>
            </a:pPr>
            <a:r>
              <a:rPr lang="sl-SI" dirty="0"/>
              <a:t>zmanjšani vložki v osnovni kapital</a:t>
            </a:r>
          </a:p>
          <a:p>
            <a:pPr marL="342900" lvl="2" indent="-342900">
              <a:spcBef>
                <a:spcPts val="1200"/>
              </a:spcBef>
              <a:buClr>
                <a:srgbClr val="E6320F"/>
              </a:buClr>
            </a:pPr>
            <a:r>
              <a:rPr lang="sl-SI" dirty="0"/>
              <a:t>manj  formalistični postopek za odločanje delničarjev</a:t>
            </a:r>
          </a:p>
          <a:p>
            <a:pPr marL="342900" lvl="2" indent="-342900">
              <a:spcBef>
                <a:spcPts val="1200"/>
              </a:spcBef>
              <a:buClr>
                <a:srgbClr val="E6320F"/>
              </a:buClr>
            </a:pPr>
            <a:r>
              <a:rPr lang="sl-SI" dirty="0"/>
              <a:t>razdeljeno uveljavljanje glasovalnih pravic</a:t>
            </a:r>
          </a:p>
          <a:p>
            <a:pPr marL="342900" lvl="2" indent="-342900">
              <a:spcBef>
                <a:spcPts val="1200"/>
              </a:spcBef>
              <a:buClr>
                <a:srgbClr val="E6320F"/>
              </a:buClr>
            </a:pPr>
            <a:r>
              <a:rPr lang="sl-SI" dirty="0"/>
              <a:t>poenostavljen prenos delnic</a:t>
            </a:r>
            <a:endParaRPr lang="en-US" dirty="0"/>
          </a:p>
          <a:p>
            <a:pPr marL="285750" indent="-285750">
              <a:buClr>
                <a:srgbClr val="E10000"/>
              </a:buClr>
              <a:buFont typeface="Arial" panose="020B0604020202020204" pitchFamily="34" charset="0"/>
              <a:buChar char="•"/>
            </a:pPr>
            <a:r>
              <a:rPr lang="en-US" dirty="0" err="1"/>
              <a:t>fleksibilnost</a:t>
            </a:r>
            <a:r>
              <a:rPr lang="en-US" dirty="0"/>
              <a:t> </a:t>
            </a:r>
            <a:r>
              <a:rPr lang="en-US" dirty="0" err="1"/>
              <a:t>pri</a:t>
            </a:r>
            <a:r>
              <a:rPr lang="en-US" dirty="0"/>
              <a:t> </a:t>
            </a:r>
            <a:r>
              <a:rPr lang="sl-SI" dirty="0"/>
              <a:t>bodočih </a:t>
            </a:r>
            <a:r>
              <a:rPr lang="en-US" dirty="0" err="1"/>
              <a:t>kapitalskih</a:t>
            </a:r>
            <a:r>
              <a:rPr lang="en-US" dirty="0"/>
              <a:t> </a:t>
            </a:r>
            <a:r>
              <a:rPr lang="en-US" dirty="0" err="1"/>
              <a:t>ukrepi</a:t>
            </a:r>
            <a:r>
              <a:rPr lang="sl-SI" dirty="0"/>
              <a:t>h</a:t>
            </a:r>
            <a:endParaRPr lang="en-US" dirty="0"/>
          </a:p>
        </p:txBody>
      </p:sp>
      <p:sp>
        <p:nvSpPr>
          <p:cNvPr id="9" name="bg object 33">
            <a:extLst>
              <a:ext uri="{FF2B5EF4-FFF2-40B4-BE49-F238E27FC236}">
                <a16:creationId xmlns:a16="http://schemas.microsoft.com/office/drawing/2014/main" id="{726646E6-A839-292D-DBC8-177BC4DBCEBA}"/>
              </a:ext>
            </a:extLst>
          </p:cNvPr>
          <p:cNvSpPr>
            <a:spLocks noChangeAspect="1"/>
          </p:cNvSpPr>
          <p:nvPr/>
        </p:nvSpPr>
        <p:spPr>
          <a:xfrm rot="10800000">
            <a:off x="9782063" y="1594884"/>
            <a:ext cx="2402455" cy="3009600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rgbClr val="E6320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274359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9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79B1C3-7453-4E0E-9963-E8A186D9DD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9537" y="316745"/>
            <a:ext cx="9035993" cy="430887"/>
          </a:xfrm>
        </p:spPr>
        <p:txBody>
          <a:bodyPr/>
          <a:lstStyle/>
          <a:p>
            <a:r>
              <a:rPr lang="sl-SI" dirty="0"/>
              <a:t>Obrtno dovoljenje </a:t>
            </a:r>
            <a:r>
              <a:rPr lang="de-AT" dirty="0"/>
              <a:t>(„Gewerbeberechtigung“)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A192DBA-D13D-4DF2-87E5-5EC24EEEEA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25</a:t>
            </a:fld>
            <a:endParaRPr lang="en-GB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DCC36423-9BD3-4E58-A56E-4E4966CF101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9537" y="1547041"/>
            <a:ext cx="9365446" cy="4072295"/>
          </a:xfrm>
        </p:spPr>
        <p:txBody>
          <a:bodyPr/>
          <a:lstStyle/>
          <a:p>
            <a:pPr marL="342900" lvl="2" indent="-342900">
              <a:spcBef>
                <a:spcPts val="1200"/>
              </a:spcBef>
              <a:buClr>
                <a:srgbClr val="E6320F"/>
              </a:buClr>
            </a:pPr>
            <a:r>
              <a:rPr lang="sl-SI" altLang="de-DE" b="1" dirty="0">
                <a:solidFill>
                  <a:srgbClr val="E6320F"/>
                </a:solidFill>
              </a:rPr>
              <a:t>prosta</a:t>
            </a:r>
            <a:r>
              <a:rPr lang="sl-SI" altLang="de-DE" dirty="0">
                <a:solidFill>
                  <a:srgbClr val="E6320F"/>
                </a:solidFill>
              </a:rPr>
              <a:t>  </a:t>
            </a:r>
            <a:r>
              <a:rPr lang="sl-SI" altLang="de-DE" dirty="0"/>
              <a:t>(npr. trgovina) ali </a:t>
            </a:r>
            <a:r>
              <a:rPr lang="it-IT" altLang="de-DE" dirty="0"/>
              <a:t> </a:t>
            </a:r>
            <a:r>
              <a:rPr lang="it-IT" altLang="de-DE" b="1" dirty="0" err="1">
                <a:solidFill>
                  <a:srgbClr val="E6320F"/>
                </a:solidFill>
              </a:rPr>
              <a:t>regul</a:t>
            </a:r>
            <a:r>
              <a:rPr lang="sl-SI" altLang="de-DE" b="1" dirty="0">
                <a:solidFill>
                  <a:srgbClr val="E6320F"/>
                </a:solidFill>
              </a:rPr>
              <a:t>irana dejavnost</a:t>
            </a:r>
            <a:r>
              <a:rPr lang="it-IT" altLang="de-DE" b="1" dirty="0">
                <a:solidFill>
                  <a:srgbClr val="E10000"/>
                </a:solidFill>
              </a:rPr>
              <a:t> </a:t>
            </a:r>
            <a:r>
              <a:rPr lang="it-IT" altLang="de-DE" dirty="0"/>
              <a:t>(</a:t>
            </a:r>
            <a:r>
              <a:rPr lang="sl-SI" altLang="de-DE" dirty="0"/>
              <a:t>npr.  gostilna, mesnica,  gradbeništvo itd.)</a:t>
            </a:r>
            <a:endParaRPr lang="it-IT" altLang="de-DE" dirty="0"/>
          </a:p>
          <a:p>
            <a:pPr marL="342900" lvl="2" indent="-342900">
              <a:spcBef>
                <a:spcPts val="1200"/>
              </a:spcBef>
              <a:buClr>
                <a:srgbClr val="E6320F"/>
              </a:buClr>
            </a:pPr>
            <a:r>
              <a:rPr lang="sl-SI" altLang="de-DE" dirty="0"/>
              <a:t>imenovati je potrebno obrtno pravnega poslovodja </a:t>
            </a:r>
            <a:endParaRPr lang="it-IT" altLang="de-DE" dirty="0"/>
          </a:p>
          <a:p>
            <a:pPr marL="342900" lvl="2" indent="-342900">
              <a:spcBef>
                <a:spcPts val="1200"/>
              </a:spcBef>
              <a:buClr>
                <a:srgbClr val="E6320F"/>
              </a:buClr>
            </a:pPr>
            <a:r>
              <a:rPr lang="sl-SI" altLang="de-DE" dirty="0"/>
              <a:t>možna je tudi zaposlitev te osebe </a:t>
            </a:r>
            <a:r>
              <a:rPr lang="it-IT" altLang="de-DE" dirty="0"/>
              <a:t>(</a:t>
            </a:r>
            <a:r>
              <a:rPr lang="sl-SI" altLang="de-DE" dirty="0"/>
              <a:t>najmanj za 20</a:t>
            </a:r>
            <a:r>
              <a:rPr lang="it-IT" altLang="de-DE" dirty="0"/>
              <a:t> </a:t>
            </a:r>
            <a:r>
              <a:rPr lang="sl-SI" altLang="de-DE" dirty="0"/>
              <a:t>ur/teden</a:t>
            </a:r>
            <a:r>
              <a:rPr lang="it-IT" altLang="de-DE" dirty="0"/>
              <a:t>)</a:t>
            </a:r>
          </a:p>
          <a:p>
            <a:pPr marL="342900" lvl="2" indent="-342900">
              <a:spcBef>
                <a:spcPts val="1200"/>
              </a:spcBef>
              <a:buClr>
                <a:srgbClr val="E6320F"/>
              </a:buClr>
            </a:pPr>
            <a:r>
              <a:rPr lang="sl-SI" altLang="de-DE" dirty="0"/>
              <a:t>splošni pogoji</a:t>
            </a:r>
            <a:r>
              <a:rPr lang="it-IT" altLang="de-DE" dirty="0"/>
              <a:t>: </a:t>
            </a:r>
          </a:p>
          <a:p>
            <a:pPr marL="522900" lvl="3" indent="-342900">
              <a:spcBef>
                <a:spcPts val="1200"/>
              </a:spcBef>
              <a:buClr>
                <a:srgbClr val="E6320F"/>
              </a:buClr>
            </a:pPr>
            <a:r>
              <a:rPr lang="sl-SI" altLang="de-DE" sz="2000" dirty="0"/>
              <a:t>najmanj 18 let</a:t>
            </a:r>
            <a:endParaRPr lang="it-IT" altLang="de-DE" sz="2000" dirty="0"/>
          </a:p>
          <a:p>
            <a:pPr marL="522900" lvl="3" indent="-342900">
              <a:spcBef>
                <a:spcPts val="1200"/>
              </a:spcBef>
              <a:buClr>
                <a:srgbClr val="E6320F"/>
              </a:buClr>
            </a:pPr>
            <a:r>
              <a:rPr lang="sl-SI" altLang="de-DE" sz="2000" dirty="0"/>
              <a:t>avstrijski ali državljan EU</a:t>
            </a:r>
          </a:p>
          <a:p>
            <a:pPr marL="522900" lvl="3" indent="-342900">
              <a:spcBef>
                <a:spcPts val="1200"/>
              </a:spcBef>
              <a:buClr>
                <a:srgbClr val="E6320F"/>
              </a:buClr>
            </a:pPr>
            <a:r>
              <a:rPr lang="sl-SI" altLang="de-DE" sz="2000" dirty="0"/>
              <a:t>nobenih  r</a:t>
            </a:r>
            <a:r>
              <a:rPr lang="de-AT" altLang="de-DE" sz="2000" dirty="0" err="1"/>
              <a:t>azlog</a:t>
            </a:r>
            <a:r>
              <a:rPr lang="sl-SI" altLang="de-DE" sz="2000" dirty="0"/>
              <a:t>ov </a:t>
            </a:r>
            <a:r>
              <a:rPr lang="de-AT" altLang="de-DE" sz="2000" dirty="0" err="1"/>
              <a:t>za</a:t>
            </a:r>
            <a:r>
              <a:rPr lang="de-AT" altLang="de-DE" sz="2000" dirty="0"/>
              <a:t> </a:t>
            </a:r>
            <a:r>
              <a:rPr lang="de-AT" altLang="de-DE" sz="2000" dirty="0" err="1"/>
              <a:t>izklju</a:t>
            </a:r>
            <a:r>
              <a:rPr lang="sl-SI" altLang="de-DE" sz="2000" dirty="0"/>
              <a:t>č</a:t>
            </a:r>
            <a:r>
              <a:rPr lang="de-AT" altLang="de-DE" sz="2000" dirty="0" err="1"/>
              <a:t>itev</a:t>
            </a:r>
            <a:r>
              <a:rPr lang="sl-SI" altLang="de-DE" sz="2000" dirty="0"/>
              <a:t> (npr. kaznovan</a:t>
            </a:r>
            <a:r>
              <a:rPr lang="it-IT" altLang="de-DE" sz="2000" dirty="0"/>
              <a:t>)</a:t>
            </a:r>
          </a:p>
          <a:p>
            <a:pPr marL="342900" lvl="2" indent="-342900">
              <a:spcBef>
                <a:spcPts val="1200"/>
              </a:spcBef>
              <a:buClr>
                <a:srgbClr val="E6320F"/>
              </a:buClr>
            </a:pPr>
            <a:r>
              <a:rPr lang="sl-SI" altLang="de-DE" dirty="0"/>
              <a:t>s</a:t>
            </a:r>
            <a:r>
              <a:rPr lang="pl-PL" altLang="de-DE" sz="2400" b="0" dirty="0"/>
              <a:t>pecialni pogoji odvisni od dejavnosti</a:t>
            </a:r>
          </a:p>
        </p:txBody>
      </p:sp>
      <p:sp>
        <p:nvSpPr>
          <p:cNvPr id="9" name="bg object 33">
            <a:extLst>
              <a:ext uri="{FF2B5EF4-FFF2-40B4-BE49-F238E27FC236}">
                <a16:creationId xmlns:a16="http://schemas.microsoft.com/office/drawing/2014/main" id="{009D9BB2-1468-4A76-A595-AF64487FC02B}"/>
              </a:ext>
            </a:extLst>
          </p:cNvPr>
          <p:cNvSpPr>
            <a:spLocks noChangeAspect="1"/>
          </p:cNvSpPr>
          <p:nvPr/>
        </p:nvSpPr>
        <p:spPr>
          <a:xfrm rot="10800000">
            <a:off x="9782063" y="1594884"/>
            <a:ext cx="2402455" cy="3009600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rgbClr val="E6320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160816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9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9F8F57-C6F7-4FD2-8864-B888EDEDAB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</a:t>
            </a:r>
            <a:r>
              <a:rPr lang="sl-SI" dirty="0"/>
              <a:t>k</a:t>
            </a:r>
            <a:r>
              <a:rPr lang="de-DE" dirty="0"/>
              <a:t>o-social</a:t>
            </a:r>
            <a:r>
              <a:rPr lang="sl-SI" dirty="0"/>
              <a:t>na davčna </a:t>
            </a:r>
            <a:r>
              <a:rPr lang="de-DE" dirty="0" err="1"/>
              <a:t>reform</a:t>
            </a:r>
            <a:r>
              <a:rPr lang="sl-SI" dirty="0"/>
              <a:t>a</a:t>
            </a:r>
            <a:r>
              <a:rPr lang="de-DE" dirty="0"/>
              <a:t> 2022/2023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8FBE06A-33DF-4317-B402-D12E2AA497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26</a:t>
            </a:fld>
            <a:endParaRPr lang="en-GB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C5653A2-A8C1-4A54-9F6E-1CF4737333D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19537" y="985734"/>
            <a:ext cx="10705148" cy="5481843"/>
          </a:xfrm>
        </p:spPr>
        <p:txBody>
          <a:bodyPr/>
          <a:lstStyle/>
          <a:p>
            <a:pPr marL="342900" lvl="2" indent="-342900">
              <a:spcBef>
                <a:spcPts val="1200"/>
              </a:spcBef>
              <a:buClr>
                <a:srgbClr val="E6320F"/>
              </a:buClr>
              <a:tabLst>
                <a:tab pos="612775" algn="l"/>
                <a:tab pos="993775" algn="l"/>
                <a:tab pos="1374775" algn="l"/>
              </a:tabLst>
            </a:pPr>
            <a:r>
              <a:rPr lang="sl-SI" altLang="de-DE" dirty="0"/>
              <a:t>Zmanjšanje davka od dohodka pravnih oseb od </a:t>
            </a:r>
            <a:r>
              <a:rPr lang="de-DE" altLang="de-DE" dirty="0"/>
              <a:t>25% </a:t>
            </a:r>
            <a:r>
              <a:rPr lang="sl-SI" altLang="de-DE" dirty="0"/>
              <a:t> na</a:t>
            </a:r>
            <a:r>
              <a:rPr lang="de-DE" altLang="de-DE" dirty="0"/>
              <a:t> 24% </a:t>
            </a:r>
            <a:r>
              <a:rPr lang="sl-SI" altLang="de-DE" dirty="0"/>
              <a:t>v letu </a:t>
            </a:r>
            <a:r>
              <a:rPr lang="de-DE" altLang="de-DE" dirty="0"/>
              <a:t>2023 </a:t>
            </a:r>
            <a:r>
              <a:rPr lang="sl-SI" altLang="de-DE" dirty="0"/>
              <a:t>in </a:t>
            </a:r>
            <a:r>
              <a:rPr lang="de-DE" altLang="de-DE" dirty="0"/>
              <a:t>23% </a:t>
            </a:r>
            <a:r>
              <a:rPr lang="sl-SI" altLang="de-DE" dirty="0"/>
              <a:t>v letu 2</a:t>
            </a:r>
            <a:r>
              <a:rPr lang="de-DE" altLang="de-DE" dirty="0"/>
              <a:t>024</a:t>
            </a:r>
          </a:p>
          <a:p>
            <a:pPr marL="342900" lvl="2" indent="-342900">
              <a:spcBef>
                <a:spcPts val="1200"/>
              </a:spcBef>
              <a:buClr>
                <a:srgbClr val="E6320F"/>
              </a:buClr>
              <a:tabLst>
                <a:tab pos="612775" algn="l"/>
                <a:tab pos="993775" algn="l"/>
                <a:tab pos="1374775" algn="l"/>
              </a:tabLst>
            </a:pPr>
            <a:r>
              <a:rPr lang="sl-SI" altLang="de-DE" dirty="0"/>
              <a:t>Meja za takojšen odpis malovredneg blaga  se je zvišala na  </a:t>
            </a:r>
            <a:r>
              <a:rPr lang="de-DE" altLang="de-DE" dirty="0"/>
              <a:t>1.000 €</a:t>
            </a:r>
          </a:p>
          <a:p>
            <a:pPr marL="342900" lvl="2" indent="-342900">
              <a:spcBef>
                <a:spcPts val="1200"/>
              </a:spcBef>
              <a:buClr>
                <a:srgbClr val="E6320F"/>
              </a:buClr>
              <a:tabLst>
                <a:tab pos="612775" algn="l"/>
                <a:tab pos="993775" algn="l"/>
                <a:tab pos="1374775" algn="l"/>
              </a:tabLst>
            </a:pPr>
            <a:r>
              <a:rPr lang="sl-SI" altLang="de-DE" dirty="0"/>
              <a:t>Povečanje na</a:t>
            </a:r>
            <a:r>
              <a:rPr lang="de-DE" altLang="de-DE" dirty="0"/>
              <a:t> 15% </a:t>
            </a:r>
            <a:r>
              <a:rPr lang="sl-SI" altLang="de-DE" dirty="0"/>
              <a:t>neobdavčnega zneska od dobička pri s.p.</a:t>
            </a:r>
            <a:endParaRPr lang="de-DE" altLang="de-DE" dirty="0"/>
          </a:p>
          <a:p>
            <a:pPr marL="342900" lvl="2" indent="-342900">
              <a:spcBef>
                <a:spcPts val="1200"/>
              </a:spcBef>
              <a:buClr>
                <a:srgbClr val="E6320F"/>
              </a:buClr>
              <a:tabLst>
                <a:tab pos="612775" algn="l"/>
                <a:tab pos="993775" algn="l"/>
                <a:tab pos="1374775" algn="l"/>
              </a:tabLst>
            </a:pPr>
            <a:r>
              <a:rPr lang="sl-SI" altLang="de-DE" dirty="0"/>
              <a:t>Dodatno k amortizaciji se poveča investicijsko pogojena olajšava za ekološke </a:t>
            </a:r>
            <a:r>
              <a:rPr lang="de-DE" altLang="de-DE" dirty="0" err="1"/>
              <a:t>invest</a:t>
            </a:r>
            <a:r>
              <a:rPr lang="sl-SI" altLang="de-DE" dirty="0"/>
              <a:t>icije na </a:t>
            </a:r>
            <a:r>
              <a:rPr lang="de-DE" altLang="de-DE" dirty="0"/>
              <a:t> 15% </a:t>
            </a:r>
            <a:r>
              <a:rPr lang="sl-SI" altLang="de-DE" dirty="0"/>
              <a:t>in</a:t>
            </a:r>
            <a:r>
              <a:rPr lang="de-DE" altLang="de-DE" dirty="0"/>
              <a:t> </a:t>
            </a:r>
            <a:r>
              <a:rPr lang="sl-SI" altLang="de-DE" dirty="0"/>
              <a:t> na </a:t>
            </a:r>
            <a:r>
              <a:rPr lang="de-DE" altLang="de-DE" dirty="0"/>
              <a:t>10% </a:t>
            </a:r>
            <a:r>
              <a:rPr lang="sl-SI" altLang="de-DE" dirty="0"/>
              <a:t>za druge investicije</a:t>
            </a:r>
            <a:r>
              <a:rPr lang="de-DE" altLang="de-DE" dirty="0"/>
              <a:t> (</a:t>
            </a:r>
            <a:r>
              <a:rPr lang="de-DE" altLang="de-DE" dirty="0" err="1"/>
              <a:t>ma</a:t>
            </a:r>
            <a:r>
              <a:rPr lang="sl-SI" altLang="de-DE" dirty="0"/>
              <a:t>ks. do </a:t>
            </a:r>
            <a:r>
              <a:rPr lang="de-DE" altLang="de-DE" dirty="0"/>
              <a:t> 1 </a:t>
            </a:r>
            <a:r>
              <a:rPr lang="sl-SI" altLang="de-DE" dirty="0"/>
              <a:t>m</a:t>
            </a:r>
            <a:r>
              <a:rPr lang="de-DE" altLang="de-DE" dirty="0" err="1"/>
              <a:t>io</a:t>
            </a:r>
            <a:r>
              <a:rPr lang="de-DE" altLang="de-DE" dirty="0"/>
              <a:t>. €/</a:t>
            </a:r>
            <a:r>
              <a:rPr lang="sl-SI" altLang="de-DE" dirty="0"/>
              <a:t>leto</a:t>
            </a:r>
            <a:r>
              <a:rPr lang="de-DE" altLang="de-DE" dirty="0"/>
              <a:t>)</a:t>
            </a:r>
          </a:p>
          <a:p>
            <a:pPr marL="342900" lvl="2" indent="-342900">
              <a:spcBef>
                <a:spcPts val="1200"/>
              </a:spcBef>
              <a:buClr>
                <a:srgbClr val="E6320F"/>
              </a:buClr>
              <a:tabLst>
                <a:tab pos="612775" algn="l"/>
                <a:tab pos="993775" algn="l"/>
                <a:tab pos="1374775" algn="l"/>
              </a:tabLst>
            </a:pPr>
            <a:r>
              <a:rPr lang="sl-SI" altLang="de-DE" dirty="0"/>
              <a:t>Zmanjšanje davka na dohodek fizičnih oseb v drugem in tretjem razredu</a:t>
            </a:r>
            <a:endParaRPr lang="de-DE" altLang="de-DE" dirty="0"/>
          </a:p>
          <a:p>
            <a:pPr marL="342900" lvl="2" indent="-342900">
              <a:spcBef>
                <a:spcPts val="1200"/>
              </a:spcBef>
              <a:buClr>
                <a:srgbClr val="E6320F"/>
              </a:buClr>
              <a:tabLst>
                <a:tab pos="612775" algn="l"/>
                <a:tab pos="993775" algn="l"/>
                <a:tab pos="1374775" algn="l"/>
              </a:tabLst>
            </a:pPr>
            <a:r>
              <a:rPr lang="sl-SI" dirty="0"/>
              <a:t>Zmanjšanje do </a:t>
            </a:r>
            <a:r>
              <a:rPr lang="en-US" dirty="0"/>
              <a:t>1.7% </a:t>
            </a:r>
            <a:r>
              <a:rPr lang="sl-SI" dirty="0"/>
              <a:t>v </a:t>
            </a:r>
            <a:r>
              <a:rPr lang="de-AT" dirty="0" err="1"/>
              <a:t>obveznem</a:t>
            </a:r>
            <a:r>
              <a:rPr lang="sl-SI" dirty="0"/>
              <a:t> zdravnišk</a:t>
            </a:r>
            <a:r>
              <a:rPr lang="de-AT" dirty="0" err="1"/>
              <a:t>em</a:t>
            </a:r>
            <a:r>
              <a:rPr lang="de-AT" dirty="0"/>
              <a:t> </a:t>
            </a:r>
            <a:r>
              <a:rPr lang="sl-SI" dirty="0"/>
              <a:t>zavarovanj</a:t>
            </a:r>
            <a:r>
              <a:rPr lang="de-AT" dirty="0"/>
              <a:t>u</a:t>
            </a:r>
            <a:r>
              <a:rPr lang="sl-SI" dirty="0"/>
              <a:t> za zasposlene z nizkim oz. srednje visokim dohodkom</a:t>
            </a:r>
            <a:r>
              <a:rPr lang="en-US" dirty="0"/>
              <a:t> </a:t>
            </a:r>
          </a:p>
          <a:p>
            <a:pPr marL="342900" lvl="2" indent="-342900">
              <a:spcBef>
                <a:spcPts val="1200"/>
              </a:spcBef>
              <a:buClr>
                <a:srgbClr val="E6320F"/>
              </a:buClr>
              <a:tabLst>
                <a:tab pos="612775" algn="l"/>
                <a:tab pos="993775" algn="l"/>
                <a:tab pos="1374775" algn="l"/>
              </a:tabLst>
            </a:pPr>
            <a:r>
              <a:rPr lang="sl-SI" dirty="0"/>
              <a:t>Povečanje družinskega </a:t>
            </a:r>
            <a:r>
              <a:rPr lang="en-US" dirty="0"/>
              <a:t> </a:t>
            </a:r>
            <a:r>
              <a:rPr lang="sl-SI" dirty="0"/>
              <a:t>b</a:t>
            </a:r>
            <a:r>
              <a:rPr lang="en-US" dirty="0"/>
              <a:t>onus</a:t>
            </a:r>
            <a:r>
              <a:rPr lang="sl-SI" dirty="0"/>
              <a:t>a</a:t>
            </a:r>
            <a:r>
              <a:rPr lang="en-US" dirty="0"/>
              <a:t> </a:t>
            </a:r>
            <a:r>
              <a:rPr lang="sl-SI" dirty="0"/>
              <a:t>p</a:t>
            </a:r>
            <a:r>
              <a:rPr lang="en-US" dirty="0" err="1"/>
              <a:t>lus</a:t>
            </a:r>
            <a:r>
              <a:rPr lang="en-US" dirty="0"/>
              <a:t> </a:t>
            </a:r>
            <a:r>
              <a:rPr lang="sl-SI" dirty="0"/>
              <a:t>do </a:t>
            </a:r>
            <a:r>
              <a:rPr lang="en-US" dirty="0"/>
              <a:t> € 2.000 </a:t>
            </a:r>
            <a:r>
              <a:rPr lang="en-US" dirty="0" err="1"/>
              <a:t>na</a:t>
            </a:r>
            <a:r>
              <a:rPr lang="en-US" dirty="0"/>
              <a:t> </a:t>
            </a:r>
            <a:r>
              <a:rPr lang="en-US" dirty="0" err="1"/>
              <a:t>leto</a:t>
            </a:r>
            <a:r>
              <a:rPr lang="en-US" dirty="0"/>
              <a:t> (</a:t>
            </a:r>
            <a:r>
              <a:rPr lang="de-AT" dirty="0"/>
              <a:t>do 18.leta) </a:t>
            </a:r>
            <a:r>
              <a:rPr lang="de-AT" dirty="0" err="1"/>
              <a:t>potem</a:t>
            </a:r>
            <a:r>
              <a:rPr lang="de-AT" dirty="0"/>
              <a:t> </a:t>
            </a:r>
            <a:r>
              <a:rPr lang="de-AT" dirty="0" err="1"/>
              <a:t>manj</a:t>
            </a:r>
            <a:r>
              <a:rPr lang="de-AT" dirty="0"/>
              <a:t>.</a:t>
            </a:r>
            <a:r>
              <a:rPr lang="sl-SI" dirty="0"/>
              <a:t> </a:t>
            </a:r>
            <a:r>
              <a:rPr lang="en-US" dirty="0"/>
              <a:t> </a:t>
            </a:r>
          </a:p>
          <a:p>
            <a:pPr marL="342900" lvl="2" indent="-342900">
              <a:spcBef>
                <a:spcPts val="1200"/>
              </a:spcBef>
              <a:buClr>
                <a:srgbClr val="E6320F"/>
              </a:buClr>
              <a:tabLst>
                <a:tab pos="612775" algn="l"/>
                <a:tab pos="993775" algn="l"/>
                <a:tab pos="1374775" algn="l"/>
              </a:tabLst>
            </a:pPr>
            <a:r>
              <a:rPr lang="sl-SI" dirty="0"/>
              <a:t>Ni obdavčitve  (t</a:t>
            </a:r>
            <a:r>
              <a:rPr lang="en-US" dirty="0"/>
              <a:t>ax-free bonus </a:t>
            </a:r>
            <a:r>
              <a:rPr lang="sl-SI" dirty="0"/>
              <a:t>na zaposlenega</a:t>
            </a:r>
            <a:r>
              <a:rPr lang="en-US" dirty="0"/>
              <a:t>) </a:t>
            </a:r>
            <a:r>
              <a:rPr lang="sl-SI" dirty="0"/>
              <a:t>do maks. </a:t>
            </a:r>
            <a:r>
              <a:rPr lang="en-US" dirty="0"/>
              <a:t>€ 3.000 </a:t>
            </a:r>
            <a:r>
              <a:rPr lang="sl-SI" dirty="0"/>
              <a:t>letno</a:t>
            </a:r>
            <a:endParaRPr lang="de-DE" altLang="de-DE" dirty="0"/>
          </a:p>
          <a:p>
            <a:pPr marL="702900" lvl="3" indent="-285750">
              <a:spcBef>
                <a:spcPts val="0"/>
              </a:spcBef>
              <a:buClr>
                <a:srgbClr val="D2120B"/>
              </a:buClr>
              <a:tabLst>
                <a:tab pos="612775" algn="l"/>
                <a:tab pos="993775" algn="l"/>
                <a:tab pos="1374775" algn="l"/>
              </a:tabLst>
            </a:pPr>
            <a:endParaRPr lang="de-DE" altLang="de-DE" sz="1800" dirty="0"/>
          </a:p>
        </p:txBody>
      </p:sp>
    </p:spTree>
    <p:extLst>
      <p:ext uri="{BB962C8B-B14F-4D97-AF65-F5344CB8AC3E}">
        <p14:creationId xmlns:p14="http://schemas.microsoft.com/office/powerpoint/2010/main" val="3633442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9F8F57-C6F7-4FD2-8864-B888EDED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9537" y="209407"/>
            <a:ext cx="9413183" cy="430887"/>
          </a:xfrm>
        </p:spPr>
        <p:txBody>
          <a:bodyPr/>
          <a:lstStyle/>
          <a:p>
            <a:r>
              <a:rPr lang="sl-SI" dirty="0"/>
              <a:t>Obdavčitev fizičnih oseb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8FBE06A-33DF-4317-B402-D12E2AA497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27</a:t>
            </a:fld>
            <a:endParaRPr lang="en-GB" dirty="0"/>
          </a:p>
        </p:txBody>
      </p:sp>
      <p:graphicFrame>
        <p:nvGraphicFramePr>
          <p:cNvPr id="10" name="Tabelle 10">
            <a:extLst>
              <a:ext uri="{FF2B5EF4-FFF2-40B4-BE49-F238E27FC236}">
                <a16:creationId xmlns:a16="http://schemas.microsoft.com/office/drawing/2014/main" id="{E61C39B2-3B8F-83A9-4C5B-946945C9509D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1870728840"/>
              </p:ext>
            </p:extLst>
          </p:nvPr>
        </p:nvGraphicFramePr>
        <p:xfrm>
          <a:off x="1791335" y="1338263"/>
          <a:ext cx="8631238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15619">
                  <a:extLst>
                    <a:ext uri="{9D8B030D-6E8A-4147-A177-3AD203B41FA5}">
                      <a16:colId xmlns:a16="http://schemas.microsoft.com/office/drawing/2014/main" val="3813334159"/>
                    </a:ext>
                  </a:extLst>
                </a:gridCol>
                <a:gridCol w="4315619">
                  <a:extLst>
                    <a:ext uri="{9D8B030D-6E8A-4147-A177-3AD203B41FA5}">
                      <a16:colId xmlns:a16="http://schemas.microsoft.com/office/drawing/2014/main" val="387387890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sl-SI" dirty="0"/>
                        <a:t>Dohodek </a:t>
                      </a:r>
                      <a:r>
                        <a:rPr lang="de-DE" dirty="0"/>
                        <a:t> E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81003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- 12.8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41635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AT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2.816 - 20.818</a:t>
                      </a:r>
                      <a:endParaRPr lang="de-DE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0</a:t>
                      </a:r>
                      <a:r>
                        <a:rPr lang="sl-SI" dirty="0"/>
                        <a:t>%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85713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AT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.818 - 34.513</a:t>
                      </a:r>
                      <a:endParaRPr lang="de-DE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0</a:t>
                      </a:r>
                      <a:r>
                        <a:rPr lang="sl-SI" dirty="0"/>
                        <a:t>%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58635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AT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.513 - 66.612</a:t>
                      </a:r>
                      <a:endParaRPr lang="de-DE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0</a:t>
                      </a:r>
                      <a:r>
                        <a:rPr lang="sl-SI" dirty="0"/>
                        <a:t>%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87918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AT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6.612 - 99.266</a:t>
                      </a:r>
                      <a:endParaRPr lang="de-DE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4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56346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AT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9.266 - 1.000.000</a:t>
                      </a:r>
                      <a:endParaRPr lang="de-DE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1848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sl-SI" dirty="0"/>
                        <a:t>nad </a:t>
                      </a:r>
                      <a:r>
                        <a:rPr lang="de-DE" dirty="0"/>
                        <a:t> 1.000.000 </a:t>
                      </a:r>
                      <a:r>
                        <a:rPr lang="de-DE" sz="1800" b="1" baseline="30000" dirty="0"/>
                        <a:t>1)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5%</a:t>
                      </a:r>
                      <a:endParaRPr lang="de-DE" sz="1000" b="1" baseline="30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7314997"/>
                  </a:ext>
                </a:extLst>
              </a:tr>
            </a:tbl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41F075D8-83DD-2D70-1CF4-01BA0795FB89}"/>
              </a:ext>
            </a:extLst>
          </p:cNvPr>
          <p:cNvSpPr txBox="1"/>
          <p:nvPr/>
        </p:nvSpPr>
        <p:spPr>
          <a:xfrm>
            <a:off x="1828800" y="4994910"/>
            <a:ext cx="5703570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457200" indent="-457200" algn="l">
              <a:buAutoNum type="arabicPeriod" startAt="13"/>
            </a:pPr>
            <a:r>
              <a:rPr lang="sl-SI" sz="2400" dirty="0">
                <a:latin typeface="Corbel" panose="020B0503020204020204" pitchFamily="34" charset="0"/>
              </a:rPr>
              <a:t>in</a:t>
            </a:r>
            <a:r>
              <a:rPr lang="de-DE" sz="2400" dirty="0">
                <a:latin typeface="Corbel" panose="020B0503020204020204" pitchFamily="34" charset="0"/>
              </a:rPr>
              <a:t> 14</a:t>
            </a:r>
            <a:r>
              <a:rPr lang="sl-SI" sz="2400" dirty="0">
                <a:latin typeface="Corbel" panose="020B0503020204020204" pitchFamily="34" charset="0"/>
              </a:rPr>
              <a:t>. plača sta obdavčena samo z  6</a:t>
            </a:r>
            <a:r>
              <a:rPr lang="de-DE" sz="2400" dirty="0">
                <a:latin typeface="Corbel" panose="020B0503020204020204" pitchFamily="34" charset="0"/>
              </a:rPr>
              <a:t>%</a:t>
            </a:r>
          </a:p>
          <a:p>
            <a:pPr marL="457200" indent="-457200" algn="l">
              <a:buAutoNum type="arabicPeriod" startAt="13"/>
            </a:pPr>
            <a:endParaRPr lang="de-DE" sz="2400" dirty="0">
              <a:latin typeface="Corbel" panose="020B0503020204020204" pitchFamily="34" charset="0"/>
            </a:endParaRPr>
          </a:p>
          <a:p>
            <a:pPr marL="457200" indent="-457200" algn="l">
              <a:buAutoNum type="arabicPeriod" startAt="13"/>
            </a:pPr>
            <a:endParaRPr lang="de-DE" sz="2400" dirty="0">
              <a:latin typeface="Corbel" panose="020B0503020204020204" pitchFamily="34" charset="0"/>
            </a:endParaRPr>
          </a:p>
          <a:p>
            <a:pPr algn="l"/>
            <a:r>
              <a:rPr lang="de-DE" sz="1600" dirty="0">
                <a:latin typeface="Corbel" panose="020B0503020204020204" pitchFamily="34" charset="0"/>
              </a:rPr>
              <a:t>1)  </a:t>
            </a:r>
            <a:r>
              <a:rPr lang="de-DE" sz="1600" dirty="0" err="1">
                <a:latin typeface="Corbel" panose="020B0503020204020204" pitchFamily="34" charset="0"/>
              </a:rPr>
              <a:t>Velja</a:t>
            </a:r>
            <a:r>
              <a:rPr lang="de-DE" sz="1600" dirty="0">
                <a:latin typeface="Corbel" panose="020B0503020204020204" pitchFamily="34" charset="0"/>
              </a:rPr>
              <a:t> do 2025, </a:t>
            </a:r>
            <a:r>
              <a:rPr lang="de-DE" sz="1600" dirty="0" err="1">
                <a:latin typeface="Corbel" panose="020B0503020204020204" pitchFamily="34" charset="0"/>
              </a:rPr>
              <a:t>potem</a:t>
            </a:r>
            <a:r>
              <a:rPr lang="de-DE" sz="1600" dirty="0">
                <a:latin typeface="Corbel" panose="020B0503020204020204" pitchFamily="34" charset="0"/>
              </a:rPr>
              <a:t> </a:t>
            </a:r>
            <a:r>
              <a:rPr lang="de-DE" sz="1600" dirty="0" err="1">
                <a:latin typeface="Corbel" panose="020B0503020204020204" pitchFamily="34" charset="0"/>
              </a:rPr>
              <a:t>zopet</a:t>
            </a:r>
            <a:r>
              <a:rPr lang="de-DE" sz="1600" dirty="0">
                <a:latin typeface="Corbel" panose="020B0503020204020204" pitchFamily="34" charset="0"/>
              </a:rPr>
              <a:t> 50%</a:t>
            </a:r>
          </a:p>
        </p:txBody>
      </p:sp>
    </p:spTree>
    <p:extLst>
      <p:ext uri="{BB962C8B-B14F-4D97-AF65-F5344CB8AC3E}">
        <p14:creationId xmlns:p14="http://schemas.microsoft.com/office/powerpoint/2010/main" val="2068220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9F8F57-C6F7-4FD2-8864-B888EDED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9537" y="209407"/>
            <a:ext cx="9413183" cy="430887"/>
          </a:xfrm>
        </p:spPr>
        <p:txBody>
          <a:bodyPr/>
          <a:lstStyle/>
          <a:p>
            <a:r>
              <a:rPr lang="sl-SI" dirty="0"/>
              <a:t>Obdavčitev fizičnih oseb &amp; </a:t>
            </a:r>
            <a:r>
              <a:rPr lang="de-AT" dirty="0" err="1"/>
              <a:t>skupni</a:t>
            </a:r>
            <a:r>
              <a:rPr lang="de-AT" dirty="0"/>
              <a:t> </a:t>
            </a:r>
            <a:r>
              <a:rPr lang="sl-SI" dirty="0"/>
              <a:t>stroški dela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8FBE06A-33DF-4317-B402-D12E2AA497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28</a:t>
            </a:fld>
            <a:endParaRPr lang="en-GB" dirty="0"/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FC161B69-C9DA-1BE2-BA94-529A1041EA0B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2160420444"/>
              </p:ext>
            </p:extLst>
          </p:nvPr>
        </p:nvGraphicFramePr>
        <p:xfrm>
          <a:off x="1585595" y="2024063"/>
          <a:ext cx="8631235" cy="2026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6247">
                  <a:extLst>
                    <a:ext uri="{9D8B030D-6E8A-4147-A177-3AD203B41FA5}">
                      <a16:colId xmlns:a16="http://schemas.microsoft.com/office/drawing/2014/main" val="645778194"/>
                    </a:ext>
                  </a:extLst>
                </a:gridCol>
                <a:gridCol w="1726247">
                  <a:extLst>
                    <a:ext uri="{9D8B030D-6E8A-4147-A177-3AD203B41FA5}">
                      <a16:colId xmlns:a16="http://schemas.microsoft.com/office/drawing/2014/main" val="2838715365"/>
                    </a:ext>
                  </a:extLst>
                </a:gridCol>
                <a:gridCol w="1726247">
                  <a:extLst>
                    <a:ext uri="{9D8B030D-6E8A-4147-A177-3AD203B41FA5}">
                      <a16:colId xmlns:a16="http://schemas.microsoft.com/office/drawing/2014/main" val="630115957"/>
                    </a:ext>
                  </a:extLst>
                </a:gridCol>
                <a:gridCol w="1726247">
                  <a:extLst>
                    <a:ext uri="{9D8B030D-6E8A-4147-A177-3AD203B41FA5}">
                      <a16:colId xmlns:a16="http://schemas.microsoft.com/office/drawing/2014/main" val="4034217724"/>
                    </a:ext>
                  </a:extLst>
                </a:gridCol>
                <a:gridCol w="1726247">
                  <a:extLst>
                    <a:ext uri="{9D8B030D-6E8A-4147-A177-3AD203B41FA5}">
                      <a16:colId xmlns:a16="http://schemas.microsoft.com/office/drawing/2014/main" val="53479531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sl-SI" dirty="0"/>
                        <a:t>Mesečna bruto plača</a:t>
                      </a:r>
                      <a:r>
                        <a:rPr lang="de-DE" dirty="0"/>
                        <a:t> </a:t>
                      </a:r>
                      <a:br>
                        <a:rPr lang="de-DE" dirty="0"/>
                      </a:br>
                      <a:r>
                        <a:rPr lang="de-DE" dirty="0"/>
                        <a:t>€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M</a:t>
                      </a:r>
                      <a:r>
                        <a:rPr lang="sl-SI" dirty="0"/>
                        <a:t>esečna neto plača</a:t>
                      </a:r>
                      <a:br>
                        <a:rPr lang="de-DE" dirty="0"/>
                      </a:br>
                      <a:r>
                        <a:rPr lang="de-DE" dirty="0"/>
                        <a:t>€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l-SI" dirty="0"/>
                        <a:t>Letna bruto plača</a:t>
                      </a:r>
                      <a:br>
                        <a:rPr lang="de-DE" dirty="0"/>
                      </a:br>
                      <a:r>
                        <a:rPr lang="de-DE" dirty="0"/>
                        <a:t>€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l-SI" dirty="0"/>
                        <a:t>Letna neto plača</a:t>
                      </a:r>
                      <a:br>
                        <a:rPr lang="de-DE" dirty="0"/>
                      </a:br>
                      <a:r>
                        <a:rPr lang="de-DE" dirty="0"/>
                        <a:t>€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dirty="0" err="1"/>
                        <a:t>Skupni</a:t>
                      </a:r>
                      <a:r>
                        <a:rPr lang="de-AT" dirty="0"/>
                        <a:t> s</a:t>
                      </a:r>
                      <a:r>
                        <a:rPr lang="sl-SI" dirty="0"/>
                        <a:t>troški dela</a:t>
                      </a:r>
                      <a:br>
                        <a:rPr lang="de-DE" dirty="0"/>
                      </a:br>
                      <a:r>
                        <a:rPr lang="de-DE" dirty="0"/>
                        <a:t>€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22832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.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.5</a:t>
                      </a:r>
                      <a:r>
                        <a:rPr lang="sl-SI" dirty="0"/>
                        <a:t>67,04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8.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</a:t>
                      </a:r>
                      <a:r>
                        <a:rPr lang="sl-SI" dirty="0"/>
                        <a:t>2.033,17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6.2</a:t>
                      </a:r>
                      <a:r>
                        <a:rPr lang="sl-SI" dirty="0"/>
                        <a:t>79,20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61533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sl-SI" dirty="0"/>
                        <a:t>4.50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l-SI" dirty="0"/>
                        <a:t>2.861,86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l-SI" dirty="0"/>
                        <a:t>63.000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l-SI" dirty="0"/>
                        <a:t>41.391,17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l-SI" dirty="0"/>
                        <a:t>81.628,20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47332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8813552"/>
                  </a:ext>
                </a:extLst>
              </a:tr>
            </a:tbl>
          </a:graphicData>
        </a:graphic>
      </p:graphicFrame>
      <p:sp>
        <p:nvSpPr>
          <p:cNvPr id="7" name="Fußzeilenplatzhalter 2">
            <a:extLst>
              <a:ext uri="{FF2B5EF4-FFF2-40B4-BE49-F238E27FC236}">
                <a16:creationId xmlns:a16="http://schemas.microsoft.com/office/drawing/2014/main" id="{C6AC7087-FE90-A053-4225-3378251304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11225" y="6281020"/>
            <a:ext cx="8631786" cy="25333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l-SI" dirty="0"/>
              <a:t>Vir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E6320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: Austrian Ministry of Finance, https://onlinerechner.haude.at/BMF-Brutto-Netto-Rechner/</a:t>
            </a:r>
          </a:p>
        </p:txBody>
      </p:sp>
    </p:spTree>
    <p:extLst>
      <p:ext uri="{BB962C8B-B14F-4D97-AF65-F5344CB8AC3E}">
        <p14:creationId xmlns:p14="http://schemas.microsoft.com/office/powerpoint/2010/main" val="156964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9F8F57-C6F7-4FD2-8864-B888EDED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225" y="209407"/>
            <a:ext cx="9421495" cy="430887"/>
          </a:xfrm>
        </p:spPr>
        <p:txBody>
          <a:bodyPr/>
          <a:lstStyle/>
          <a:p>
            <a:br>
              <a:rPr lang="sl-SI" dirty="0"/>
            </a:br>
            <a:r>
              <a:rPr lang="sl-SI" dirty="0"/>
              <a:t>Kako se torej pripraviti na izvoz v Avstrijo</a:t>
            </a:r>
            <a:br>
              <a:rPr lang="sl-SI" dirty="0"/>
            </a:b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8FBE06A-33DF-4317-B402-D12E2AA497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29</a:t>
            </a:fld>
            <a:endParaRPr lang="en-GB" dirty="0"/>
          </a:p>
        </p:txBody>
      </p:sp>
      <p:sp>
        <p:nvSpPr>
          <p:cNvPr id="7" name="Fußzeilenplatzhalter 2">
            <a:extLst>
              <a:ext uri="{FF2B5EF4-FFF2-40B4-BE49-F238E27FC236}">
                <a16:creationId xmlns:a16="http://schemas.microsoft.com/office/drawing/2014/main" id="{C6AC7087-FE90-A053-4225-3378251304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11225" y="6281020"/>
            <a:ext cx="8631786" cy="25333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E6320F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F9EAFA96-82D8-6DCA-5F9C-5E136D5C5911}"/>
              </a:ext>
            </a:extLst>
          </p:cNvPr>
          <p:cNvSpPr txBox="1">
            <a:spLocks noGrp="1"/>
          </p:cNvSpPr>
          <p:nvPr>
            <p:ph sz="quarter" idx="14"/>
          </p:nvPr>
        </p:nvSpPr>
        <p:spPr>
          <a:xfrm>
            <a:off x="524634" y="1206603"/>
            <a:ext cx="8691241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sl-SI" b="1" dirty="0">
              <a:solidFill>
                <a:srgbClr val="365F91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r>
              <a:rPr lang="sl-SI" b="1" dirty="0">
                <a:solidFill>
                  <a:srgbClr val="365F9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             znotraj podjetja</a:t>
            </a:r>
            <a:endParaRPr lang="de-AT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30BCEFF9-7489-FC4D-BDB4-9EFC8057F31F}"/>
              </a:ext>
            </a:extLst>
          </p:cNvPr>
          <p:cNvSpPr txBox="1"/>
          <p:nvPr/>
        </p:nvSpPr>
        <p:spPr>
          <a:xfrm>
            <a:off x="4870255" y="1637490"/>
            <a:ext cx="659106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l-SI" sz="2400" b="1" dirty="0">
                <a:solidFill>
                  <a:srgbClr val="365F9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poznavanje trga           strategija</a:t>
            </a:r>
            <a:endParaRPr lang="de-AT" sz="2400" dirty="0"/>
          </a:p>
        </p:txBody>
      </p:sp>
      <p:sp>
        <p:nvSpPr>
          <p:cNvPr id="11" name="AutoForm 2">
            <a:extLst>
              <a:ext uri="{FF2B5EF4-FFF2-40B4-BE49-F238E27FC236}">
                <a16:creationId xmlns:a16="http://schemas.microsoft.com/office/drawing/2014/main" id="{C6ADEE89-D4E9-AE0F-577A-5B0D9C8C1CB4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810286" y="2094292"/>
            <a:ext cx="1803745" cy="2375051"/>
          </a:xfrm>
          <a:prstGeom prst="roundRect">
            <a:avLst>
              <a:gd name="adj" fmla="val 13032"/>
            </a:avLst>
          </a:prstGeom>
          <a:solidFill>
            <a:srgbClr val="4F81BD"/>
          </a:solidFill>
        </p:spPr>
        <p:txBody>
          <a:bodyPr rot="0" vert="horz" wrap="square" lIns="91440" tIns="45720" rIns="91440" bIns="45720" anchor="ctr" anchorCtr="0" upright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lang="de-AT" b="1" kern="0" dirty="0" err="1">
                <a:solidFill>
                  <a:srgbClr val="FFFFFF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trebna</a:t>
            </a:r>
            <a:r>
              <a:rPr lang="de-AT" b="1" kern="0" dirty="0">
                <a:solidFill>
                  <a:srgbClr val="FFFFFF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je </a:t>
            </a:r>
            <a:r>
              <a:rPr lang="de-AT" b="1" kern="0" dirty="0" err="1">
                <a:solidFill>
                  <a:srgbClr val="FFFFFF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drava</a:t>
            </a:r>
            <a:r>
              <a:rPr lang="de-AT" b="1" kern="0" dirty="0">
                <a:solidFill>
                  <a:srgbClr val="FFFFFF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AT" b="1" kern="0" dirty="0" err="1">
                <a:solidFill>
                  <a:srgbClr val="FFFFFF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snova</a:t>
            </a:r>
            <a:r>
              <a:rPr lang="de-AT" b="1" kern="0" dirty="0">
                <a:solidFill>
                  <a:srgbClr val="FFFFFF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AT" b="1" kern="0" dirty="0" err="1">
                <a:solidFill>
                  <a:srgbClr val="FFFFFF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ma</a:t>
            </a:r>
            <a:r>
              <a:rPr lang="de-AT" b="1" kern="0" dirty="0">
                <a:solidFill>
                  <a:srgbClr val="FFFFFF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!</a:t>
            </a:r>
            <a:endParaRPr kumimoji="0" lang="de-AT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AutoForm 2">
            <a:extLst>
              <a:ext uri="{FF2B5EF4-FFF2-40B4-BE49-F238E27FC236}">
                <a16:creationId xmlns:a16="http://schemas.microsoft.com/office/drawing/2014/main" id="{EE829362-F20F-5741-48CB-90216F631EBB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3397001" y="2189605"/>
            <a:ext cx="1803745" cy="2184423"/>
          </a:xfrm>
          <a:prstGeom prst="roundRect">
            <a:avLst>
              <a:gd name="adj" fmla="val 13032"/>
            </a:avLst>
          </a:prstGeom>
          <a:solidFill>
            <a:srgbClr val="4F81BD"/>
          </a:solidFill>
        </p:spPr>
        <p:txBody>
          <a:bodyPr rot="0" vert="horz" wrap="square" lIns="91440" tIns="45720" rIns="91440" bIns="45720" anchor="ctr" anchorCtr="0" upright="1">
            <a:no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sl-SI" b="1" kern="0" dirty="0">
                <a:solidFill>
                  <a:srgbClr val="FFFFFF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 zavedati razpoložljivosti potrebnih virov in kompetenc</a:t>
            </a:r>
            <a:r>
              <a:rPr lang="de-AT" b="1" kern="0" dirty="0">
                <a:solidFill>
                  <a:srgbClr val="FFFFFF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!</a:t>
            </a:r>
          </a:p>
        </p:txBody>
      </p:sp>
      <p:sp>
        <p:nvSpPr>
          <p:cNvPr id="13" name="AutoForm 2">
            <a:extLst>
              <a:ext uri="{FF2B5EF4-FFF2-40B4-BE49-F238E27FC236}">
                <a16:creationId xmlns:a16="http://schemas.microsoft.com/office/drawing/2014/main" id="{CABD1DF3-DC9F-C950-810C-810D11FA7D5F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6020087" y="2094293"/>
            <a:ext cx="1803745" cy="2375051"/>
          </a:xfrm>
          <a:prstGeom prst="roundRect">
            <a:avLst>
              <a:gd name="adj" fmla="val 13032"/>
            </a:avLst>
          </a:prstGeom>
          <a:solidFill>
            <a:srgbClr val="4F81BD"/>
          </a:solidFill>
        </p:spPr>
        <p:txBody>
          <a:bodyPr rot="0" vert="horz" wrap="square" lIns="91440" tIns="45720" rIns="91440" bIns="45720" anchor="ctr" anchorCtr="0" upright="1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lang="de-AT" b="1" kern="0" dirty="0" err="1">
                <a:solidFill>
                  <a:srgbClr val="FFFFFF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redi</a:t>
            </a:r>
            <a:r>
              <a:rPr lang="sl-SI" b="1" kern="0" dirty="0">
                <a:solidFill>
                  <a:srgbClr val="FFFFFF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AT" b="1" kern="0" dirty="0" err="1">
                <a:solidFill>
                  <a:srgbClr val="FFFFFF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ma</a:t>
            </a:r>
            <a:r>
              <a:rPr lang="sl-SI" b="1" kern="0" dirty="0">
                <a:solidFill>
                  <a:srgbClr val="FFFFFF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čo nalogo: analiziraj avstrijski trg</a:t>
            </a:r>
            <a:r>
              <a:rPr lang="de-AT" b="1" kern="0" dirty="0">
                <a:solidFill>
                  <a:srgbClr val="FFFFFF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!</a:t>
            </a:r>
          </a:p>
        </p:txBody>
      </p:sp>
      <p:sp>
        <p:nvSpPr>
          <p:cNvPr id="14" name="AutoForm 2">
            <a:extLst>
              <a:ext uri="{FF2B5EF4-FFF2-40B4-BE49-F238E27FC236}">
                <a16:creationId xmlns:a16="http://schemas.microsoft.com/office/drawing/2014/main" id="{E08DF5B4-8BFB-550A-D921-F7E635073128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8910514" y="2149970"/>
            <a:ext cx="1803744" cy="2263698"/>
          </a:xfrm>
          <a:prstGeom prst="roundRect">
            <a:avLst>
              <a:gd name="adj" fmla="val 13032"/>
            </a:avLst>
          </a:prstGeom>
          <a:solidFill>
            <a:srgbClr val="4F81BD"/>
          </a:solidFill>
        </p:spPr>
        <p:txBody>
          <a:bodyPr rot="0" vert="horz" wrap="square" lIns="91440" tIns="45720" rIns="91440" bIns="45720" anchor="ctr" anchorCtr="0" upright="1">
            <a:no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sl-SI" b="1" kern="0" dirty="0">
                <a:solidFill>
                  <a:srgbClr val="FFFFFF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i tem postopati načrtno in </a:t>
            </a:r>
            <a:r>
              <a:rPr lang="de-AT" b="1" kern="0" dirty="0" err="1">
                <a:solidFill>
                  <a:srgbClr val="FFFFFF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stemati</a:t>
            </a:r>
            <a:r>
              <a:rPr lang="sl-SI" b="1" kern="0" dirty="0">
                <a:solidFill>
                  <a:srgbClr val="FFFFFF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čno</a:t>
            </a:r>
            <a:r>
              <a:rPr lang="de-AT" b="1" kern="0" dirty="0">
                <a:solidFill>
                  <a:srgbClr val="FFFFFF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731055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 animBg="1"/>
      <p:bldP spid="12" grpId="0" animBg="1"/>
      <p:bldP spid="13" grpId="0" animBg="1"/>
      <p:bldP spid="14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F87C45-D1FC-C261-31EF-F044D94CD1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6B7B665-3558-2BCB-104F-68B1A60024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380F2D6-42A4-4210-B538-6CB1FFEDD0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AA38B3F-7C10-4912-0159-D0740CA889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226" y="323643"/>
            <a:ext cx="8631785" cy="430887"/>
          </a:xfrm>
        </p:spPr>
        <p:txBody>
          <a:bodyPr vert="horz"/>
          <a:lstStyle/>
          <a:p>
            <a:r>
              <a:rPr lang="de-AT" dirty="0" err="1">
                <a:solidFill>
                  <a:srgbClr val="E10000"/>
                </a:solidFill>
              </a:rPr>
              <a:t>Ste</a:t>
            </a:r>
            <a:r>
              <a:rPr lang="de-AT" dirty="0">
                <a:solidFill>
                  <a:srgbClr val="E10000"/>
                </a:solidFill>
              </a:rPr>
              <a:t> </a:t>
            </a:r>
            <a:r>
              <a:rPr lang="de-AT" dirty="0" err="1">
                <a:solidFill>
                  <a:srgbClr val="E10000"/>
                </a:solidFill>
              </a:rPr>
              <a:t>vedeli</a:t>
            </a:r>
            <a:r>
              <a:rPr lang="de-AT" dirty="0">
                <a:solidFill>
                  <a:srgbClr val="E10000"/>
                </a:solidFill>
              </a:rPr>
              <a:t>…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2718C01-B2E2-2EF9-DC27-A46E7A8AC0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34BEE3-566C-4068-A777-C3A4762E861B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E6320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E6320F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4D96122-F822-B45C-ABE2-ABA18B97B2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8948" y="6281019"/>
            <a:ext cx="8631786" cy="25333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E6320F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D407DDEA-9AFF-BC84-CD3D-C543E082B346}"/>
              </a:ext>
            </a:extLst>
          </p:cNvPr>
          <p:cNvSpPr/>
          <p:nvPr/>
        </p:nvSpPr>
        <p:spPr bwMode="ltGray">
          <a:xfrm>
            <a:off x="237455" y="1348747"/>
            <a:ext cx="4686489" cy="61697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de-DE" sz="2000" dirty="0">
                <a:solidFill>
                  <a:schemeClr val="tx1"/>
                </a:solidFill>
                <a:latin typeface="Corbel"/>
              </a:rPr>
              <a:t>Da </a:t>
            </a:r>
            <a:r>
              <a:rPr lang="de-DE" sz="2000" dirty="0" err="1">
                <a:solidFill>
                  <a:schemeClr val="tx1"/>
                </a:solidFill>
                <a:latin typeface="Corbel"/>
              </a:rPr>
              <a:t>pride</a:t>
            </a:r>
            <a:r>
              <a:rPr lang="de-DE" sz="2000" dirty="0">
                <a:solidFill>
                  <a:schemeClr val="tx1"/>
                </a:solidFill>
                <a:latin typeface="Corbel"/>
              </a:rPr>
              <a:t>  </a:t>
            </a:r>
            <a:r>
              <a:rPr lang="de-DE" sz="2000" dirty="0" err="1">
                <a:solidFill>
                  <a:schemeClr val="tx1"/>
                </a:solidFill>
                <a:latin typeface="Corbel"/>
              </a:rPr>
              <a:t>vodilna</a:t>
            </a:r>
            <a:r>
              <a:rPr lang="de-DE" sz="2000" dirty="0">
                <a:solidFill>
                  <a:schemeClr val="tx1"/>
                </a:solidFill>
                <a:latin typeface="Corbel"/>
              </a:rPr>
              <a:t> </a:t>
            </a:r>
            <a:r>
              <a:rPr lang="de-DE" sz="2000" dirty="0" err="1">
                <a:solidFill>
                  <a:schemeClr val="tx1"/>
                </a:solidFill>
                <a:latin typeface="Corbel"/>
              </a:rPr>
              <a:t>borza</a:t>
            </a:r>
            <a:endParaRPr lang="de-DE" sz="2000" dirty="0">
              <a:solidFill>
                <a:schemeClr val="tx1"/>
              </a:solidFill>
              <a:latin typeface="Corbel"/>
            </a:endParaRPr>
          </a:p>
          <a:p>
            <a:pPr algn="r"/>
            <a:r>
              <a:rPr lang="de-DE" sz="2000" dirty="0">
                <a:solidFill>
                  <a:schemeClr val="tx1"/>
                </a:solidFill>
                <a:latin typeface="Corbel"/>
              </a:rPr>
              <a:t> </a:t>
            </a:r>
            <a:r>
              <a:rPr lang="de-DE" sz="2000" dirty="0" err="1">
                <a:solidFill>
                  <a:schemeClr val="tx1"/>
                </a:solidFill>
                <a:latin typeface="Corbel"/>
              </a:rPr>
              <a:t>za</a:t>
            </a:r>
            <a:r>
              <a:rPr lang="de-DE" sz="2000" dirty="0">
                <a:solidFill>
                  <a:schemeClr val="tx1"/>
                </a:solidFill>
                <a:latin typeface="Corbel"/>
              </a:rPr>
              <a:t> </a:t>
            </a:r>
            <a:r>
              <a:rPr lang="de-DE" sz="2000" dirty="0" err="1">
                <a:solidFill>
                  <a:schemeClr val="tx1"/>
                </a:solidFill>
                <a:latin typeface="Corbel"/>
              </a:rPr>
              <a:t>trgovanje</a:t>
            </a:r>
            <a:r>
              <a:rPr lang="de-DE" sz="2000" dirty="0">
                <a:solidFill>
                  <a:schemeClr val="tx1"/>
                </a:solidFill>
                <a:latin typeface="Corbel"/>
              </a:rPr>
              <a:t> </a:t>
            </a:r>
            <a:r>
              <a:rPr lang="de-DE" sz="2000" dirty="0" err="1">
                <a:solidFill>
                  <a:schemeClr val="tx1"/>
                </a:solidFill>
                <a:latin typeface="Corbel"/>
              </a:rPr>
              <a:t>kriptovalut</a:t>
            </a:r>
            <a:r>
              <a:rPr lang="de-DE" sz="2000" dirty="0">
                <a:solidFill>
                  <a:schemeClr val="tx1"/>
                </a:solidFill>
                <a:latin typeface="Corbel"/>
              </a:rPr>
              <a:t>  </a:t>
            </a:r>
            <a:r>
              <a:rPr lang="de-DE" sz="2000" dirty="0" err="1">
                <a:solidFill>
                  <a:schemeClr val="tx1"/>
                </a:solidFill>
                <a:latin typeface="Corbel"/>
              </a:rPr>
              <a:t>iz</a:t>
            </a:r>
            <a:r>
              <a:rPr lang="de-DE" sz="2000" dirty="0">
                <a:solidFill>
                  <a:schemeClr val="tx1"/>
                </a:solidFill>
                <a:latin typeface="Corbel"/>
              </a:rPr>
              <a:t> </a:t>
            </a:r>
            <a:r>
              <a:rPr lang="de-DE" sz="2000" dirty="0" err="1">
                <a:solidFill>
                  <a:schemeClr val="tx1"/>
                </a:solidFill>
                <a:latin typeface="Corbel"/>
              </a:rPr>
              <a:t>Avstrije</a:t>
            </a:r>
            <a:r>
              <a:rPr lang="de-DE" sz="2000" dirty="0">
                <a:solidFill>
                  <a:schemeClr val="tx1"/>
                </a:solidFill>
                <a:latin typeface="Corbel"/>
              </a:rPr>
              <a:t> ? </a:t>
            </a:r>
            <a:endParaRPr lang="de-AT" sz="2000" b="0" dirty="0">
              <a:solidFill>
                <a:schemeClr val="tx1"/>
              </a:solidFill>
              <a:latin typeface="Corbel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7E4E479-7FA3-DDEA-CDFF-6A927F42123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64841" y="1543703"/>
            <a:ext cx="341406" cy="432854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B08EE7B6-D34F-820E-8F67-435C0774570C}"/>
              </a:ext>
            </a:extLst>
          </p:cNvPr>
          <p:cNvSpPr/>
          <p:nvPr/>
        </p:nvSpPr>
        <p:spPr bwMode="ltGray">
          <a:xfrm>
            <a:off x="6491443" y="2396070"/>
            <a:ext cx="5018932" cy="53258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2000" dirty="0">
                <a:solidFill>
                  <a:schemeClr val="accent4"/>
                </a:solidFill>
                <a:latin typeface="Corbel"/>
              </a:rPr>
              <a:t>Da je </a:t>
            </a:r>
            <a:r>
              <a:rPr lang="de-DE" sz="2000" dirty="0" err="1">
                <a:solidFill>
                  <a:schemeClr val="accent4"/>
                </a:solidFill>
                <a:latin typeface="Corbel"/>
              </a:rPr>
              <a:t>Dunaj</a:t>
            </a:r>
            <a:r>
              <a:rPr lang="de-DE" sz="2000" dirty="0">
                <a:solidFill>
                  <a:schemeClr val="accent4"/>
                </a:solidFill>
                <a:latin typeface="Corbel"/>
              </a:rPr>
              <a:t>  </a:t>
            </a:r>
            <a:r>
              <a:rPr lang="de-DE" sz="2000" dirty="0" err="1">
                <a:solidFill>
                  <a:schemeClr val="accent4"/>
                </a:solidFill>
                <a:latin typeface="Corbel"/>
              </a:rPr>
              <a:t>hotspot</a:t>
            </a:r>
            <a:r>
              <a:rPr lang="de-DE" sz="2000" dirty="0">
                <a:solidFill>
                  <a:schemeClr val="accent4"/>
                </a:solidFill>
                <a:latin typeface="Corbel"/>
              </a:rPr>
              <a:t> </a:t>
            </a:r>
            <a:r>
              <a:rPr lang="de-DE" sz="2000" dirty="0" err="1">
                <a:solidFill>
                  <a:schemeClr val="accent4"/>
                </a:solidFill>
                <a:latin typeface="Corbel"/>
              </a:rPr>
              <a:t>za</a:t>
            </a:r>
            <a:r>
              <a:rPr lang="de-DE" sz="2000" dirty="0">
                <a:solidFill>
                  <a:schemeClr val="accent4"/>
                </a:solidFill>
                <a:latin typeface="Corbel"/>
              </a:rPr>
              <a:t> </a:t>
            </a:r>
            <a:r>
              <a:rPr lang="de-DE" sz="2000" dirty="0" err="1">
                <a:solidFill>
                  <a:schemeClr val="accent4"/>
                </a:solidFill>
                <a:latin typeface="Corbel"/>
              </a:rPr>
              <a:t>ChatBots</a:t>
            </a:r>
            <a:r>
              <a:rPr lang="de-DE" sz="2000" dirty="0">
                <a:solidFill>
                  <a:schemeClr val="accent4"/>
                </a:solidFill>
                <a:latin typeface="Corbel"/>
              </a:rPr>
              <a:t> ?</a:t>
            </a:r>
            <a:endParaRPr lang="de-AT" sz="2000" dirty="0">
              <a:solidFill>
                <a:schemeClr val="accent4"/>
              </a:solidFill>
              <a:latin typeface="Corbel"/>
            </a:endParaRPr>
          </a:p>
        </p:txBody>
      </p:sp>
      <p:sp>
        <p:nvSpPr>
          <p:cNvPr id="16" name="bg object 33">
            <a:extLst>
              <a:ext uri="{FF2B5EF4-FFF2-40B4-BE49-F238E27FC236}">
                <a16:creationId xmlns:a16="http://schemas.microsoft.com/office/drawing/2014/main" id="{80803D31-1B74-6B8B-610D-C4CB5D32F59A}"/>
              </a:ext>
            </a:extLst>
          </p:cNvPr>
          <p:cNvSpPr>
            <a:spLocks noChangeAspect="1"/>
          </p:cNvSpPr>
          <p:nvPr/>
        </p:nvSpPr>
        <p:spPr>
          <a:xfrm>
            <a:off x="5924019" y="2396070"/>
            <a:ext cx="343961" cy="430887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 lIns="0" tIns="0" rIns="0" bIns="0" rtlCol="0"/>
          <a:lstStyle/>
          <a:p>
            <a:endParaRPr>
              <a:solidFill>
                <a:schemeClr val="accent4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C9B3FF4-6A77-5025-3B08-D13F6A1DAAC8}"/>
              </a:ext>
            </a:extLst>
          </p:cNvPr>
          <p:cNvSpPr/>
          <p:nvPr/>
        </p:nvSpPr>
        <p:spPr bwMode="ltGray">
          <a:xfrm>
            <a:off x="237455" y="3228623"/>
            <a:ext cx="4731472" cy="132536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de-DE" sz="2000" dirty="0">
                <a:solidFill>
                  <a:schemeClr val="tx1"/>
                </a:solidFill>
                <a:latin typeface="Corbel"/>
              </a:rPr>
              <a:t>Da je </a:t>
            </a:r>
            <a:r>
              <a:rPr lang="de-DE" sz="2000" dirty="0" err="1">
                <a:solidFill>
                  <a:schemeClr val="tx1"/>
                </a:solidFill>
                <a:latin typeface="Corbel"/>
              </a:rPr>
              <a:t>Avstrija</a:t>
            </a:r>
            <a:r>
              <a:rPr lang="de-DE" sz="2000" dirty="0">
                <a:solidFill>
                  <a:schemeClr val="tx1"/>
                </a:solidFill>
                <a:latin typeface="Corbel"/>
              </a:rPr>
              <a:t>  </a:t>
            </a:r>
            <a:r>
              <a:rPr lang="de-DE" sz="2000" dirty="0" err="1">
                <a:solidFill>
                  <a:schemeClr val="tx1"/>
                </a:solidFill>
                <a:latin typeface="Corbel"/>
              </a:rPr>
              <a:t>ustanovila</a:t>
            </a:r>
            <a:r>
              <a:rPr lang="de-DE" sz="2000" dirty="0">
                <a:solidFill>
                  <a:schemeClr val="tx1"/>
                </a:solidFill>
                <a:latin typeface="Corbel"/>
              </a:rPr>
              <a:t> </a:t>
            </a:r>
            <a:r>
              <a:rPr lang="de-DE" sz="2000" dirty="0" err="1">
                <a:solidFill>
                  <a:schemeClr val="tx1"/>
                </a:solidFill>
                <a:latin typeface="Corbel"/>
              </a:rPr>
              <a:t>razvojni</a:t>
            </a:r>
            <a:r>
              <a:rPr lang="de-DE" sz="2000" dirty="0">
                <a:solidFill>
                  <a:schemeClr val="tx1"/>
                </a:solidFill>
                <a:latin typeface="Corbel"/>
              </a:rPr>
              <a:t> </a:t>
            </a:r>
          </a:p>
          <a:p>
            <a:pPr algn="r"/>
            <a:r>
              <a:rPr lang="de-DE" sz="2000" dirty="0" err="1">
                <a:solidFill>
                  <a:schemeClr val="tx1"/>
                </a:solidFill>
                <a:latin typeface="Corbel"/>
              </a:rPr>
              <a:t>center</a:t>
            </a:r>
            <a:r>
              <a:rPr lang="de-DE" sz="2000" dirty="0">
                <a:solidFill>
                  <a:schemeClr val="tx1"/>
                </a:solidFill>
                <a:latin typeface="Corbel"/>
              </a:rPr>
              <a:t> </a:t>
            </a:r>
            <a:r>
              <a:rPr lang="de-DE" sz="2000" dirty="0" err="1">
                <a:solidFill>
                  <a:schemeClr val="tx1"/>
                </a:solidFill>
                <a:latin typeface="Corbel"/>
              </a:rPr>
              <a:t>za</a:t>
            </a:r>
            <a:r>
              <a:rPr lang="de-DE" sz="2000" dirty="0">
                <a:solidFill>
                  <a:schemeClr val="tx1"/>
                </a:solidFill>
                <a:latin typeface="Corbel"/>
              </a:rPr>
              <a:t> </a:t>
            </a:r>
            <a:r>
              <a:rPr lang="de-DE" sz="2000" dirty="0" err="1">
                <a:solidFill>
                  <a:schemeClr val="tx1"/>
                </a:solidFill>
                <a:latin typeface="Corbel"/>
              </a:rPr>
              <a:t>blockchain</a:t>
            </a:r>
            <a:r>
              <a:rPr lang="de-DE" sz="2000" dirty="0">
                <a:solidFill>
                  <a:schemeClr val="tx1"/>
                </a:solidFill>
                <a:latin typeface="Corbel"/>
              </a:rPr>
              <a:t>?  </a:t>
            </a:r>
            <a:endParaRPr lang="de-AT" sz="2000" dirty="0">
              <a:solidFill>
                <a:schemeClr val="tx1"/>
              </a:solidFill>
              <a:latin typeface="Corbel"/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C38A043C-179C-8EE4-DABE-471178309A6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64841" y="3458452"/>
            <a:ext cx="341406" cy="432854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EFFFD417-770A-2AC6-CBFF-BC8197922610}"/>
              </a:ext>
            </a:extLst>
          </p:cNvPr>
          <p:cNvSpPr txBox="1"/>
          <p:nvPr/>
        </p:nvSpPr>
        <p:spPr>
          <a:xfrm>
            <a:off x="6496055" y="4345570"/>
            <a:ext cx="609391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dirty="0">
                <a:solidFill>
                  <a:schemeClr val="accent4"/>
                </a:solidFill>
                <a:latin typeface="Corbel"/>
              </a:rPr>
              <a:t>Da je postal Max Verstappen z </a:t>
            </a:r>
            <a:r>
              <a:rPr lang="de-DE" sz="2000" dirty="0" err="1">
                <a:solidFill>
                  <a:schemeClr val="accent4"/>
                </a:solidFill>
                <a:latin typeface="Corbel"/>
              </a:rPr>
              <a:t>avstrijskim</a:t>
            </a:r>
            <a:endParaRPr lang="de-DE" sz="2000" dirty="0">
              <a:solidFill>
                <a:schemeClr val="accent4"/>
              </a:solidFill>
              <a:latin typeface="Corbel"/>
            </a:endParaRPr>
          </a:p>
          <a:p>
            <a:r>
              <a:rPr lang="de-DE" sz="2000" dirty="0">
                <a:solidFill>
                  <a:schemeClr val="accent4"/>
                </a:solidFill>
                <a:latin typeface="Corbel"/>
              </a:rPr>
              <a:t> </a:t>
            </a:r>
            <a:r>
              <a:rPr lang="de-DE" sz="2000" dirty="0" err="1">
                <a:solidFill>
                  <a:schemeClr val="accent4"/>
                </a:solidFill>
                <a:latin typeface="Corbel"/>
              </a:rPr>
              <a:t>dirkalnim</a:t>
            </a:r>
            <a:r>
              <a:rPr lang="de-DE" sz="2000" dirty="0">
                <a:solidFill>
                  <a:schemeClr val="accent4"/>
                </a:solidFill>
                <a:latin typeface="Corbel"/>
              </a:rPr>
              <a:t> </a:t>
            </a:r>
            <a:r>
              <a:rPr lang="de-DE" sz="2000" dirty="0" err="1">
                <a:solidFill>
                  <a:schemeClr val="accent4"/>
                </a:solidFill>
                <a:latin typeface="Corbel"/>
              </a:rPr>
              <a:t>avtomobilom</a:t>
            </a:r>
            <a:r>
              <a:rPr lang="de-DE" sz="2000" dirty="0">
                <a:solidFill>
                  <a:schemeClr val="accent4"/>
                </a:solidFill>
                <a:latin typeface="Corbel"/>
              </a:rPr>
              <a:t> </a:t>
            </a:r>
            <a:r>
              <a:rPr lang="de-DE" sz="2000" dirty="0" err="1">
                <a:solidFill>
                  <a:schemeClr val="accent4"/>
                </a:solidFill>
                <a:latin typeface="Corbel"/>
              </a:rPr>
              <a:t>leta</a:t>
            </a:r>
            <a:r>
              <a:rPr lang="de-DE" sz="2000" dirty="0">
                <a:solidFill>
                  <a:schemeClr val="accent4"/>
                </a:solidFill>
                <a:latin typeface="Corbel"/>
              </a:rPr>
              <a:t>  2021</a:t>
            </a:r>
          </a:p>
          <a:p>
            <a:r>
              <a:rPr lang="de-DE" sz="2000" dirty="0">
                <a:solidFill>
                  <a:schemeClr val="accent4"/>
                </a:solidFill>
                <a:latin typeface="Corbel"/>
              </a:rPr>
              <a:t> </a:t>
            </a:r>
            <a:r>
              <a:rPr lang="de-DE" sz="2000" dirty="0" err="1">
                <a:solidFill>
                  <a:schemeClr val="accent4"/>
                </a:solidFill>
                <a:latin typeface="Corbel"/>
              </a:rPr>
              <a:t>svetovni</a:t>
            </a:r>
            <a:r>
              <a:rPr lang="de-DE" sz="2000" dirty="0">
                <a:solidFill>
                  <a:schemeClr val="accent4"/>
                </a:solidFill>
                <a:latin typeface="Corbel"/>
              </a:rPr>
              <a:t> </a:t>
            </a:r>
            <a:r>
              <a:rPr lang="de-DE" sz="2000" dirty="0" err="1">
                <a:solidFill>
                  <a:schemeClr val="accent4"/>
                </a:solidFill>
                <a:latin typeface="Corbel"/>
              </a:rPr>
              <a:t>prvak</a:t>
            </a:r>
            <a:r>
              <a:rPr lang="de-DE" sz="2000" dirty="0">
                <a:solidFill>
                  <a:schemeClr val="accent4"/>
                </a:solidFill>
                <a:latin typeface="Corbel"/>
              </a:rPr>
              <a:t> v </a:t>
            </a:r>
            <a:r>
              <a:rPr lang="de-DE" sz="2000" dirty="0" err="1">
                <a:solidFill>
                  <a:schemeClr val="accent4"/>
                </a:solidFill>
                <a:latin typeface="Corbel"/>
              </a:rPr>
              <a:t>formuli</a:t>
            </a:r>
            <a:r>
              <a:rPr lang="de-DE" sz="2000" dirty="0">
                <a:solidFill>
                  <a:schemeClr val="accent4"/>
                </a:solidFill>
                <a:latin typeface="Corbel"/>
              </a:rPr>
              <a:t> 1?</a:t>
            </a: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CCE25B6C-45F7-5315-D7CA-AB73C267534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26574" y="4337561"/>
            <a:ext cx="341406" cy="432854"/>
          </a:xfrm>
          <a:prstGeom prst="rect">
            <a:avLst/>
          </a:prstGeom>
        </p:spPr>
      </p:pic>
      <p:sp>
        <p:nvSpPr>
          <p:cNvPr id="25" name="Textfeld 24">
            <a:extLst>
              <a:ext uri="{FF2B5EF4-FFF2-40B4-BE49-F238E27FC236}">
                <a16:creationId xmlns:a16="http://schemas.microsoft.com/office/drawing/2014/main" id="{131D5AE2-0BCB-E1C5-82C6-2B0E59B9969F}"/>
              </a:ext>
            </a:extLst>
          </p:cNvPr>
          <p:cNvSpPr txBox="1"/>
          <p:nvPr/>
        </p:nvSpPr>
        <p:spPr>
          <a:xfrm>
            <a:off x="2448013" y="5721839"/>
            <a:ext cx="808686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AT" sz="2800" b="1" dirty="0">
                <a:solidFill>
                  <a:srgbClr val="E10000"/>
                </a:solidFill>
                <a:latin typeface="Corbel" panose="020B0503020204020204" pitchFamily="34" charset="0"/>
                <a:ea typeface="+mj-ea"/>
                <a:cs typeface="+mj-cs"/>
              </a:rPr>
              <a:t>in o </a:t>
            </a:r>
            <a:r>
              <a:rPr lang="de-AT" sz="2800" b="1" dirty="0" err="1">
                <a:solidFill>
                  <a:srgbClr val="E10000"/>
                </a:solidFill>
                <a:latin typeface="Corbel" panose="020B0503020204020204" pitchFamily="34" charset="0"/>
                <a:ea typeface="+mj-ea"/>
                <a:cs typeface="+mj-cs"/>
              </a:rPr>
              <a:t>Avstriji</a:t>
            </a:r>
            <a:r>
              <a:rPr lang="de-AT" sz="2800" b="1" dirty="0">
                <a:solidFill>
                  <a:srgbClr val="E10000"/>
                </a:solidFill>
                <a:latin typeface="Corbel" panose="020B0503020204020204" pitchFamily="34" charset="0"/>
                <a:ea typeface="+mj-ea"/>
                <a:cs typeface="+mj-cs"/>
              </a:rPr>
              <a:t> je </a:t>
            </a:r>
            <a:r>
              <a:rPr lang="de-AT" sz="2800" b="1" dirty="0" err="1">
                <a:solidFill>
                  <a:srgbClr val="E10000"/>
                </a:solidFill>
                <a:latin typeface="Corbel" panose="020B0503020204020204" pitchFamily="34" charset="0"/>
                <a:ea typeface="+mj-ea"/>
                <a:cs typeface="+mj-cs"/>
              </a:rPr>
              <a:t>treba</a:t>
            </a:r>
            <a:r>
              <a:rPr lang="de-AT" sz="2800" b="1" dirty="0">
                <a:solidFill>
                  <a:srgbClr val="E10000"/>
                </a:solidFill>
                <a:latin typeface="Corbel" panose="020B0503020204020204" pitchFamily="34" charset="0"/>
                <a:ea typeface="+mj-ea"/>
                <a:cs typeface="+mj-cs"/>
              </a:rPr>
              <a:t> </a:t>
            </a:r>
            <a:r>
              <a:rPr lang="de-AT" sz="2800" b="1" dirty="0" err="1">
                <a:solidFill>
                  <a:srgbClr val="E10000"/>
                </a:solidFill>
                <a:latin typeface="Corbel" panose="020B0503020204020204" pitchFamily="34" charset="0"/>
                <a:ea typeface="+mj-ea"/>
                <a:cs typeface="+mj-cs"/>
              </a:rPr>
              <a:t>vedeti</a:t>
            </a:r>
            <a:r>
              <a:rPr lang="de-AT" sz="2800" b="1" dirty="0">
                <a:solidFill>
                  <a:srgbClr val="E10000"/>
                </a:solidFill>
                <a:latin typeface="Corbel" panose="020B0503020204020204" pitchFamily="34" charset="0"/>
                <a:ea typeface="+mj-ea"/>
                <a:cs typeface="+mj-cs"/>
              </a:rPr>
              <a:t> </a:t>
            </a:r>
            <a:r>
              <a:rPr lang="de-AT" sz="2800" b="1" dirty="0" err="1">
                <a:solidFill>
                  <a:srgbClr val="E10000"/>
                </a:solidFill>
                <a:latin typeface="Corbel" panose="020B0503020204020204" pitchFamily="34" charset="0"/>
                <a:ea typeface="+mj-ea"/>
                <a:cs typeface="+mj-cs"/>
              </a:rPr>
              <a:t>še</a:t>
            </a:r>
            <a:r>
              <a:rPr lang="de-AT" sz="2800" b="1" dirty="0">
                <a:solidFill>
                  <a:srgbClr val="E10000"/>
                </a:solidFill>
                <a:latin typeface="Corbel" panose="020B0503020204020204" pitchFamily="34" charset="0"/>
                <a:ea typeface="+mj-ea"/>
                <a:cs typeface="+mj-cs"/>
              </a:rPr>
              <a:t> </a:t>
            </a:r>
            <a:r>
              <a:rPr lang="de-AT" sz="2800" b="1" dirty="0" err="1">
                <a:solidFill>
                  <a:srgbClr val="E10000"/>
                </a:solidFill>
                <a:latin typeface="Corbel" panose="020B0503020204020204" pitchFamily="34" charset="0"/>
                <a:ea typeface="+mj-ea"/>
                <a:cs typeface="+mj-cs"/>
              </a:rPr>
              <a:t>veliko</a:t>
            </a:r>
            <a:r>
              <a:rPr lang="de-AT" sz="2800" b="1" dirty="0">
                <a:solidFill>
                  <a:srgbClr val="E10000"/>
                </a:solidFill>
                <a:latin typeface="Corbel" panose="020B0503020204020204" pitchFamily="34" charset="0"/>
                <a:ea typeface="+mj-ea"/>
                <a:cs typeface="+mj-cs"/>
              </a:rPr>
              <a:t> </a:t>
            </a:r>
            <a:r>
              <a:rPr lang="de-AT" sz="2800" b="1" dirty="0" err="1">
                <a:solidFill>
                  <a:srgbClr val="E10000"/>
                </a:solidFill>
                <a:latin typeface="Corbel" panose="020B0503020204020204" pitchFamily="34" charset="0"/>
                <a:ea typeface="+mj-ea"/>
                <a:cs typeface="+mj-cs"/>
              </a:rPr>
              <a:t>več</a:t>
            </a:r>
            <a:r>
              <a:rPr lang="de-AT" sz="2800" b="1" dirty="0">
                <a:solidFill>
                  <a:srgbClr val="E10000"/>
                </a:solidFill>
                <a:latin typeface="Corbel" panose="020B0503020204020204" pitchFamily="34" charset="0"/>
                <a:ea typeface="+mj-ea"/>
                <a:cs typeface="+mj-cs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4794814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8" grpId="0"/>
      <p:bldP spid="11" grpId="0"/>
      <p:bldP spid="16" grpId="0" animBg="1"/>
      <p:bldP spid="17" grpId="0"/>
      <p:bldP spid="22" grpId="0"/>
      <p:bldP spid="25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9F8F57-C6F7-4FD2-8864-B888EDED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3418" y="209407"/>
            <a:ext cx="9409302" cy="430887"/>
          </a:xfrm>
        </p:spPr>
        <p:txBody>
          <a:bodyPr/>
          <a:lstStyle/>
          <a:p>
            <a:br>
              <a:rPr lang="sl-SI" dirty="0"/>
            </a:br>
            <a:r>
              <a:rPr lang="sl-SI" dirty="0"/>
              <a:t>Korak za korakom do uspeha</a:t>
            </a:r>
            <a:br>
              <a:rPr lang="sl-SI" dirty="0"/>
            </a:b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8FBE06A-33DF-4317-B402-D12E2AA497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30</a:t>
            </a:fld>
            <a:endParaRPr lang="en-GB" dirty="0"/>
          </a:p>
        </p:txBody>
      </p:sp>
      <p:sp>
        <p:nvSpPr>
          <p:cNvPr id="7" name="Fußzeilenplatzhalter 2">
            <a:extLst>
              <a:ext uri="{FF2B5EF4-FFF2-40B4-BE49-F238E27FC236}">
                <a16:creationId xmlns:a16="http://schemas.microsoft.com/office/drawing/2014/main" id="{C6AC7087-FE90-A053-4225-3378251304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11225" y="6281020"/>
            <a:ext cx="8631786" cy="25333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E6320F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9F6E754-6B81-9304-8BB9-23A02B0A27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9340" y="1366763"/>
            <a:ext cx="3072650" cy="792549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AE71B06A-7299-8699-9E14-4BBE5F63AD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90766" y="1366762"/>
            <a:ext cx="579170" cy="792549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DB6C5299-38A2-03FC-D412-0DFCC25337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38341" y="1366762"/>
            <a:ext cx="4919898" cy="792549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13AC0CE4-9A1B-807B-2ECA-DE8E67ECE9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1225" y="2381572"/>
            <a:ext cx="3535986" cy="71939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07A82A61-4211-1566-B36A-3F45252DF08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3418" y="3003984"/>
            <a:ext cx="3523793" cy="2127688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42108981-A3B5-5E24-EB83-C4250933D38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72304" y="2338501"/>
            <a:ext cx="4010929" cy="762461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B9366696-7D80-7190-D9E9-ECAE86FDD1A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72304" y="3003983"/>
            <a:ext cx="3985935" cy="2215823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5079352-339C-386B-AB30-8ED50FF472B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447211" y="2935181"/>
            <a:ext cx="749873" cy="987638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4B7F4D47-B09E-ADCF-8DEC-1AFB9B02771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986983" y="3857518"/>
            <a:ext cx="743776" cy="987638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E8067CAF-7500-83AD-387D-2580EE1D69AC}"/>
              </a:ext>
            </a:extLst>
          </p:cNvPr>
          <p:cNvSpPr txBox="1"/>
          <p:nvPr/>
        </p:nvSpPr>
        <p:spPr>
          <a:xfrm>
            <a:off x="846754" y="5536660"/>
            <a:ext cx="84039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AT" sz="2400" dirty="0" err="1">
                <a:latin typeface="Corbel" panose="020B0503020204020204" pitchFamily="34" charset="0"/>
              </a:rPr>
              <a:t>Lahko</a:t>
            </a:r>
            <a:r>
              <a:rPr lang="de-AT" sz="2400" dirty="0">
                <a:latin typeface="Corbel" panose="020B0503020204020204" pitchFamily="34" charset="0"/>
              </a:rPr>
              <a:t> </a:t>
            </a:r>
            <a:r>
              <a:rPr lang="de-AT" sz="2400" dirty="0" err="1">
                <a:latin typeface="Corbel" panose="020B0503020204020204" pitchFamily="34" charset="0"/>
              </a:rPr>
              <a:t>to</a:t>
            </a:r>
            <a:r>
              <a:rPr lang="de-AT" sz="2400" dirty="0">
                <a:latin typeface="Corbel" panose="020B0503020204020204" pitchFamily="34" charset="0"/>
              </a:rPr>
              <a:t> </a:t>
            </a:r>
            <a:r>
              <a:rPr lang="sl-SI" sz="2400" dirty="0">
                <a:latin typeface="Corbel" panose="020B0503020204020204" pitchFamily="34" charset="0"/>
              </a:rPr>
              <a:t>vašo </a:t>
            </a:r>
            <a:r>
              <a:rPr lang="de-AT" sz="2400" dirty="0" err="1">
                <a:latin typeface="Corbel" panose="020B0503020204020204" pitchFamily="34" charset="0"/>
              </a:rPr>
              <a:t>konkurenčno</a:t>
            </a:r>
            <a:r>
              <a:rPr lang="de-AT" sz="2400" dirty="0">
                <a:latin typeface="Corbel" panose="020B0503020204020204" pitchFamily="34" charset="0"/>
              </a:rPr>
              <a:t> </a:t>
            </a:r>
            <a:r>
              <a:rPr lang="de-AT" sz="2400" dirty="0" err="1">
                <a:latin typeface="Corbel" panose="020B0503020204020204" pitchFamily="34" charset="0"/>
              </a:rPr>
              <a:t>prednost</a:t>
            </a:r>
            <a:r>
              <a:rPr lang="de-AT" sz="2400" dirty="0">
                <a:latin typeface="Corbel" panose="020B0503020204020204" pitchFamily="34" charset="0"/>
              </a:rPr>
              <a:t> </a:t>
            </a:r>
            <a:r>
              <a:rPr lang="de-AT" sz="2400" dirty="0" err="1">
                <a:latin typeface="Corbel" panose="020B0503020204020204" pitchFamily="34" charset="0"/>
              </a:rPr>
              <a:t>prenesete</a:t>
            </a:r>
            <a:r>
              <a:rPr lang="de-AT" sz="2400" dirty="0">
                <a:latin typeface="Corbel" panose="020B0503020204020204" pitchFamily="34" charset="0"/>
              </a:rPr>
              <a:t> </a:t>
            </a:r>
            <a:r>
              <a:rPr lang="de-AT" sz="2400" dirty="0" err="1">
                <a:latin typeface="Corbel" panose="020B0503020204020204" pitchFamily="34" charset="0"/>
              </a:rPr>
              <a:t>tudi</a:t>
            </a:r>
            <a:r>
              <a:rPr lang="de-AT" sz="2400" dirty="0">
                <a:latin typeface="Corbel" panose="020B0503020204020204" pitchFamily="34" charset="0"/>
              </a:rPr>
              <a:t> v </a:t>
            </a:r>
            <a:r>
              <a:rPr lang="de-AT" sz="2400" dirty="0" err="1">
                <a:latin typeface="Corbel" panose="020B0503020204020204" pitchFamily="34" charset="0"/>
              </a:rPr>
              <a:t>Avstrijo</a:t>
            </a:r>
            <a:r>
              <a:rPr lang="de-AT" sz="2400" dirty="0">
                <a:latin typeface="Corbel" panose="020B0503020204020204" pitchFamily="34" charset="0"/>
              </a:rPr>
              <a:t>? </a:t>
            </a:r>
          </a:p>
        </p:txBody>
      </p:sp>
    </p:spTree>
    <p:extLst>
      <p:ext uri="{BB962C8B-B14F-4D97-AF65-F5344CB8AC3E}">
        <p14:creationId xmlns:p14="http://schemas.microsoft.com/office/powerpoint/2010/main" val="1386492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AED6BD-B0FB-AF90-65BB-16D22ACD8C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dirty="0"/>
              <a:t>S katero strategija v Avstrijo?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54DE634-CA88-8074-83DF-62E60DA9170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31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624BC04-D2CF-DD34-0F28-A981DB9CD4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200568BA-67FE-FA2B-68E2-01C9E198C99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64808" y="1428293"/>
            <a:ext cx="9618851" cy="4708525"/>
          </a:xfrm>
        </p:spPr>
        <p:txBody>
          <a:bodyPr/>
          <a:lstStyle/>
          <a:p>
            <a:pPr marL="342900" indent="-342900">
              <a:buClr>
                <a:srgbClr val="E10000"/>
              </a:buClr>
              <a:buFont typeface="Arial" panose="020B0604020202020204" pitchFamily="34" charset="0"/>
              <a:buChar char="•"/>
            </a:pPr>
            <a:r>
              <a:rPr lang="de-AT" dirty="0" err="1"/>
              <a:t>Koliko</a:t>
            </a:r>
            <a:r>
              <a:rPr lang="de-AT" dirty="0"/>
              <a:t> </a:t>
            </a:r>
            <a:r>
              <a:rPr lang="de-AT" dirty="0" err="1"/>
              <a:t>virov</a:t>
            </a:r>
            <a:r>
              <a:rPr lang="de-AT" dirty="0"/>
              <a:t> </a:t>
            </a:r>
            <a:r>
              <a:rPr lang="de-AT" dirty="0" err="1"/>
              <a:t>imate</a:t>
            </a:r>
            <a:r>
              <a:rPr lang="de-AT" dirty="0"/>
              <a:t> na </a:t>
            </a:r>
            <a:r>
              <a:rPr lang="de-AT" dirty="0" err="1"/>
              <a:t>razpolago</a:t>
            </a:r>
            <a:r>
              <a:rPr lang="de-AT" dirty="0"/>
              <a:t> </a:t>
            </a:r>
            <a:r>
              <a:rPr lang="de-AT" dirty="0" err="1"/>
              <a:t>za</a:t>
            </a:r>
            <a:r>
              <a:rPr lang="de-AT" dirty="0"/>
              <a:t> </a:t>
            </a:r>
            <a:r>
              <a:rPr lang="de-AT" dirty="0" err="1"/>
              <a:t>vstop</a:t>
            </a:r>
            <a:r>
              <a:rPr lang="de-AT" dirty="0"/>
              <a:t> v </a:t>
            </a:r>
            <a:r>
              <a:rPr lang="de-AT" dirty="0" err="1"/>
              <a:t>Avstrijo</a:t>
            </a:r>
            <a:r>
              <a:rPr lang="de-AT" dirty="0"/>
              <a:t>?</a:t>
            </a:r>
          </a:p>
          <a:p>
            <a:pPr marL="342900" indent="-342900">
              <a:buClr>
                <a:srgbClr val="E10000"/>
              </a:buClr>
              <a:buFont typeface="Arial" panose="020B0604020202020204" pitchFamily="34" charset="0"/>
              <a:buChar char="•"/>
            </a:pPr>
            <a:r>
              <a:rPr lang="de-AT" dirty="0" err="1"/>
              <a:t>Kako</a:t>
            </a:r>
            <a:r>
              <a:rPr lang="de-AT" dirty="0"/>
              <a:t> </a:t>
            </a:r>
            <a:r>
              <a:rPr lang="de-AT" dirty="0" err="1"/>
              <a:t>visoka</a:t>
            </a:r>
            <a:r>
              <a:rPr lang="de-AT" dirty="0"/>
              <a:t> so </a:t>
            </a:r>
            <a:r>
              <a:rPr lang="de-AT" dirty="0" err="1"/>
              <a:t>tveganja</a:t>
            </a:r>
            <a:r>
              <a:rPr lang="de-AT" dirty="0"/>
              <a:t> v </a:t>
            </a:r>
            <a:r>
              <a:rPr lang="de-AT" dirty="0" err="1"/>
              <a:t>Avstriji</a:t>
            </a:r>
            <a:r>
              <a:rPr lang="de-AT" dirty="0"/>
              <a:t>?</a:t>
            </a:r>
          </a:p>
          <a:p>
            <a:pPr marL="342900" indent="-342900">
              <a:buClr>
                <a:srgbClr val="E10000"/>
              </a:buClr>
              <a:buFont typeface="Arial" panose="020B0604020202020204" pitchFamily="34" charset="0"/>
              <a:buChar char="•"/>
            </a:pPr>
            <a:r>
              <a:rPr lang="de-AT" dirty="0" err="1"/>
              <a:t>Kakšen</a:t>
            </a:r>
            <a:r>
              <a:rPr lang="de-AT" dirty="0"/>
              <a:t> je </a:t>
            </a:r>
            <a:r>
              <a:rPr lang="de-AT" dirty="0" err="1"/>
              <a:t>dobičkonosni</a:t>
            </a:r>
            <a:r>
              <a:rPr lang="de-AT" dirty="0"/>
              <a:t> </a:t>
            </a:r>
            <a:r>
              <a:rPr lang="de-AT" dirty="0" err="1"/>
              <a:t>potencial</a:t>
            </a:r>
            <a:r>
              <a:rPr lang="de-AT" dirty="0"/>
              <a:t> </a:t>
            </a:r>
            <a:r>
              <a:rPr lang="de-AT" dirty="0" err="1"/>
              <a:t>posameznih</a:t>
            </a:r>
            <a:r>
              <a:rPr lang="de-AT" dirty="0"/>
              <a:t> </a:t>
            </a:r>
            <a:r>
              <a:rPr lang="de-AT" dirty="0" err="1"/>
              <a:t>strategij</a:t>
            </a:r>
            <a:r>
              <a:rPr lang="de-AT" dirty="0"/>
              <a:t> </a:t>
            </a:r>
            <a:r>
              <a:rPr lang="de-AT" dirty="0" err="1"/>
              <a:t>vstopa</a:t>
            </a:r>
            <a:r>
              <a:rPr lang="de-AT" dirty="0"/>
              <a:t> v </a:t>
            </a:r>
            <a:r>
              <a:rPr lang="de-AT" dirty="0" err="1"/>
              <a:t>Avstrijo</a:t>
            </a:r>
            <a:r>
              <a:rPr lang="de-AT" dirty="0"/>
              <a:t>?</a:t>
            </a:r>
          </a:p>
          <a:p>
            <a:pPr marL="342900" indent="-342900">
              <a:buClr>
                <a:srgbClr val="E10000"/>
              </a:buClr>
              <a:buFont typeface="Arial" panose="020B0604020202020204" pitchFamily="34" charset="0"/>
              <a:buChar char="•"/>
            </a:pPr>
            <a:r>
              <a:rPr lang="de-AT" dirty="0"/>
              <a:t>Je </a:t>
            </a:r>
            <a:r>
              <a:rPr lang="de-AT" dirty="0" err="1"/>
              <a:t>popoln</a:t>
            </a:r>
            <a:r>
              <a:rPr lang="de-AT" dirty="0"/>
              <a:t> </a:t>
            </a:r>
            <a:r>
              <a:rPr lang="de-AT" dirty="0" err="1"/>
              <a:t>nadzor</a:t>
            </a:r>
            <a:r>
              <a:rPr lang="de-AT" dirty="0"/>
              <a:t> </a:t>
            </a:r>
            <a:r>
              <a:rPr lang="de-AT" dirty="0" err="1"/>
              <a:t>nad</a:t>
            </a:r>
            <a:r>
              <a:rPr lang="de-AT" dirty="0"/>
              <a:t> </a:t>
            </a:r>
            <a:r>
              <a:rPr lang="de-AT" dirty="0" err="1"/>
              <a:t>poslovanjem</a:t>
            </a:r>
            <a:r>
              <a:rPr lang="de-AT" dirty="0"/>
              <a:t> v </a:t>
            </a:r>
            <a:r>
              <a:rPr lang="de-AT" dirty="0" err="1"/>
              <a:t>Avstriji</a:t>
            </a:r>
            <a:r>
              <a:rPr lang="de-AT" dirty="0"/>
              <a:t> </a:t>
            </a:r>
            <a:r>
              <a:rPr lang="de-AT" dirty="0" err="1"/>
              <a:t>pomemben</a:t>
            </a:r>
            <a:r>
              <a:rPr lang="de-AT" dirty="0"/>
              <a:t>?</a:t>
            </a:r>
          </a:p>
          <a:p>
            <a:pPr marL="342900" indent="-342900">
              <a:buClr>
                <a:srgbClr val="E10000"/>
              </a:buClr>
              <a:buFont typeface="Arial" panose="020B0604020202020204" pitchFamily="34" charset="0"/>
              <a:buChar char="•"/>
            </a:pPr>
            <a:r>
              <a:rPr lang="de-AT" dirty="0" err="1"/>
              <a:t>Pričakuje</a:t>
            </a:r>
            <a:r>
              <a:rPr lang="de-AT" dirty="0"/>
              <a:t> </a:t>
            </a:r>
            <a:r>
              <a:rPr lang="de-AT" dirty="0" err="1"/>
              <a:t>trg</a:t>
            </a:r>
            <a:r>
              <a:rPr lang="de-AT" dirty="0"/>
              <a:t> (</a:t>
            </a:r>
            <a:r>
              <a:rPr lang="de-AT" dirty="0" err="1"/>
              <a:t>stranke</a:t>
            </a:r>
            <a:r>
              <a:rPr lang="de-AT" dirty="0"/>
              <a:t>), da </a:t>
            </a:r>
            <a:r>
              <a:rPr lang="de-AT" dirty="0" err="1"/>
              <a:t>ste</a:t>
            </a:r>
            <a:r>
              <a:rPr lang="de-AT" dirty="0"/>
              <a:t> </a:t>
            </a:r>
            <a:r>
              <a:rPr lang="de-AT" dirty="0" err="1"/>
              <a:t>prisotni</a:t>
            </a:r>
            <a:r>
              <a:rPr lang="de-AT" dirty="0"/>
              <a:t> z </a:t>
            </a:r>
            <a:r>
              <a:rPr lang="de-AT" dirty="0" err="1"/>
              <a:t>lastno</a:t>
            </a:r>
            <a:r>
              <a:rPr lang="de-AT" dirty="0"/>
              <a:t> </a:t>
            </a:r>
            <a:r>
              <a:rPr lang="de-AT" dirty="0" err="1"/>
              <a:t>poslovno</a:t>
            </a:r>
            <a:r>
              <a:rPr lang="de-AT" dirty="0"/>
              <a:t> </a:t>
            </a:r>
            <a:r>
              <a:rPr lang="de-AT" dirty="0" err="1"/>
              <a:t>enoto</a:t>
            </a:r>
            <a:r>
              <a:rPr lang="de-AT" dirty="0"/>
              <a:t> v </a:t>
            </a:r>
            <a:r>
              <a:rPr lang="de-AT" dirty="0" err="1"/>
              <a:t>Avstriji</a:t>
            </a:r>
            <a:r>
              <a:rPr lang="de-AT" dirty="0"/>
              <a:t>?</a:t>
            </a:r>
          </a:p>
          <a:p>
            <a:pPr marL="342900" indent="-342900">
              <a:buClr>
                <a:srgbClr val="E10000"/>
              </a:buClr>
              <a:buFont typeface="Arial" panose="020B0604020202020204" pitchFamily="34" charset="0"/>
              <a:buChar char="•"/>
            </a:pPr>
            <a:r>
              <a:rPr lang="de-AT" dirty="0"/>
              <a:t>Ali </a:t>
            </a:r>
            <a:r>
              <a:rPr lang="de-AT" dirty="0" err="1"/>
              <a:t>pridobite</a:t>
            </a:r>
            <a:r>
              <a:rPr lang="de-AT" dirty="0"/>
              <a:t> na </a:t>
            </a:r>
            <a:r>
              <a:rPr lang="de-AT" dirty="0" err="1"/>
              <a:t>imidžu</a:t>
            </a:r>
            <a:r>
              <a:rPr lang="de-AT" dirty="0"/>
              <a:t> z </a:t>
            </a:r>
            <a:r>
              <a:rPr lang="de-AT" dirty="0" err="1"/>
              <a:t>avstrijskim</a:t>
            </a:r>
            <a:r>
              <a:rPr lang="de-AT" dirty="0"/>
              <a:t> </a:t>
            </a:r>
            <a:r>
              <a:rPr lang="de-AT" dirty="0" err="1"/>
              <a:t>podjetjem</a:t>
            </a:r>
            <a:r>
              <a:rPr lang="de-AT" dirty="0">
                <a:solidFill>
                  <a:srgbClr val="C00000"/>
                </a:solidFill>
              </a:rPr>
              <a:t>?</a:t>
            </a:r>
            <a:r>
              <a:rPr lang="sl-SI" dirty="0">
                <a:solidFill>
                  <a:srgbClr val="C00000"/>
                </a:solidFill>
              </a:rPr>
              <a:t> </a:t>
            </a:r>
            <a:r>
              <a:rPr lang="de-AT" dirty="0">
                <a:solidFill>
                  <a:srgbClr val="C00000"/>
                </a:solidFill>
              </a:rPr>
              <a:t>  </a:t>
            </a:r>
            <a:r>
              <a:rPr lang="de-AT" dirty="0">
                <a:solidFill>
                  <a:srgbClr val="FF0000"/>
                </a:solidFill>
              </a:rPr>
              <a:t>Quality Made in Austria</a:t>
            </a:r>
          </a:p>
          <a:p>
            <a:pPr marL="342900" indent="-342900">
              <a:buClr>
                <a:srgbClr val="E10000"/>
              </a:buClr>
              <a:buFont typeface="Arial" panose="020B0604020202020204" pitchFamily="34" charset="0"/>
              <a:buChar char="•"/>
            </a:pPr>
            <a:r>
              <a:rPr lang="de-AT" dirty="0" err="1"/>
              <a:t>Obstajajo</a:t>
            </a:r>
            <a:r>
              <a:rPr lang="de-AT" dirty="0"/>
              <a:t> v </a:t>
            </a:r>
            <a:r>
              <a:rPr lang="de-AT" dirty="0" err="1"/>
              <a:t>Avstriji</a:t>
            </a:r>
            <a:r>
              <a:rPr lang="de-AT" dirty="0"/>
              <a:t> </a:t>
            </a:r>
            <a:r>
              <a:rPr lang="de-AT" dirty="0" err="1"/>
              <a:t>spodbude</a:t>
            </a:r>
            <a:r>
              <a:rPr lang="de-AT" dirty="0"/>
              <a:t> </a:t>
            </a:r>
            <a:r>
              <a:rPr lang="de-AT" dirty="0" err="1"/>
              <a:t>za</a:t>
            </a:r>
            <a:r>
              <a:rPr lang="de-AT" dirty="0"/>
              <a:t> </a:t>
            </a:r>
            <a:r>
              <a:rPr lang="de-AT" dirty="0" err="1"/>
              <a:t>investicije</a:t>
            </a:r>
            <a:r>
              <a:rPr lang="de-AT" dirty="0"/>
              <a:t> in/</a:t>
            </a:r>
            <a:r>
              <a:rPr lang="de-AT" dirty="0" err="1"/>
              <a:t>ali</a:t>
            </a:r>
            <a:r>
              <a:rPr lang="de-AT" dirty="0"/>
              <a:t> </a:t>
            </a:r>
            <a:r>
              <a:rPr lang="de-AT" dirty="0" err="1"/>
              <a:t>davčne</a:t>
            </a:r>
            <a:r>
              <a:rPr lang="de-AT" dirty="0"/>
              <a:t> </a:t>
            </a:r>
            <a:r>
              <a:rPr lang="de-AT" dirty="0" err="1"/>
              <a:t>ugodnosti</a:t>
            </a:r>
            <a:r>
              <a:rPr lang="de-AT" dirty="0"/>
              <a:t>?</a:t>
            </a:r>
          </a:p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64049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AED6BD-B0FB-AF90-65BB-16D22ACD8C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698" y="-107244"/>
            <a:ext cx="9618851" cy="430887"/>
          </a:xfrm>
        </p:spPr>
        <p:txBody>
          <a:bodyPr/>
          <a:lstStyle/>
          <a:p>
            <a:r>
              <a:rPr lang="sl-SI" dirty="0"/>
              <a:t>                    </a:t>
            </a:r>
            <a:br>
              <a:rPr lang="sl-SI" dirty="0"/>
            </a:br>
            <a:r>
              <a:rPr lang="sl-SI" dirty="0"/>
              <a:t>                  Izkušnje slovenskih podjetji...  		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54DE634-CA88-8074-83DF-62E60DA9170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32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624BC04-D2CF-DD34-0F28-A981DB9CD4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200568BA-67FE-FA2B-68E2-01C9E198C99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-712846" y="1692274"/>
            <a:ext cx="9618851" cy="4708525"/>
          </a:xfrm>
        </p:spPr>
        <p:txBody>
          <a:bodyPr/>
          <a:lstStyle/>
          <a:p>
            <a:pPr marL="3484563" indent="-342900" eaLnBrk="1" hangingPunct="1">
              <a:lnSpc>
                <a:spcPts val="2500"/>
              </a:lnSpc>
              <a:buClr>
                <a:srgbClr val="E10000"/>
              </a:buClr>
              <a:buFont typeface="Arial" panose="020B0604020202020204" pitchFamily="34" charset="0"/>
              <a:buChar char="•"/>
              <a:defRPr/>
            </a:pPr>
            <a:r>
              <a:rPr lang="sl-SI" altLang="de-DE" sz="2400" b="1" dirty="0"/>
              <a:t>s</a:t>
            </a:r>
            <a:r>
              <a:rPr lang="de-AT" altLang="de-DE" sz="2400" b="1" dirty="0"/>
              <a:t>en</a:t>
            </a:r>
            <a:r>
              <a:rPr lang="sl-SI" altLang="de-DE" sz="2400" b="1" dirty="0"/>
              <a:t>čila </a:t>
            </a:r>
            <a:r>
              <a:rPr lang="sl-SI" altLang="de-DE" sz="2400" dirty="0"/>
              <a:t>–  značilnosti in zahteve ciljne skupine sta bila ključna faktorja za ustanovitev podjetja v Avstriji. Learning by doing: mnogo so se tudi naučili od napakah s strankami in se prilagodili </a:t>
            </a:r>
          </a:p>
          <a:p>
            <a:pPr marL="3484563" indent="-342900" eaLnBrk="1" hangingPunct="1">
              <a:lnSpc>
                <a:spcPts val="2500"/>
              </a:lnSpc>
              <a:buClr>
                <a:srgbClr val="E10000"/>
              </a:buClr>
              <a:buFont typeface="Arial" panose="020B0604020202020204" pitchFamily="34" charset="0"/>
              <a:buChar char="•"/>
              <a:defRPr/>
            </a:pPr>
            <a:r>
              <a:rPr lang="sl-SI" altLang="de-DE" sz="2400" b="1" dirty="0"/>
              <a:t>ograje </a:t>
            </a:r>
            <a:r>
              <a:rPr lang="sl-SI" altLang="de-DE" sz="2400" dirty="0"/>
              <a:t>– „Made in Austria“  olajša tržni prodor</a:t>
            </a:r>
          </a:p>
          <a:p>
            <a:pPr marL="3484563" indent="-342900" eaLnBrk="1" hangingPunct="1">
              <a:lnSpc>
                <a:spcPts val="2500"/>
              </a:lnSpc>
              <a:buClr>
                <a:srgbClr val="E10000"/>
              </a:buClr>
              <a:buFont typeface="Arial" panose="020B0604020202020204" pitchFamily="34" charset="0"/>
              <a:buChar char="•"/>
              <a:defRPr/>
            </a:pPr>
            <a:r>
              <a:rPr lang="sl-SI" altLang="de-DE" b="1" dirty="0"/>
              <a:t>o</a:t>
            </a:r>
            <a:r>
              <a:rPr lang="sl-SI" altLang="de-DE" sz="2400" b="1" dirty="0"/>
              <a:t>kna</a:t>
            </a:r>
            <a:r>
              <a:rPr lang="sl-SI" altLang="de-DE" sz="2400" dirty="0"/>
              <a:t> – bližina trga,  višja kupna moč &amp; boljša plačilna disciplina</a:t>
            </a:r>
          </a:p>
          <a:p>
            <a:pPr marL="3484563" indent="-342900" eaLnBrk="1" hangingPunct="1">
              <a:lnSpc>
                <a:spcPts val="2500"/>
              </a:lnSpc>
              <a:buClr>
                <a:srgbClr val="E10000"/>
              </a:buClr>
              <a:buFont typeface="Arial" panose="020B0604020202020204" pitchFamily="34" charset="0"/>
              <a:buChar char="•"/>
              <a:defRPr/>
            </a:pPr>
            <a:r>
              <a:rPr lang="sl-SI" altLang="de-DE" b="1" dirty="0"/>
              <a:t>medicinski izdelki</a:t>
            </a:r>
            <a:r>
              <a:rPr lang="sl-SI" altLang="de-DE" sz="2400" b="1" dirty="0"/>
              <a:t> </a:t>
            </a:r>
            <a:r>
              <a:rPr lang="sl-SI" altLang="de-DE" sz="2400" dirty="0"/>
              <a:t>– prijava izdelkov v Avstriji pomaga pri oblikovanju zaupanja na tujih trgih</a:t>
            </a:r>
          </a:p>
        </p:txBody>
      </p:sp>
    </p:spTree>
    <p:extLst>
      <p:ext uri="{BB962C8B-B14F-4D97-AF65-F5344CB8AC3E}">
        <p14:creationId xmlns:p14="http://schemas.microsoft.com/office/powerpoint/2010/main" val="3132932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593CCE3-332A-49D7-9FCC-30D43D5E1A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593CCE3-332A-49D7-9FCC-30D43D5E1A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2AE4F8F-9792-4BE5-B409-A76270733E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2375" y="424850"/>
            <a:ext cx="10416518" cy="430887"/>
          </a:xfrm>
        </p:spPr>
        <p:txBody>
          <a:bodyPr vert="horz"/>
          <a:lstStyle/>
          <a:p>
            <a:r>
              <a:rPr lang="sl-SI" dirty="0"/>
              <a:t>Naloga in cilji ABA –Invest in Austria:  dodati vrednost in pomagati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6298447-63F1-4215-B86F-EB59FDD4BF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34BEE3-566C-4068-A777-C3A4762E861B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E6320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E6320F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CD2D48A-2F60-41F9-86C0-6B7E1499D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E6320F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DF17026-2D60-4757-BC93-F297C99F363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0252" y="3160034"/>
            <a:ext cx="4632509" cy="2064174"/>
          </a:xfrm>
        </p:spPr>
        <p:txBody>
          <a:bodyPr/>
          <a:lstStyle/>
          <a:p>
            <a:r>
              <a:rPr lang="sl-SI" dirty="0">
                <a:solidFill>
                  <a:srgbClr val="E6320F"/>
                </a:solidFill>
              </a:rPr>
              <a:t>Spremstvo </a:t>
            </a:r>
            <a:r>
              <a:rPr lang="de-AT" dirty="0"/>
              <a:t> </a:t>
            </a:r>
            <a:r>
              <a:rPr lang="sl-SI" dirty="0"/>
              <a:t>mednarodnim podjetjem pri procesu naložbe v Avstriji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EF263C4-4F97-427C-9074-6F52D5961D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49156" y="3160034"/>
            <a:ext cx="4632509" cy="2476393"/>
          </a:xfrm>
        </p:spPr>
        <p:txBody>
          <a:bodyPr/>
          <a:lstStyle/>
          <a:p>
            <a:r>
              <a:rPr lang="sl-SI" dirty="0">
                <a:solidFill>
                  <a:srgbClr val="E6320F"/>
                </a:solidFill>
              </a:rPr>
              <a:t>Pomoč</a:t>
            </a:r>
            <a:r>
              <a:rPr lang="de-AT" dirty="0"/>
              <a:t> </a:t>
            </a:r>
            <a:r>
              <a:rPr lang="sl-SI" dirty="0"/>
              <a:t>mednarodnim podjetjem, ki so že prisotni v Avstriji pri  nadaljnjem razvoju</a:t>
            </a:r>
            <a:endParaRPr lang="de-AT" dirty="0"/>
          </a:p>
        </p:txBody>
      </p:sp>
      <p:sp>
        <p:nvSpPr>
          <p:cNvPr id="9" name="bg object 33">
            <a:extLst>
              <a:ext uri="{FF2B5EF4-FFF2-40B4-BE49-F238E27FC236}">
                <a16:creationId xmlns:a16="http://schemas.microsoft.com/office/drawing/2014/main" id="{ED8F8E1F-3908-43CF-B788-C04DAF6720D4}"/>
              </a:ext>
            </a:extLst>
          </p:cNvPr>
          <p:cNvSpPr>
            <a:spLocks noChangeAspect="1"/>
          </p:cNvSpPr>
          <p:nvPr/>
        </p:nvSpPr>
        <p:spPr>
          <a:xfrm rot="16200000">
            <a:off x="4062902" y="2278002"/>
            <a:ext cx="4066196" cy="5093799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rgbClr val="E6320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46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B1817E62-A91B-4039-9915-636448453E8C}"/>
              </a:ext>
            </a:extLst>
          </p:cNvPr>
          <p:cNvSpPr txBox="1">
            <a:spLocks/>
          </p:cNvSpPr>
          <p:nvPr/>
        </p:nvSpPr>
        <p:spPr>
          <a:xfrm>
            <a:off x="3549100" y="1384842"/>
            <a:ext cx="5247030" cy="1030644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800" b="1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AT" sz="2800" b="1" i="0" u="none" strike="noStrike" kern="1200" cap="none" spc="0" normalizeH="0" baseline="0" noProof="0" dirty="0">
                <a:ln>
                  <a:noFill/>
                </a:ln>
                <a:solidFill>
                  <a:srgbClr val="E6320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Promo</a:t>
            </a:r>
            <a:r>
              <a:rPr kumimoji="0" lang="sl-SI" sz="2800" b="1" i="0" u="none" strike="noStrike" kern="1200" cap="none" spc="0" normalizeH="0" baseline="0" noProof="0" dirty="0">
                <a:ln>
                  <a:noFill/>
                </a:ln>
                <a:solidFill>
                  <a:srgbClr val="E6320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viranje </a:t>
            </a:r>
            <a:r>
              <a:rPr kumimoji="0" lang="de-AT" sz="2800" b="1" i="0" u="none" strike="noStrike" kern="1200" cap="none" spc="0" normalizeH="0" baseline="0" noProof="0" dirty="0">
                <a:ln>
                  <a:noFill/>
                </a:ln>
                <a:solidFill>
                  <a:srgbClr val="004669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 A</a:t>
            </a:r>
            <a:r>
              <a:rPr kumimoji="0" lang="sl-SI" sz="2800" b="1" i="0" u="none" strike="noStrike" kern="1200" cap="none" spc="0" normalizeH="0" baseline="0" noProof="0" dirty="0">
                <a:ln>
                  <a:noFill/>
                </a:ln>
                <a:solidFill>
                  <a:srgbClr val="004669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vstrije kot poslovna lokacija</a:t>
            </a:r>
            <a:r>
              <a:rPr kumimoji="0" lang="sl-SI" sz="2800" b="1" i="0" u="none" strike="noStrike" kern="1200" cap="none" spc="0" normalizeH="0" noProof="0" dirty="0">
                <a:ln>
                  <a:noFill/>
                </a:ln>
                <a:solidFill>
                  <a:srgbClr val="004669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 po celem svetu</a:t>
            </a:r>
            <a:endParaRPr kumimoji="0" lang="de-AT" sz="2800" b="1" i="0" u="none" strike="noStrike" kern="1200" cap="none" spc="0" normalizeH="0" baseline="0" noProof="0" dirty="0">
              <a:ln>
                <a:noFill/>
              </a:ln>
              <a:solidFill>
                <a:srgbClr val="004669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12703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7" grpId="0" build="p"/>
      <p:bldP spid="8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56A9D77-43BD-4973-BD4E-1B158A72E6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56A9D77-43BD-4973-BD4E-1B158A72E6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3">
            <a:extLst>
              <a:ext uri="{FF2B5EF4-FFF2-40B4-BE49-F238E27FC236}">
                <a16:creationId xmlns:a16="http://schemas.microsoft.com/office/drawing/2014/main" id="{E9119C96-3D30-2B4F-9DEB-BDBA38C619EF}"/>
              </a:ext>
            </a:extLst>
          </p:cNvPr>
          <p:cNvSpPr/>
          <p:nvPr/>
        </p:nvSpPr>
        <p:spPr>
          <a:xfrm>
            <a:off x="428" y="0"/>
            <a:ext cx="609557" cy="781296"/>
          </a:xfrm>
          <a:custGeom>
            <a:avLst/>
            <a:gdLst/>
            <a:ahLst/>
            <a:cxnLst/>
            <a:rect l="l" t="t" r="r" b="b"/>
            <a:pathLst>
              <a:path w="1005205" h="1288415">
                <a:moveTo>
                  <a:pt x="0" y="0"/>
                </a:moveTo>
                <a:lnTo>
                  <a:pt x="0" y="335068"/>
                </a:lnTo>
                <a:lnTo>
                  <a:pt x="609552" y="640462"/>
                </a:lnTo>
                <a:lnTo>
                  <a:pt x="0" y="952850"/>
                </a:lnTo>
                <a:lnTo>
                  <a:pt x="0" y="1287918"/>
                </a:lnTo>
                <a:lnTo>
                  <a:pt x="1005204" y="793253"/>
                </a:lnTo>
                <a:lnTo>
                  <a:pt x="1005204" y="496016"/>
                </a:lnTo>
                <a:lnTo>
                  <a:pt x="0" y="0"/>
                </a:lnTo>
                <a:close/>
              </a:path>
            </a:pathLst>
          </a:custGeom>
          <a:solidFill>
            <a:srgbClr val="E6320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1200" cap="none" spc="0" normalizeH="0" baseline="0" noProof="0">
              <a:ln>
                <a:noFill/>
              </a:ln>
              <a:solidFill>
                <a:srgbClr val="0046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1159228-1A98-490C-BC2D-258BF08684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3102" y="175204"/>
            <a:ext cx="10528272" cy="430887"/>
          </a:xfrm>
        </p:spPr>
        <p:txBody>
          <a:bodyPr vert="horz"/>
          <a:lstStyle/>
          <a:p>
            <a:br>
              <a:rPr lang="sl-SI" dirty="0"/>
            </a:br>
            <a:br>
              <a:rPr lang="sl-SI" dirty="0"/>
            </a:br>
            <a:br>
              <a:rPr lang="sl-SI" dirty="0"/>
            </a:br>
            <a:br>
              <a:rPr lang="de-AT" dirty="0"/>
            </a:br>
            <a:r>
              <a:rPr lang="sl-SI" sz="4400" dirty="0"/>
              <a:t>Hvala za vaše zanimanje in pozornost </a:t>
            </a:r>
            <a:r>
              <a:rPr lang="de-AT" sz="4400" dirty="0"/>
              <a:t>!</a:t>
            </a:r>
            <a:br>
              <a:rPr lang="de-AT" sz="4400" dirty="0"/>
            </a:br>
            <a:endParaRPr lang="de-AT" sz="4400" dirty="0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6E2640BA-4D7E-4E40-B6A9-E68B06231E9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B08B4C6-CAAC-478F-87DC-D18367B2F3F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298968" y="3999360"/>
            <a:ext cx="4107954" cy="1073531"/>
          </a:xfrm>
        </p:spPr>
        <p:txBody>
          <a:bodyPr/>
          <a:lstStyle/>
          <a:p>
            <a:pPr marL="7701">
              <a:spcBef>
                <a:spcPts val="58"/>
              </a:spcBef>
            </a:pPr>
            <a:endParaRPr lang="sl-SI" sz="1800" b="1" spc="-21" dirty="0">
              <a:latin typeface="Corbel"/>
              <a:cs typeface="Corbel"/>
            </a:endParaRPr>
          </a:p>
          <a:p>
            <a:pPr marL="7701">
              <a:spcBef>
                <a:spcPts val="58"/>
              </a:spcBef>
            </a:pPr>
            <a:r>
              <a:rPr lang="sl-SI" sz="1800" b="1" spc="-21" dirty="0">
                <a:latin typeface="Corbel"/>
                <a:cs typeface="Corbel"/>
              </a:rPr>
              <a:t>   </a:t>
            </a:r>
            <a:r>
              <a:rPr lang="en-GB" sz="1800" b="1" spc="-21" dirty="0">
                <a:latin typeface="Corbel"/>
                <a:cs typeface="Corbel"/>
              </a:rPr>
              <a:t>M</a:t>
            </a:r>
            <a:r>
              <a:rPr lang="sl-SI" sz="1800" b="1" spc="-21" dirty="0">
                <a:latin typeface="Corbel"/>
                <a:cs typeface="Corbel"/>
              </a:rPr>
              <a:t>iran Breznik</a:t>
            </a:r>
            <a:endParaRPr lang="en-GB" sz="1800" b="1" spc="-21" dirty="0">
              <a:latin typeface="Corbel"/>
              <a:cs typeface="Corbel"/>
            </a:endParaRPr>
          </a:p>
          <a:p>
            <a:pPr marL="7701" marR="3081">
              <a:spcBef>
                <a:spcPts val="79"/>
              </a:spcBef>
            </a:pPr>
            <a:r>
              <a:rPr lang="sl-SI" sz="1800" spc="-3" dirty="0">
                <a:latin typeface="Corbel"/>
                <a:cs typeface="Corbel"/>
              </a:rPr>
              <a:t>   mb@officeservice.co.at</a:t>
            </a:r>
            <a:endParaRPr lang="en-US" sz="1800" spc="-3" dirty="0">
              <a:latin typeface="Corbel"/>
              <a:cs typeface="Corbel"/>
            </a:endParaRPr>
          </a:p>
          <a:p>
            <a:pPr marL="7701" marR="3081">
              <a:spcBef>
                <a:spcPts val="79"/>
              </a:spcBef>
            </a:pPr>
            <a:r>
              <a:rPr lang="sl-SI" sz="1800" u="sng" spc="-3" dirty="0">
                <a:latin typeface="Corbel"/>
                <a:cs typeface="Corbel"/>
                <a:hlinkClick r:id="rId6"/>
              </a:rPr>
              <a:t>  </a:t>
            </a:r>
            <a:r>
              <a:rPr lang="sl-SI" sz="1800" spc="-3" dirty="0">
                <a:latin typeface="Corbel"/>
                <a:cs typeface="Corbel"/>
                <a:hlinkClick r:id="rId6"/>
              </a:rPr>
              <a:t> www.exportsupport.at</a:t>
            </a:r>
            <a:endParaRPr lang="de-AT" sz="1800" spc="-3" dirty="0">
              <a:latin typeface="Corbel"/>
              <a:cs typeface="Corbel"/>
            </a:endParaRPr>
          </a:p>
          <a:p>
            <a:pPr marL="7701" marR="3081">
              <a:spcBef>
                <a:spcPts val="79"/>
              </a:spcBef>
            </a:pPr>
            <a:endParaRPr lang="de-AT" spc="-3" dirty="0">
              <a:latin typeface="Corbel"/>
            </a:endParaRPr>
          </a:p>
          <a:p>
            <a:pPr marL="7701" marR="3081">
              <a:spcBef>
                <a:spcPts val="79"/>
              </a:spcBef>
            </a:pPr>
            <a:r>
              <a:rPr lang="sl-SI" spc="-3" dirty="0">
                <a:latin typeface="Corbel"/>
              </a:rPr>
              <a:t>  </a:t>
            </a:r>
            <a:r>
              <a:rPr lang="de-AT" spc="-3" dirty="0">
                <a:latin typeface="Corbel"/>
              </a:rPr>
              <a:t>Austrian Business Agency</a:t>
            </a:r>
          </a:p>
          <a:p>
            <a:pPr marL="7701" marR="3081">
              <a:spcBef>
                <a:spcPts val="79"/>
              </a:spcBef>
            </a:pPr>
            <a:r>
              <a:rPr lang="sl-SI" u="sng" spc="-3" dirty="0">
                <a:latin typeface="Corbel"/>
                <a:hlinkClick r:id="rId7"/>
              </a:rPr>
              <a:t>  </a:t>
            </a:r>
            <a:r>
              <a:rPr lang="de-AT" spc="-3" dirty="0">
                <a:latin typeface="Corbel"/>
                <a:hlinkClick r:id="rId7"/>
              </a:rPr>
              <a:t>www.investinaustria.at</a:t>
            </a:r>
            <a:r>
              <a:rPr lang="sl-SI" spc="-3" dirty="0">
                <a:latin typeface="Corbel"/>
              </a:rPr>
              <a:t> </a:t>
            </a:r>
            <a:endParaRPr lang="de-AT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8F9D07A5-08AC-4218-B6B2-3E5339BE9DB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72662" y="1780471"/>
            <a:ext cx="2869505" cy="2348674"/>
          </a:xfrm>
          <a:prstGeom prst="rect">
            <a:avLst/>
          </a:prstGeom>
        </p:spPr>
      </p:pic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6279DA70-1728-9EBA-21F9-DD43D6266948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9"/>
          <a:srcRect l="7627" r="7627"/>
          <a:stretch>
            <a:fillRect/>
          </a:stretch>
        </p:blipFill>
        <p:spPr>
          <a:xfrm>
            <a:off x="3842167" y="1780471"/>
            <a:ext cx="2633789" cy="2348674"/>
          </a:xfrm>
        </p:spPr>
      </p:pic>
    </p:spTree>
    <p:extLst>
      <p:ext uri="{BB962C8B-B14F-4D97-AF65-F5344CB8AC3E}">
        <p14:creationId xmlns:p14="http://schemas.microsoft.com/office/powerpoint/2010/main" val="2283069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7993C40A-936B-4A8F-80CD-221177703E08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00000"/>
                    </a14:imgEffect>
                    <a14:imgEffect>
                      <a14:colorTemperature colorTemp="1500"/>
                    </a14:imgEffect>
                    <a14:imgEffect>
                      <a14:saturation sat="400000"/>
                    </a14:imgEffect>
                    <a14:imgEffect>
                      <a14:brightnessContrast bright="99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2898" y="-2820353"/>
            <a:ext cx="12837795" cy="12837795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platzhalter 4">
            <a:extLst>
              <a:ext uri="{FF2B5EF4-FFF2-40B4-BE49-F238E27FC236}">
                <a16:creationId xmlns:a16="http://schemas.microsoft.com/office/drawing/2014/main" id="{6C114EAC-A0A3-4CD1-BB17-1EA2783A9358}"/>
              </a:ext>
            </a:extLst>
          </p:cNvPr>
          <p:cNvSpPr txBox="1">
            <a:spLocks/>
          </p:cNvSpPr>
          <p:nvPr/>
        </p:nvSpPr>
        <p:spPr>
          <a:xfrm>
            <a:off x="-1131250" y="2149475"/>
            <a:ext cx="8423274" cy="470852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AT" b="1" dirty="0" err="1">
                <a:solidFill>
                  <a:srgbClr val="E6320F"/>
                </a:solidFill>
              </a:rPr>
              <a:t>povr</a:t>
            </a:r>
            <a:r>
              <a:rPr lang="sl-SI" b="1" dirty="0">
                <a:solidFill>
                  <a:srgbClr val="E6320F"/>
                </a:solidFill>
              </a:rPr>
              <a:t>šina</a:t>
            </a:r>
            <a:endParaRPr lang="de-AT" b="1" dirty="0">
              <a:solidFill>
                <a:srgbClr val="E6320F"/>
              </a:solidFill>
            </a:endParaRPr>
          </a:p>
          <a:p>
            <a:pPr algn="r"/>
            <a:r>
              <a:rPr lang="sl-SI" b="1" dirty="0">
                <a:solidFill>
                  <a:srgbClr val="E6320F"/>
                </a:solidFill>
              </a:rPr>
              <a:t>prebivalstvo</a:t>
            </a:r>
            <a:endParaRPr lang="de-AT" b="1" dirty="0">
              <a:solidFill>
                <a:srgbClr val="E6320F"/>
              </a:solidFill>
            </a:endParaRPr>
          </a:p>
          <a:p>
            <a:pPr algn="r"/>
            <a:r>
              <a:rPr lang="sl-SI" b="1" dirty="0">
                <a:solidFill>
                  <a:srgbClr val="E6320F"/>
                </a:solidFill>
              </a:rPr>
              <a:t>BDP</a:t>
            </a:r>
            <a:r>
              <a:rPr lang="de-AT" b="1" dirty="0">
                <a:solidFill>
                  <a:srgbClr val="E6320F"/>
                </a:solidFill>
              </a:rPr>
              <a:t>/</a:t>
            </a:r>
            <a:r>
              <a:rPr lang="sl-SI" b="1" dirty="0">
                <a:solidFill>
                  <a:srgbClr val="E6320F"/>
                </a:solidFill>
              </a:rPr>
              <a:t>preb.</a:t>
            </a:r>
            <a:endParaRPr lang="de-AT" b="1" dirty="0">
              <a:solidFill>
                <a:srgbClr val="E6320F"/>
              </a:solidFill>
            </a:endParaRPr>
          </a:p>
          <a:p>
            <a:pPr algn="r"/>
            <a:r>
              <a:rPr lang="sl-SI" b="1" dirty="0">
                <a:solidFill>
                  <a:srgbClr val="E6320F"/>
                </a:solidFill>
              </a:rPr>
              <a:t>izvoz</a:t>
            </a:r>
            <a:r>
              <a:rPr lang="de-AT" b="1" dirty="0">
                <a:solidFill>
                  <a:srgbClr val="E6320F"/>
                </a:solidFill>
              </a:rPr>
              <a:t>	</a:t>
            </a:r>
          </a:p>
          <a:p>
            <a:pPr algn="r"/>
            <a:r>
              <a:rPr lang="sl-SI" b="1" dirty="0">
                <a:solidFill>
                  <a:srgbClr val="E6320F"/>
                </a:solidFill>
              </a:rPr>
              <a:t>produktivnost</a:t>
            </a:r>
            <a:endParaRPr lang="de-AT" b="1" dirty="0">
              <a:solidFill>
                <a:srgbClr val="E6320F"/>
              </a:solidFill>
            </a:endParaRPr>
          </a:p>
          <a:p>
            <a:pPr algn="r"/>
            <a:r>
              <a:rPr lang="sl-SI" b="1" dirty="0">
                <a:solidFill>
                  <a:srgbClr val="E6320F"/>
                </a:solidFill>
              </a:rPr>
              <a:t>delež </a:t>
            </a:r>
            <a:r>
              <a:rPr lang="de-AT" b="1" dirty="0">
                <a:solidFill>
                  <a:srgbClr val="E6320F"/>
                </a:solidFill>
              </a:rPr>
              <a:t>R&amp;</a:t>
            </a:r>
            <a:r>
              <a:rPr lang="sl-SI" b="1" dirty="0">
                <a:solidFill>
                  <a:srgbClr val="E6320F"/>
                </a:solidFill>
              </a:rPr>
              <a:t>R</a:t>
            </a:r>
            <a:r>
              <a:rPr lang="de-AT" b="1" dirty="0">
                <a:solidFill>
                  <a:srgbClr val="E6320F"/>
                </a:solidFill>
              </a:rPr>
              <a:t> 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B0BE1DE6-6238-435F-8541-A5F2B7C51BC3}"/>
              </a:ext>
            </a:extLst>
          </p:cNvPr>
          <p:cNvSpPr txBox="1">
            <a:spLocks/>
          </p:cNvSpPr>
          <p:nvPr/>
        </p:nvSpPr>
        <p:spPr>
          <a:xfrm>
            <a:off x="7401243" y="2149475"/>
            <a:ext cx="8423274" cy="470852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b="1" dirty="0"/>
              <a:t>83.872 km2</a:t>
            </a:r>
          </a:p>
          <a:p>
            <a:r>
              <a:rPr lang="de-AT" b="1" dirty="0"/>
              <a:t>9.1 </a:t>
            </a:r>
            <a:r>
              <a:rPr lang="sl-SI" b="1" dirty="0"/>
              <a:t>m</a:t>
            </a:r>
            <a:r>
              <a:rPr lang="de-AT" b="1" dirty="0" err="1"/>
              <a:t>io</a:t>
            </a:r>
            <a:r>
              <a:rPr lang="de-AT" b="1" dirty="0"/>
              <a:t>.</a:t>
            </a:r>
          </a:p>
          <a:p>
            <a:r>
              <a:rPr lang="de-AT" b="1" dirty="0"/>
              <a:t>44,128 €</a:t>
            </a:r>
          </a:p>
          <a:p>
            <a:r>
              <a:rPr lang="de-AT" b="1" dirty="0"/>
              <a:t>59.0 %</a:t>
            </a:r>
          </a:p>
          <a:p>
            <a:r>
              <a:rPr lang="de-AT" b="1" dirty="0"/>
              <a:t>16  % </a:t>
            </a:r>
            <a:r>
              <a:rPr lang="sl-SI" b="1" dirty="0"/>
              <a:t>nad</a:t>
            </a:r>
            <a:r>
              <a:rPr lang="de-AT" b="1" dirty="0"/>
              <a:t> EU-</a:t>
            </a:r>
            <a:r>
              <a:rPr lang="sl-SI" b="1" dirty="0"/>
              <a:t>povprečjem</a:t>
            </a:r>
            <a:endParaRPr lang="de-AT" b="1" dirty="0"/>
          </a:p>
          <a:p>
            <a:r>
              <a:rPr lang="de-AT" b="1" dirty="0"/>
              <a:t>3.22 %</a:t>
            </a:r>
          </a:p>
          <a:p>
            <a:endParaRPr lang="de-AT" b="1" dirty="0"/>
          </a:p>
          <a:p>
            <a:endParaRPr lang="de-AT" b="1" dirty="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55302321-13C3-4658-B4F4-6360E155B0A7}"/>
              </a:ext>
            </a:extLst>
          </p:cNvPr>
          <p:cNvSpPr txBox="1">
            <a:spLocks/>
          </p:cNvSpPr>
          <p:nvPr/>
        </p:nvSpPr>
        <p:spPr>
          <a:xfrm>
            <a:off x="919537" y="209407"/>
            <a:ext cx="8631785" cy="430887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ts val="600"/>
              </a:spcBef>
              <a:buNone/>
              <a:defRPr sz="3600" b="1" kern="1200">
                <a:solidFill>
                  <a:srgbClr val="E6320F"/>
                </a:solidFill>
                <a:latin typeface="Corbel" panose="020B0503020204020204" pitchFamily="34" charset="0"/>
                <a:ea typeface="+mj-ea"/>
                <a:cs typeface="+mj-cs"/>
              </a:defRPr>
            </a:lvl1pPr>
          </a:lstStyle>
          <a:p>
            <a:r>
              <a:rPr lang="de-AT" dirty="0" err="1">
                <a:solidFill>
                  <a:schemeClr val="bg1"/>
                </a:solidFill>
              </a:rPr>
              <a:t>Avstrija</a:t>
            </a:r>
            <a:r>
              <a:rPr lang="sl-SI" dirty="0">
                <a:solidFill>
                  <a:schemeClr val="bg1"/>
                </a:solidFill>
              </a:rPr>
              <a:t> - </a:t>
            </a:r>
            <a:r>
              <a:rPr lang="de-AT" dirty="0">
                <a:solidFill>
                  <a:schemeClr val="bg1"/>
                </a:solidFill>
              </a:rPr>
              <a:t> na </a:t>
            </a:r>
            <a:r>
              <a:rPr lang="sl-SI" dirty="0">
                <a:solidFill>
                  <a:schemeClr val="bg1"/>
                </a:solidFill>
              </a:rPr>
              <a:t>kratko </a:t>
            </a:r>
            <a:endParaRPr lang="de-A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2128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9568EE-DBB9-9CC2-4227-A0F749705F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3640E25-118B-03D5-1E83-DD14BF238A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6B7B665-3558-2BCB-104F-68B1A60024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B0A8145-7829-DE62-83BC-E199D86536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226" y="323643"/>
            <a:ext cx="8631785" cy="430887"/>
          </a:xfrm>
        </p:spPr>
        <p:txBody>
          <a:bodyPr vert="horz"/>
          <a:lstStyle/>
          <a:p>
            <a:r>
              <a:rPr lang="de-AT" dirty="0" err="1">
                <a:solidFill>
                  <a:srgbClr val="E10000"/>
                </a:solidFill>
              </a:rPr>
              <a:t>Ocenite</a:t>
            </a:r>
            <a:r>
              <a:rPr lang="de-AT" dirty="0">
                <a:solidFill>
                  <a:srgbClr val="E10000"/>
                </a:solidFill>
              </a:rPr>
              <a:t> </a:t>
            </a:r>
            <a:r>
              <a:rPr lang="de-AT" dirty="0" err="1">
                <a:solidFill>
                  <a:srgbClr val="E10000"/>
                </a:solidFill>
              </a:rPr>
              <a:t>dele</a:t>
            </a:r>
            <a:r>
              <a:rPr lang="sl-SI" dirty="0">
                <a:solidFill>
                  <a:srgbClr val="E10000"/>
                </a:solidFill>
              </a:rPr>
              <a:t>ž sektorja v BDP?</a:t>
            </a:r>
            <a:endParaRPr lang="de-AT" dirty="0">
              <a:solidFill>
                <a:srgbClr val="E10000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6E27945-FE75-CE85-069B-1B4AC36F380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34BEE3-566C-4068-A777-C3A4762E861B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E6320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E6320F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AC76AFB-836C-385C-850F-F220A245F0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800" b="0" i="0" u="none" strike="noStrike" kern="1200" cap="none" spc="0" normalizeH="0" baseline="0" noProof="0" dirty="0">
                <a:ln>
                  <a:noFill/>
                </a:ln>
                <a:solidFill>
                  <a:srgbClr val="E6320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vir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E6320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: Statistik Austria, WIFO (</a:t>
            </a:r>
            <a:r>
              <a:rPr kumimoji="0" lang="sl-SI" sz="800" b="0" i="0" u="none" strike="noStrike" kern="1200" cap="none" spc="0" normalizeH="0" baseline="0" noProof="0" dirty="0">
                <a:ln>
                  <a:noFill/>
                </a:ln>
                <a:solidFill>
                  <a:srgbClr val="E6320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ocena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E6320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) , OECD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C6B7A1C6-E8F8-20C8-0FC4-D65279B2A0D6}"/>
              </a:ext>
            </a:extLst>
          </p:cNvPr>
          <p:cNvSpPr txBox="1"/>
          <p:nvPr/>
        </p:nvSpPr>
        <p:spPr>
          <a:xfrm>
            <a:off x="2227797" y="1381439"/>
            <a:ext cx="27618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300393" rtl="0" eaLnBrk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l-SI" sz="3600" dirty="0">
                <a:solidFill>
                  <a:srgbClr val="004669"/>
                </a:solidFill>
                <a:latin typeface="Corbel" panose="020B0503020204020204" pitchFamily="34" charset="0"/>
                <a:ea typeface="ＭＳ Ｐゴシック" charset="0"/>
              </a:rPr>
              <a:t>t</a:t>
            </a:r>
            <a:r>
              <a:rPr kumimoji="0" lang="sl-SI" sz="3600" b="0" i="0" u="none" strike="noStrike" kern="1200" cap="none" spc="0" normalizeH="0" baseline="0" noProof="0" dirty="0">
                <a:ln>
                  <a:noFill/>
                </a:ln>
                <a:solidFill>
                  <a:srgbClr val="004669"/>
                </a:solidFill>
                <a:effectLst/>
                <a:uLnTx/>
                <a:uFillTx/>
                <a:latin typeface="Corbel" panose="020B0503020204020204" pitchFamily="34" charset="0"/>
                <a:ea typeface="ＭＳ Ｐゴシック" charset="0"/>
                <a:cs typeface="+mn-cs"/>
              </a:rPr>
              <a:t>urizem</a:t>
            </a:r>
            <a:endParaRPr kumimoji="0" lang="de-DE" sz="3600" b="0" i="0" u="none" strike="noStrike" kern="1200" cap="none" spc="0" normalizeH="0" baseline="0" noProof="0" dirty="0">
              <a:ln>
                <a:noFill/>
              </a:ln>
              <a:solidFill>
                <a:srgbClr val="004669"/>
              </a:solidFill>
              <a:effectLst/>
              <a:uLnTx/>
              <a:uFillTx/>
              <a:latin typeface="Corbel" panose="020B0503020204020204" pitchFamily="34" charset="0"/>
              <a:ea typeface="ＭＳ Ｐゴシック" charset="0"/>
              <a:cs typeface="+mn-cs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2FCB400-F724-FAD1-1753-BCB1084EC351}"/>
              </a:ext>
            </a:extLst>
          </p:cNvPr>
          <p:cNvSpPr txBox="1"/>
          <p:nvPr/>
        </p:nvSpPr>
        <p:spPr>
          <a:xfrm>
            <a:off x="6394056" y="1381438"/>
            <a:ext cx="27618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300393" rtl="0" eaLnBrk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3600" b="0" i="0" u="none" strike="noStrike" kern="1200" cap="none" spc="0" normalizeH="0" baseline="0" noProof="0" dirty="0">
                <a:ln>
                  <a:noFill/>
                </a:ln>
                <a:solidFill>
                  <a:srgbClr val="004669"/>
                </a:solidFill>
                <a:effectLst/>
                <a:uLnTx/>
                <a:uFillTx/>
                <a:latin typeface="Corbel" panose="020B0503020204020204" pitchFamily="34" charset="0"/>
                <a:ea typeface="ＭＳ Ｐゴシック" charset="0"/>
                <a:cs typeface="+mn-cs"/>
              </a:rPr>
              <a:t>i</a:t>
            </a:r>
            <a:r>
              <a:rPr kumimoji="0" lang="de-AT" sz="3600" b="0" i="0" u="none" strike="noStrike" kern="1200" cap="none" spc="0" normalizeH="0" baseline="0" noProof="0" dirty="0" err="1">
                <a:ln>
                  <a:noFill/>
                </a:ln>
                <a:solidFill>
                  <a:srgbClr val="004669"/>
                </a:solidFill>
                <a:effectLst/>
                <a:uLnTx/>
                <a:uFillTx/>
                <a:latin typeface="Corbel" panose="020B0503020204020204" pitchFamily="34" charset="0"/>
                <a:ea typeface="ＭＳ Ｐゴシック" charset="0"/>
                <a:cs typeface="+mn-cs"/>
              </a:rPr>
              <a:t>ndustr</a:t>
            </a:r>
            <a:r>
              <a:rPr kumimoji="0" lang="sl-SI" sz="3600" b="0" i="0" u="none" strike="noStrike" kern="1200" cap="none" spc="0" normalizeH="0" baseline="0" noProof="0" dirty="0">
                <a:ln>
                  <a:noFill/>
                </a:ln>
                <a:solidFill>
                  <a:srgbClr val="004669"/>
                </a:solidFill>
                <a:effectLst/>
                <a:uLnTx/>
                <a:uFillTx/>
                <a:latin typeface="Corbel" panose="020B0503020204020204" pitchFamily="34" charset="0"/>
                <a:ea typeface="ＭＳ Ｐゴシック" charset="0"/>
                <a:cs typeface="+mn-cs"/>
              </a:rPr>
              <a:t>ija</a:t>
            </a:r>
            <a:endParaRPr kumimoji="0" lang="de-DE" sz="3600" b="0" i="0" u="none" strike="noStrike" kern="1200" cap="none" spc="0" normalizeH="0" baseline="0" noProof="0" dirty="0">
              <a:ln>
                <a:noFill/>
              </a:ln>
              <a:solidFill>
                <a:srgbClr val="004669"/>
              </a:solidFill>
              <a:effectLst/>
              <a:uLnTx/>
              <a:uFillTx/>
              <a:latin typeface="Corbel" panose="020B0503020204020204" pitchFamily="34" charset="0"/>
              <a:ea typeface="ＭＳ Ｐゴシック" charset="0"/>
              <a:cs typeface="+mn-cs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E641EDD-67A3-B744-2376-1815E6E810C0}"/>
              </a:ext>
            </a:extLst>
          </p:cNvPr>
          <p:cNvSpPr txBox="1"/>
          <p:nvPr/>
        </p:nvSpPr>
        <p:spPr>
          <a:xfrm>
            <a:off x="6754151" y="5184172"/>
            <a:ext cx="21288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300393" rtl="0" eaLnBrk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3200" b="0" i="0" u="none" strike="noStrike" kern="1200" cap="none" spc="0" normalizeH="0" baseline="0" noProof="0" dirty="0">
                <a:ln>
                  <a:noFill/>
                </a:ln>
                <a:solidFill>
                  <a:srgbClr val="004669"/>
                </a:solidFill>
                <a:effectLst/>
                <a:uLnTx/>
                <a:uFillTx/>
                <a:latin typeface="Corbel" panose="020B0503020204020204" pitchFamily="34" charset="0"/>
                <a:ea typeface="ＭＳ Ｐゴシック" charset="0"/>
                <a:cs typeface="+mn-cs"/>
              </a:rPr>
              <a:t>29</a:t>
            </a:r>
            <a:r>
              <a:rPr kumimoji="0" lang="sk-SK" sz="3200" b="0" i="0" u="none" strike="noStrike" kern="1200" cap="none" spc="0" normalizeH="0" baseline="0" noProof="0" dirty="0">
                <a:ln>
                  <a:noFill/>
                </a:ln>
                <a:solidFill>
                  <a:srgbClr val="004669"/>
                </a:solidFill>
                <a:effectLst/>
                <a:uLnTx/>
                <a:uFillTx/>
                <a:latin typeface="Corbel" panose="020B0503020204020204" pitchFamily="34" charset="0"/>
                <a:ea typeface="ＭＳ Ｐゴシック" charset="0"/>
                <a:cs typeface="+mn-cs"/>
              </a:rPr>
              <a:t> %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rgbClr val="004669"/>
              </a:solidFill>
              <a:effectLst/>
              <a:uLnTx/>
              <a:uFillTx/>
              <a:latin typeface="Corbel" panose="020B0503020204020204" pitchFamily="34" charset="0"/>
              <a:ea typeface="ＭＳ Ｐゴシック" charset="0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52D4F81-5454-F0B2-030F-E08B99C81BD5}"/>
              </a:ext>
            </a:extLst>
          </p:cNvPr>
          <p:cNvSpPr txBox="1"/>
          <p:nvPr/>
        </p:nvSpPr>
        <p:spPr>
          <a:xfrm>
            <a:off x="2896930" y="5184173"/>
            <a:ext cx="27618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300393" rtl="0" eaLnBrk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3200" b="0" i="0" u="none" strike="noStrike" kern="1200" cap="none" spc="0" normalizeH="0" baseline="0" noProof="0" dirty="0">
                <a:ln>
                  <a:noFill/>
                </a:ln>
                <a:solidFill>
                  <a:srgbClr val="004669"/>
                </a:solidFill>
                <a:effectLst/>
                <a:uLnTx/>
                <a:uFillTx/>
                <a:latin typeface="Corbel" panose="020B0503020204020204" pitchFamily="34" charset="0"/>
                <a:ea typeface="ＭＳ Ｐゴシック" charset="0"/>
                <a:cs typeface="+mn-cs"/>
              </a:rPr>
              <a:t>15 %</a:t>
            </a: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rgbClr val="004669"/>
              </a:solidFill>
              <a:effectLst/>
              <a:uLnTx/>
              <a:uFillTx/>
              <a:latin typeface="Corbel" panose="020B0503020204020204" pitchFamily="34" charset="0"/>
              <a:ea typeface="ＭＳ Ｐゴシック" charset="0"/>
              <a:cs typeface="+mn-cs"/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FC0E4729-223E-073F-038A-9643A0C79A2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04634" y="3010328"/>
            <a:ext cx="1535851" cy="1535851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4385BA24-D624-3F1B-160E-93D3457FC42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77880" y="2442251"/>
            <a:ext cx="2579895" cy="2579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41702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9" grpId="0"/>
      <p:bldP spid="12" grpId="0"/>
      <p:bldP spid="1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9924722-BE39-48AA-AD9B-CAF0939A0B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9924722-BE39-48AA-AD9B-CAF0939A0B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BB27845-CA4C-40EA-AD7B-F7B3D728A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l-SI" dirty="0"/>
              <a:t>Zakaj  Avstrija</a:t>
            </a:r>
            <a:r>
              <a:rPr lang="de-AT" dirty="0"/>
              <a:t>?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C0B489A-C075-41E0-A453-E93B97F9D4A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0FE4226-9E50-402C-80BD-4F7E0A147A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bg object 33">
            <a:extLst>
              <a:ext uri="{FF2B5EF4-FFF2-40B4-BE49-F238E27FC236}">
                <a16:creationId xmlns:a16="http://schemas.microsoft.com/office/drawing/2014/main" id="{3379CB21-01A3-4F75-9061-FB9D77650757}"/>
              </a:ext>
            </a:extLst>
          </p:cNvPr>
          <p:cNvSpPr>
            <a:spLocks noChangeAspect="1"/>
          </p:cNvSpPr>
          <p:nvPr/>
        </p:nvSpPr>
        <p:spPr>
          <a:xfrm rot="3357632">
            <a:off x="4409997" y="1541149"/>
            <a:ext cx="1583798" cy="1984054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rgbClr val="E6320F"/>
          </a:solidFill>
          <a:ln>
            <a:noFill/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" name="bg object 33">
            <a:extLst>
              <a:ext uri="{FF2B5EF4-FFF2-40B4-BE49-F238E27FC236}">
                <a16:creationId xmlns:a16="http://schemas.microsoft.com/office/drawing/2014/main" id="{343E6BA5-8BFE-42E1-B0FA-EEB4866F150B}"/>
              </a:ext>
            </a:extLst>
          </p:cNvPr>
          <p:cNvSpPr>
            <a:spLocks noChangeAspect="1"/>
          </p:cNvSpPr>
          <p:nvPr/>
        </p:nvSpPr>
        <p:spPr>
          <a:xfrm rot="7663921">
            <a:off x="6050908" y="1575725"/>
            <a:ext cx="1583797" cy="1984053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bg object 33">
            <a:extLst>
              <a:ext uri="{FF2B5EF4-FFF2-40B4-BE49-F238E27FC236}">
                <a16:creationId xmlns:a16="http://schemas.microsoft.com/office/drawing/2014/main" id="{AEE2CBF4-190E-49A6-9CB3-1A28A2962908}"/>
              </a:ext>
            </a:extLst>
          </p:cNvPr>
          <p:cNvSpPr>
            <a:spLocks noChangeAspect="1"/>
          </p:cNvSpPr>
          <p:nvPr/>
        </p:nvSpPr>
        <p:spPr>
          <a:xfrm rot="12098391">
            <a:off x="6462472" y="3267975"/>
            <a:ext cx="1583798" cy="1984054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bg object 33">
            <a:extLst>
              <a:ext uri="{FF2B5EF4-FFF2-40B4-BE49-F238E27FC236}">
                <a16:creationId xmlns:a16="http://schemas.microsoft.com/office/drawing/2014/main" id="{EAC1CE38-093F-434C-A007-3A73B85187E2}"/>
              </a:ext>
            </a:extLst>
          </p:cNvPr>
          <p:cNvSpPr>
            <a:spLocks noChangeAspect="1"/>
          </p:cNvSpPr>
          <p:nvPr/>
        </p:nvSpPr>
        <p:spPr>
          <a:xfrm rot="20746160">
            <a:off x="3770248" y="3076844"/>
            <a:ext cx="1583798" cy="1984054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bg object 33">
            <a:extLst>
              <a:ext uri="{FF2B5EF4-FFF2-40B4-BE49-F238E27FC236}">
                <a16:creationId xmlns:a16="http://schemas.microsoft.com/office/drawing/2014/main" id="{BFE1923F-C946-42E2-8039-0954AE07FB01}"/>
              </a:ext>
            </a:extLst>
          </p:cNvPr>
          <p:cNvSpPr>
            <a:spLocks noChangeAspect="1"/>
          </p:cNvSpPr>
          <p:nvPr/>
        </p:nvSpPr>
        <p:spPr>
          <a:xfrm rot="16200000">
            <a:off x="5176395" y="4125003"/>
            <a:ext cx="1583798" cy="1984054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7265C5BC-753A-47A5-98A1-38F4CB171807}"/>
              </a:ext>
            </a:extLst>
          </p:cNvPr>
          <p:cNvSpPr txBox="1">
            <a:spLocks/>
          </p:cNvSpPr>
          <p:nvPr/>
        </p:nvSpPr>
        <p:spPr>
          <a:xfrm>
            <a:off x="1123611" y="1012385"/>
            <a:ext cx="3766788" cy="6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sl-SI" sz="3000" b="1" dirty="0"/>
              <a:t>nov trg</a:t>
            </a:r>
            <a:r>
              <a:rPr lang="de-AT" sz="3000" b="1" dirty="0"/>
              <a:t> </a:t>
            </a:r>
            <a:br>
              <a:rPr lang="de-AT" sz="3000" b="1" dirty="0"/>
            </a:br>
            <a:r>
              <a:rPr lang="de-AT" sz="3000" b="1" dirty="0"/>
              <a:t>(</a:t>
            </a:r>
            <a:r>
              <a:rPr lang="sl-SI" sz="3000" b="1" dirty="0"/>
              <a:t>dostop</a:t>
            </a:r>
            <a:r>
              <a:rPr lang="de-AT" sz="3000" b="1" dirty="0"/>
              <a:t>)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FFBD65DE-BB63-4F57-A16D-58A60158519A}"/>
              </a:ext>
            </a:extLst>
          </p:cNvPr>
          <p:cNvSpPr txBox="1">
            <a:spLocks/>
          </p:cNvSpPr>
          <p:nvPr/>
        </p:nvSpPr>
        <p:spPr>
          <a:xfrm>
            <a:off x="8000014" y="4173813"/>
            <a:ext cx="4198507" cy="6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l-SI" sz="3000" b="1" dirty="0">
                <a:solidFill>
                  <a:schemeClr val="accent2"/>
                </a:solidFill>
              </a:rPr>
              <a:t>talenti</a:t>
            </a:r>
            <a:r>
              <a:rPr lang="de-AT" sz="3000" b="1" dirty="0">
                <a:solidFill>
                  <a:schemeClr val="accent2"/>
                </a:solidFill>
              </a:rPr>
              <a:t> &amp; </a:t>
            </a:r>
            <a:br>
              <a:rPr lang="de-AT" sz="3000" b="1" dirty="0">
                <a:solidFill>
                  <a:schemeClr val="accent2"/>
                </a:solidFill>
              </a:rPr>
            </a:br>
            <a:r>
              <a:rPr lang="sl-SI" sz="3000" b="1" dirty="0">
                <a:solidFill>
                  <a:schemeClr val="accent2"/>
                </a:solidFill>
              </a:rPr>
              <a:t>mentaliteta</a:t>
            </a:r>
            <a:endParaRPr lang="de-AT" sz="3000" b="1" dirty="0">
              <a:solidFill>
                <a:schemeClr val="accent2"/>
              </a:solidFill>
            </a:endParaRP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6FF34173-E2C2-49AA-8C28-8B9D81BB41D0}"/>
              </a:ext>
            </a:extLst>
          </p:cNvPr>
          <p:cNvSpPr txBox="1">
            <a:spLocks/>
          </p:cNvSpPr>
          <p:nvPr/>
        </p:nvSpPr>
        <p:spPr>
          <a:xfrm>
            <a:off x="7254371" y="1012385"/>
            <a:ext cx="4750875" cy="124791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l-SI" sz="3000" b="1" dirty="0">
                <a:solidFill>
                  <a:schemeClr val="accent2"/>
                </a:solidFill>
              </a:rPr>
              <a:t>varnost</a:t>
            </a:r>
            <a:r>
              <a:rPr lang="de-AT" sz="3000" b="1" dirty="0">
                <a:solidFill>
                  <a:schemeClr val="accent2"/>
                </a:solidFill>
              </a:rPr>
              <a:t> &amp; </a:t>
            </a:r>
            <a:br>
              <a:rPr lang="de-AT" sz="3000" b="1" dirty="0">
                <a:solidFill>
                  <a:schemeClr val="accent2"/>
                </a:solidFill>
              </a:rPr>
            </a:br>
            <a:r>
              <a:rPr lang="sl-SI" sz="3000" b="1" dirty="0">
                <a:solidFill>
                  <a:schemeClr val="accent2"/>
                </a:solidFill>
              </a:rPr>
              <a:t>stabilnost</a:t>
            </a:r>
            <a:endParaRPr lang="de-AT" sz="3000" b="1" dirty="0">
              <a:solidFill>
                <a:schemeClr val="accent2"/>
              </a:solidFill>
            </a:endParaRP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6E372D33-7C92-44A3-9BAD-7351A57561CA}"/>
              </a:ext>
            </a:extLst>
          </p:cNvPr>
          <p:cNvSpPr txBox="1">
            <a:spLocks/>
          </p:cNvSpPr>
          <p:nvPr/>
        </p:nvSpPr>
        <p:spPr>
          <a:xfrm>
            <a:off x="911225" y="4008311"/>
            <a:ext cx="3486201" cy="6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l-SI" sz="3000" b="1" dirty="0">
                <a:solidFill>
                  <a:schemeClr val="accent2"/>
                </a:solidFill>
              </a:rPr>
              <a:t>support </a:t>
            </a:r>
            <a:endParaRPr lang="de-AT" sz="3000" b="1" dirty="0">
              <a:solidFill>
                <a:schemeClr val="accent2"/>
              </a:solidFill>
            </a:endParaRP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77FED387-18E9-4FB1-849E-698500EBEC2B}"/>
              </a:ext>
            </a:extLst>
          </p:cNvPr>
          <p:cNvSpPr txBox="1">
            <a:spLocks/>
          </p:cNvSpPr>
          <p:nvPr/>
        </p:nvSpPr>
        <p:spPr>
          <a:xfrm>
            <a:off x="4723566" y="5708286"/>
            <a:ext cx="2445908" cy="6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l-SI" sz="3000" b="1" dirty="0">
                <a:solidFill>
                  <a:schemeClr val="accent2"/>
                </a:solidFill>
              </a:rPr>
              <a:t>inovacija</a:t>
            </a:r>
            <a:r>
              <a:rPr lang="de-AT" sz="3000" b="1" dirty="0">
                <a:solidFill>
                  <a:schemeClr val="accent2"/>
                </a:solidFill>
              </a:rPr>
              <a:t> &amp; </a:t>
            </a:r>
            <a:r>
              <a:rPr lang="sl-SI" sz="3000" b="1" dirty="0">
                <a:solidFill>
                  <a:schemeClr val="accent2"/>
                </a:solidFill>
              </a:rPr>
              <a:t>eko-sistem</a:t>
            </a:r>
            <a:endParaRPr lang="de-AT" sz="3000" b="1" dirty="0">
              <a:solidFill>
                <a:schemeClr val="accent2"/>
              </a:solidFill>
            </a:endParaRPr>
          </a:p>
        </p:txBody>
      </p:sp>
      <p:sp>
        <p:nvSpPr>
          <p:cNvPr id="19" name="Flussdiagramm: Verbinder 18">
            <a:extLst>
              <a:ext uri="{FF2B5EF4-FFF2-40B4-BE49-F238E27FC236}">
                <a16:creationId xmlns:a16="http://schemas.microsoft.com/office/drawing/2014/main" id="{C4226A9D-E6E4-42B3-964B-E60703A58D43}"/>
              </a:ext>
            </a:extLst>
          </p:cNvPr>
          <p:cNvSpPr/>
          <p:nvPr/>
        </p:nvSpPr>
        <p:spPr bwMode="ltGray">
          <a:xfrm>
            <a:off x="5418700" y="3182320"/>
            <a:ext cx="1055641" cy="1012723"/>
          </a:xfrm>
          <a:prstGeom prst="flowChartConnector">
            <a:avLst/>
          </a:prstGeom>
          <a:solidFill>
            <a:srgbClr val="E6320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07826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C6FC85BB-EB5C-C24A-A1B9-2D355AE9C3E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010" t="13257" r="22962" b="15439"/>
          <a:stretch/>
        </p:blipFill>
        <p:spPr>
          <a:xfrm>
            <a:off x="3639127" y="0"/>
            <a:ext cx="8552873" cy="6858000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8DE9CE1-6F6E-42F3-87BE-14ED09EED15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D54A623-1567-458A-8512-0C061876DF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225" y="502569"/>
            <a:ext cx="11280775" cy="775527"/>
          </a:xfrm>
        </p:spPr>
        <p:txBody>
          <a:bodyPr/>
          <a:lstStyle/>
          <a:p>
            <a:r>
              <a:rPr lang="sl-SI" dirty="0"/>
              <a:t>Idealno izhodišče za vstop na nemško-govoreče trge</a:t>
            </a:r>
            <a:endParaRPr lang="de-AT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6F46698A-DD18-42B5-9FD0-9183FC5A1BC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1225" y="2556193"/>
            <a:ext cx="3450228" cy="1182687"/>
          </a:xfrm>
        </p:spPr>
        <p:txBody>
          <a:bodyPr/>
          <a:lstStyle/>
          <a:p>
            <a:r>
              <a:rPr lang="de-AT" sz="2400" dirty="0">
                <a:solidFill>
                  <a:srgbClr val="004669"/>
                </a:solidFill>
              </a:rPr>
              <a:t>100 m</a:t>
            </a:r>
            <a:r>
              <a:rPr lang="sl-SI" sz="2400" dirty="0">
                <a:solidFill>
                  <a:srgbClr val="004669"/>
                </a:solidFill>
              </a:rPr>
              <a:t>io</a:t>
            </a:r>
            <a:r>
              <a:rPr lang="de-AT" sz="2400" dirty="0">
                <a:solidFill>
                  <a:srgbClr val="004669"/>
                </a:solidFill>
              </a:rPr>
              <a:t>. </a:t>
            </a:r>
            <a:r>
              <a:rPr lang="sl-SI" sz="2400" dirty="0">
                <a:solidFill>
                  <a:srgbClr val="004669"/>
                </a:solidFill>
              </a:rPr>
              <a:t>potrošnikov </a:t>
            </a:r>
            <a:r>
              <a:rPr lang="sl-SI" dirty="0">
                <a:solidFill>
                  <a:srgbClr val="004669"/>
                </a:solidFill>
              </a:rPr>
              <a:t>na tem prostoru</a:t>
            </a:r>
            <a:r>
              <a:rPr lang="de-AT" dirty="0">
                <a:solidFill>
                  <a:srgbClr val="004669"/>
                </a:solidFill>
              </a:rPr>
              <a:t> z </a:t>
            </a:r>
            <a:r>
              <a:rPr lang="de-AT" dirty="0" err="1">
                <a:solidFill>
                  <a:srgbClr val="004669"/>
                </a:solidFill>
              </a:rPr>
              <a:t>visoko</a:t>
            </a:r>
            <a:r>
              <a:rPr lang="de-AT" dirty="0">
                <a:solidFill>
                  <a:srgbClr val="004669"/>
                </a:solidFill>
              </a:rPr>
              <a:t> </a:t>
            </a:r>
            <a:r>
              <a:rPr lang="de-AT" dirty="0" err="1">
                <a:solidFill>
                  <a:srgbClr val="004669"/>
                </a:solidFill>
              </a:rPr>
              <a:t>kupno</a:t>
            </a:r>
            <a:r>
              <a:rPr lang="de-AT" dirty="0">
                <a:solidFill>
                  <a:srgbClr val="004669"/>
                </a:solidFill>
              </a:rPr>
              <a:t> </a:t>
            </a:r>
            <a:r>
              <a:rPr lang="de-AT" dirty="0" err="1">
                <a:solidFill>
                  <a:srgbClr val="004669"/>
                </a:solidFill>
              </a:rPr>
              <a:t>mo</a:t>
            </a:r>
            <a:r>
              <a:rPr lang="sl-SI" dirty="0">
                <a:solidFill>
                  <a:srgbClr val="004669"/>
                </a:solidFill>
              </a:rPr>
              <a:t>č</a:t>
            </a:r>
            <a:r>
              <a:rPr lang="de-AT" dirty="0" err="1">
                <a:solidFill>
                  <a:srgbClr val="004669"/>
                </a:solidFill>
              </a:rPr>
              <a:t>jo</a:t>
            </a:r>
            <a:endParaRPr lang="de-AT" sz="2400" dirty="0">
              <a:solidFill>
                <a:srgbClr val="004669"/>
              </a:solidFill>
            </a:endParaRPr>
          </a:p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154661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D12D8D-4C2E-407A-9E62-0ABF4A3030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dirty="0"/>
              <a:t>Kupna moč nad povprečjem</a:t>
            </a:r>
            <a:r>
              <a:rPr lang="de-AT" dirty="0"/>
              <a:t> EU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CC61EC1-0619-4EF0-9359-145EF0D02E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4BEE3-566C-4068-A777-C3A4762E861B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0D79547-65BD-4F9F-9D92-AE6C3A417A1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51630" y="4839063"/>
            <a:ext cx="1450424" cy="450953"/>
          </a:xfrm>
        </p:spPr>
        <p:txBody>
          <a:bodyPr/>
          <a:lstStyle/>
          <a:p>
            <a:r>
              <a:rPr lang="de-AT" b="0" dirty="0"/>
              <a:t>EU: 100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AA8F2EB-FC4C-4EA0-94F4-8219517600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43288" y="4900203"/>
            <a:ext cx="2299723" cy="604800"/>
          </a:xfrm>
        </p:spPr>
        <p:txBody>
          <a:bodyPr/>
          <a:lstStyle/>
          <a:p>
            <a:r>
              <a:rPr lang="de-AT" b="0" dirty="0">
                <a:solidFill>
                  <a:srgbClr val="E6320F"/>
                </a:solidFill>
              </a:rPr>
              <a:t>A</a:t>
            </a:r>
            <a:r>
              <a:rPr lang="sl-SI" b="0" dirty="0">
                <a:solidFill>
                  <a:srgbClr val="E6320F"/>
                </a:solidFill>
              </a:rPr>
              <a:t>vstrija</a:t>
            </a:r>
            <a:r>
              <a:rPr lang="de-AT" b="0" dirty="0">
                <a:solidFill>
                  <a:srgbClr val="E6320F"/>
                </a:solidFill>
              </a:rPr>
              <a:t>: 12</a:t>
            </a:r>
            <a:r>
              <a:rPr lang="sl-SI" b="0" dirty="0">
                <a:solidFill>
                  <a:srgbClr val="E6320F"/>
                </a:solidFill>
              </a:rPr>
              <a:t>5</a:t>
            </a:r>
            <a:endParaRPr lang="de-AT" b="0" dirty="0">
              <a:solidFill>
                <a:srgbClr val="E6320F"/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B691F644-7A23-40F2-A331-17CF347A47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11225" y="6281020"/>
            <a:ext cx="8631786" cy="253337"/>
          </a:xfrm>
        </p:spPr>
        <p:txBody>
          <a:bodyPr/>
          <a:lstStyle/>
          <a:p>
            <a:r>
              <a:rPr lang="sl-SI" dirty="0"/>
              <a:t>Vir:  </a:t>
            </a:r>
            <a:r>
              <a:rPr lang="en-GB" dirty="0"/>
              <a:t> Eurosta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2E3345A-77EE-EF43-8527-257FB42247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51630" y="2555453"/>
            <a:ext cx="1214172" cy="1984704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D658D49-2207-3449-8B00-9E12FC28AB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20387" y="1561954"/>
            <a:ext cx="1928906" cy="3153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0728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9924722-BE39-48AA-AD9B-CAF0939A0B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9924722-BE39-48AA-AD9B-CAF0939A0B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BB27845-CA4C-40EA-AD7B-F7B3D728A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AT" dirty="0" err="1"/>
              <a:t>Zakaj</a:t>
            </a:r>
            <a:r>
              <a:rPr lang="de-AT" dirty="0"/>
              <a:t> </a:t>
            </a:r>
            <a:r>
              <a:rPr lang="sl-SI" dirty="0"/>
              <a:t> </a:t>
            </a:r>
            <a:r>
              <a:rPr lang="de-AT" dirty="0" err="1"/>
              <a:t>Avstrija</a:t>
            </a:r>
            <a:r>
              <a:rPr lang="de-AT" dirty="0"/>
              <a:t>?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C0B489A-C075-41E0-A453-E93B97F9D4A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34BEE3-566C-4068-A777-C3A4762E861B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E6320F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E6320F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0FE4226-9E50-402C-80BD-4F7E0A147A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E6320F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6" name="bg object 33">
            <a:extLst>
              <a:ext uri="{FF2B5EF4-FFF2-40B4-BE49-F238E27FC236}">
                <a16:creationId xmlns:a16="http://schemas.microsoft.com/office/drawing/2014/main" id="{3379CB21-01A3-4F75-9061-FB9D77650757}"/>
              </a:ext>
            </a:extLst>
          </p:cNvPr>
          <p:cNvSpPr>
            <a:spLocks noChangeAspect="1"/>
          </p:cNvSpPr>
          <p:nvPr/>
        </p:nvSpPr>
        <p:spPr>
          <a:xfrm rot="3357632">
            <a:off x="4409997" y="1541149"/>
            <a:ext cx="1583798" cy="1984054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46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bg object 33">
            <a:extLst>
              <a:ext uri="{FF2B5EF4-FFF2-40B4-BE49-F238E27FC236}">
                <a16:creationId xmlns:a16="http://schemas.microsoft.com/office/drawing/2014/main" id="{343E6BA5-8BFE-42E1-B0FA-EEB4866F150B}"/>
              </a:ext>
            </a:extLst>
          </p:cNvPr>
          <p:cNvSpPr>
            <a:spLocks noChangeAspect="1"/>
          </p:cNvSpPr>
          <p:nvPr/>
        </p:nvSpPr>
        <p:spPr>
          <a:xfrm rot="7663921">
            <a:off x="6050908" y="1575725"/>
            <a:ext cx="1583797" cy="1984053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rgbClr val="E6320F"/>
          </a:solidFill>
          <a:ln>
            <a:solidFill>
              <a:srgbClr val="E6320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46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bg object 33">
            <a:extLst>
              <a:ext uri="{FF2B5EF4-FFF2-40B4-BE49-F238E27FC236}">
                <a16:creationId xmlns:a16="http://schemas.microsoft.com/office/drawing/2014/main" id="{AEE2CBF4-190E-49A6-9CB3-1A28A2962908}"/>
              </a:ext>
            </a:extLst>
          </p:cNvPr>
          <p:cNvSpPr>
            <a:spLocks noChangeAspect="1"/>
          </p:cNvSpPr>
          <p:nvPr/>
        </p:nvSpPr>
        <p:spPr>
          <a:xfrm rot="12098391">
            <a:off x="6462472" y="3267975"/>
            <a:ext cx="1583798" cy="1984054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46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bg object 33">
            <a:extLst>
              <a:ext uri="{FF2B5EF4-FFF2-40B4-BE49-F238E27FC236}">
                <a16:creationId xmlns:a16="http://schemas.microsoft.com/office/drawing/2014/main" id="{EAC1CE38-093F-434C-A007-3A73B85187E2}"/>
              </a:ext>
            </a:extLst>
          </p:cNvPr>
          <p:cNvSpPr>
            <a:spLocks noChangeAspect="1"/>
          </p:cNvSpPr>
          <p:nvPr/>
        </p:nvSpPr>
        <p:spPr>
          <a:xfrm rot="20746160">
            <a:off x="3770248" y="3076844"/>
            <a:ext cx="1583798" cy="1984054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46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bg object 33">
            <a:extLst>
              <a:ext uri="{FF2B5EF4-FFF2-40B4-BE49-F238E27FC236}">
                <a16:creationId xmlns:a16="http://schemas.microsoft.com/office/drawing/2014/main" id="{BFE1923F-C946-42E2-8039-0954AE07FB01}"/>
              </a:ext>
            </a:extLst>
          </p:cNvPr>
          <p:cNvSpPr>
            <a:spLocks noChangeAspect="1"/>
          </p:cNvSpPr>
          <p:nvPr/>
        </p:nvSpPr>
        <p:spPr>
          <a:xfrm rot="16200000">
            <a:off x="5176395" y="4125003"/>
            <a:ext cx="1583798" cy="1984054"/>
          </a:xfrm>
          <a:custGeom>
            <a:avLst/>
            <a:gdLst/>
            <a:ahLst/>
            <a:cxnLst/>
            <a:rect l="l" t="t" r="r" b="b"/>
            <a:pathLst>
              <a:path w="3962400" h="4963795">
                <a:moveTo>
                  <a:pt x="0" y="0"/>
                </a:moveTo>
                <a:lnTo>
                  <a:pt x="0" y="910307"/>
                </a:lnTo>
                <a:lnTo>
                  <a:pt x="2922654" y="2470029"/>
                </a:lnTo>
                <a:lnTo>
                  <a:pt x="0" y="4029699"/>
                </a:lnTo>
                <a:lnTo>
                  <a:pt x="0" y="4963199"/>
                </a:lnTo>
                <a:lnTo>
                  <a:pt x="3962392" y="2893252"/>
                </a:lnTo>
                <a:lnTo>
                  <a:pt x="3962392" y="206993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0046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4C78652B-E64E-41E1-8DCC-0B54000400A4}"/>
              </a:ext>
            </a:extLst>
          </p:cNvPr>
          <p:cNvPicPr>
            <a:picLocks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414"/>
          <a:stretch/>
        </p:blipFill>
        <p:spPr bwMode="auto">
          <a:xfrm>
            <a:off x="5506039" y="3212635"/>
            <a:ext cx="961178" cy="961178"/>
          </a:xfrm>
          <a:prstGeom prst="flowChartConnector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7265C5BC-753A-47A5-98A1-38F4CB171807}"/>
              </a:ext>
            </a:extLst>
          </p:cNvPr>
          <p:cNvSpPr txBox="1">
            <a:spLocks/>
          </p:cNvSpPr>
          <p:nvPr/>
        </p:nvSpPr>
        <p:spPr>
          <a:xfrm>
            <a:off x="1123611" y="1012385"/>
            <a:ext cx="3766788" cy="6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AT" sz="3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trg</a:t>
            </a:r>
            <a:endParaRPr kumimoji="0" lang="de-AT" sz="30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AT" sz="3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 (</a:t>
            </a:r>
            <a:r>
              <a:rPr kumimoji="0" lang="de-AT" sz="3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dostop</a:t>
            </a:r>
            <a:r>
              <a:rPr kumimoji="0" lang="de-AT" sz="3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)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FFBD65DE-BB63-4F57-A16D-58A60158519A}"/>
              </a:ext>
            </a:extLst>
          </p:cNvPr>
          <p:cNvSpPr txBox="1">
            <a:spLocks/>
          </p:cNvSpPr>
          <p:nvPr/>
        </p:nvSpPr>
        <p:spPr>
          <a:xfrm>
            <a:off x="8000014" y="4173813"/>
            <a:ext cx="4198507" cy="6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AT" sz="3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talent</a:t>
            </a:r>
            <a:r>
              <a:rPr kumimoji="0" lang="de-AT" sz="3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 &amp; </a:t>
            </a:r>
            <a:br>
              <a:rPr kumimoji="0" lang="de-AT" sz="3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</a:br>
            <a:r>
              <a:rPr kumimoji="0" lang="de-AT" sz="3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mentaliteta</a:t>
            </a:r>
            <a:endParaRPr kumimoji="0" lang="de-AT" sz="30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6FF34173-E2C2-49AA-8C28-8B9D81BB41D0}"/>
              </a:ext>
            </a:extLst>
          </p:cNvPr>
          <p:cNvSpPr txBox="1">
            <a:spLocks/>
          </p:cNvSpPr>
          <p:nvPr/>
        </p:nvSpPr>
        <p:spPr>
          <a:xfrm>
            <a:off x="7254371" y="1012385"/>
            <a:ext cx="4750875" cy="124791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AT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004669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varnost</a:t>
            </a:r>
            <a:r>
              <a:rPr kumimoji="0" lang="de-AT" sz="3000" b="1" i="0" u="none" strike="noStrike" kern="1200" cap="none" spc="0" normalizeH="0" baseline="0" noProof="0" dirty="0">
                <a:ln>
                  <a:noFill/>
                </a:ln>
                <a:solidFill>
                  <a:srgbClr val="004669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 &amp;</a:t>
            </a:r>
            <a:br>
              <a:rPr kumimoji="0" lang="de-AT" sz="3000" b="1" i="0" u="none" strike="noStrike" kern="1200" cap="none" spc="0" normalizeH="0" baseline="0" noProof="0" dirty="0">
                <a:ln>
                  <a:noFill/>
                </a:ln>
                <a:solidFill>
                  <a:srgbClr val="004669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</a:br>
            <a:r>
              <a:rPr kumimoji="0" lang="de-AT" sz="3000" b="1" i="0" u="none" strike="noStrike" kern="1200" cap="none" spc="0" normalizeH="0" baseline="0" noProof="0" dirty="0">
                <a:ln>
                  <a:noFill/>
                </a:ln>
                <a:solidFill>
                  <a:srgbClr val="004669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 </a:t>
            </a:r>
            <a:r>
              <a:rPr kumimoji="0" lang="de-AT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004669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stabilnost</a:t>
            </a:r>
            <a:endParaRPr kumimoji="0" lang="de-AT" sz="3000" b="1" i="0" u="none" strike="noStrike" kern="1200" cap="none" spc="0" normalizeH="0" baseline="0" noProof="0" dirty="0">
              <a:ln>
                <a:noFill/>
              </a:ln>
              <a:solidFill>
                <a:srgbClr val="004669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6E372D33-7C92-44A3-9BAD-7351A57561CA}"/>
              </a:ext>
            </a:extLst>
          </p:cNvPr>
          <p:cNvSpPr txBox="1">
            <a:spLocks/>
          </p:cNvSpPr>
          <p:nvPr/>
        </p:nvSpPr>
        <p:spPr>
          <a:xfrm>
            <a:off x="2225801" y="4008311"/>
            <a:ext cx="1710773" cy="6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sl-SI" sz="3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s</a:t>
            </a:r>
            <a:r>
              <a:rPr kumimoji="0" lang="de-AT" sz="3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upport</a:t>
            </a:r>
            <a:endParaRPr kumimoji="0" lang="de-AT" sz="30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77FED387-18E9-4FB1-849E-698500EBEC2B}"/>
              </a:ext>
            </a:extLst>
          </p:cNvPr>
          <p:cNvSpPr txBox="1">
            <a:spLocks/>
          </p:cNvSpPr>
          <p:nvPr/>
        </p:nvSpPr>
        <p:spPr>
          <a:xfrm>
            <a:off x="4706454" y="5823107"/>
            <a:ext cx="2560347" cy="6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5400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004669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AT" sz="3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inovacija</a:t>
            </a:r>
            <a:r>
              <a:rPr kumimoji="0" lang="de-AT" sz="3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 &amp; </a:t>
            </a:r>
            <a:r>
              <a:rPr kumimoji="0" lang="de-AT" sz="3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+mn-cs"/>
              </a:rPr>
              <a:t>eko-sistem</a:t>
            </a:r>
            <a:endParaRPr kumimoji="0" lang="de-AT" sz="30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18" name="Flussdiagramm: Verbinder 17">
            <a:extLst>
              <a:ext uri="{FF2B5EF4-FFF2-40B4-BE49-F238E27FC236}">
                <a16:creationId xmlns:a16="http://schemas.microsoft.com/office/drawing/2014/main" id="{7414EB86-F48D-4386-998F-383998B3B5AD}"/>
              </a:ext>
            </a:extLst>
          </p:cNvPr>
          <p:cNvSpPr/>
          <p:nvPr/>
        </p:nvSpPr>
        <p:spPr bwMode="ltGray">
          <a:xfrm>
            <a:off x="5418700" y="3182320"/>
            <a:ext cx="1055641" cy="1012723"/>
          </a:xfrm>
          <a:prstGeom prst="flowChartConnector">
            <a:avLst/>
          </a:prstGeom>
          <a:solidFill>
            <a:srgbClr val="E6320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8199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CKSLIDES" val="6.1"/>
  <p:tag name="VERSIONID" val="711"/>
  <p:tag name="EXCLUDEHIDDENSLIDES" val="False"/>
  <p:tag name="NUMBEROFPAGES" val="13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BA master template">
  <a:themeElements>
    <a:clrScheme name="Custom 9">
      <a:dk1>
        <a:srgbClr val="004669"/>
      </a:dk1>
      <a:lt1>
        <a:srgbClr val="FFFFFF"/>
      </a:lt1>
      <a:dk2>
        <a:srgbClr val="DCE6EB"/>
      </a:dk2>
      <a:lt2>
        <a:srgbClr val="F3EDED"/>
      </a:lt2>
      <a:accent1>
        <a:srgbClr val="E6320F"/>
      </a:accent1>
      <a:accent2>
        <a:srgbClr val="818085"/>
      </a:accent2>
      <a:accent3>
        <a:srgbClr val="46928B"/>
      </a:accent3>
      <a:accent4>
        <a:srgbClr val="3D7997"/>
      </a:accent4>
      <a:accent5>
        <a:srgbClr val="F4AF21"/>
      </a:accent5>
      <a:accent6>
        <a:srgbClr val="31BCC0"/>
      </a:accent6>
      <a:hlink>
        <a:srgbClr val="004669"/>
      </a:hlink>
      <a:folHlink>
        <a:srgbClr val="00466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27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600" b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dirty="0" smtClean="0">
            <a:latin typeface="Corbel" panose="020B0503020204020204" pitchFamily="34" charset="0"/>
          </a:defRPr>
        </a:defPPr>
      </a:lstStyle>
    </a:txDef>
  </a:objectDefaults>
  <a:extraClrSchemeLst/>
  <a:custClrLst>
    <a:custClr name="Significance red">
      <a:srgbClr val="E10000"/>
    </a:custClr>
    <a:custClr name="Significance red light">
      <a:srgbClr val="ED6666"/>
    </a:custClr>
    <a:custClr name="Significance green">
      <a:srgbClr val="00D200"/>
    </a:custClr>
    <a:custClr name="Significance green light">
      <a:srgbClr val="66E466"/>
    </a:custClr>
    <a:custClr name="Custom light blue">
      <a:srgbClr val="00B6FF"/>
    </a:custClr>
    <a:custClr name="Custom light green">
      <a:srgbClr val="9EE900"/>
    </a:custClr>
    <a:custClr name="Custom magenta">
      <a:srgbClr val="C700D3"/>
    </a:custClr>
  </a:custClrLst>
  <a:extLst>
    <a:ext uri="{05A4C25C-085E-4340-85A3-A5531E510DB2}">
      <thm15:themeFamily xmlns:thm15="http://schemas.microsoft.com/office/thememl/2012/main" name="Presentation5" id="{7C6030F0-10CF-423D-A85C-35DA25774E04}" vid="{681560CD-2F91-4611-B8D5-1C6B894CE640}"/>
    </a:ext>
  </a:extLst>
</a:theme>
</file>

<file path=ppt/theme/theme2.xml><?xml version="1.0" encoding="utf-8"?>
<a:theme xmlns:a="http://schemas.openxmlformats.org/drawingml/2006/main" name="1_ABA master template">
  <a:themeElements>
    <a:clrScheme name="ABA">
      <a:dk1>
        <a:srgbClr val="004669"/>
      </a:dk1>
      <a:lt1>
        <a:srgbClr val="FFFFFF"/>
      </a:lt1>
      <a:dk2>
        <a:srgbClr val="DCE6EB"/>
      </a:dk2>
      <a:lt2>
        <a:srgbClr val="F3EDED"/>
      </a:lt2>
      <a:accent1>
        <a:srgbClr val="BBCE01"/>
      </a:accent1>
      <a:accent2>
        <a:srgbClr val="818085"/>
      </a:accent2>
      <a:accent3>
        <a:srgbClr val="46928B"/>
      </a:accent3>
      <a:accent4>
        <a:srgbClr val="3D7997"/>
      </a:accent4>
      <a:accent5>
        <a:srgbClr val="F4AF21"/>
      </a:accent5>
      <a:accent6>
        <a:srgbClr val="31BCC0"/>
      </a:accent6>
      <a:hlink>
        <a:srgbClr val="004669"/>
      </a:hlink>
      <a:folHlink>
        <a:srgbClr val="00466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27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600" b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dirty="0" smtClean="0">
            <a:latin typeface="Corbel" panose="020B0503020204020204" pitchFamily="34" charset="0"/>
          </a:defRPr>
        </a:defPPr>
      </a:lstStyle>
    </a:txDef>
  </a:objectDefaults>
  <a:extraClrSchemeLst/>
  <a:custClrLst>
    <a:custClr name="Significance red">
      <a:srgbClr val="E10000"/>
    </a:custClr>
    <a:custClr name="Significance red light">
      <a:srgbClr val="ED6666"/>
    </a:custClr>
    <a:custClr name="Significance green">
      <a:srgbClr val="00D200"/>
    </a:custClr>
    <a:custClr name="Significance green light">
      <a:srgbClr val="66E466"/>
    </a:custClr>
    <a:custClr name="Custom light blue">
      <a:srgbClr val="00B6FF"/>
    </a:custClr>
    <a:custClr name="Custom light green">
      <a:srgbClr val="9EE900"/>
    </a:custClr>
    <a:custClr name="Custom magenta">
      <a:srgbClr val="C700D3"/>
    </a:custClr>
  </a:custClrLst>
  <a:extLst>
    <a:ext uri="{05A4C25C-085E-4340-85A3-A5531E510DB2}">
      <thm15:themeFamily xmlns:thm15="http://schemas.microsoft.com/office/thememl/2012/main" name="Presentation5" id="{7C6030F0-10CF-423D-A85C-35DA25774E04}" vid="{681560CD-2F91-4611-B8D5-1C6B894CE640}"/>
    </a:ext>
  </a:extLst>
</a:theme>
</file>

<file path=ppt/theme/theme3.xml><?xml version="1.0" encoding="utf-8"?>
<a:theme xmlns:a="http://schemas.openxmlformats.org/drawingml/2006/main" name="2_ABA master template">
  <a:themeElements>
    <a:clrScheme name="ABA">
      <a:dk1>
        <a:srgbClr val="004669"/>
      </a:dk1>
      <a:lt1>
        <a:srgbClr val="FFFFFF"/>
      </a:lt1>
      <a:dk2>
        <a:srgbClr val="DCE6EB"/>
      </a:dk2>
      <a:lt2>
        <a:srgbClr val="F3EDED"/>
      </a:lt2>
      <a:accent1>
        <a:srgbClr val="BBCE01"/>
      </a:accent1>
      <a:accent2>
        <a:srgbClr val="818085"/>
      </a:accent2>
      <a:accent3>
        <a:srgbClr val="46928B"/>
      </a:accent3>
      <a:accent4>
        <a:srgbClr val="3D7997"/>
      </a:accent4>
      <a:accent5>
        <a:srgbClr val="F4AF21"/>
      </a:accent5>
      <a:accent6>
        <a:srgbClr val="31BCC0"/>
      </a:accent6>
      <a:hlink>
        <a:srgbClr val="004669"/>
      </a:hlink>
      <a:folHlink>
        <a:srgbClr val="00466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27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600" b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dirty="0" smtClean="0">
            <a:latin typeface="Corbel" panose="020B0503020204020204" pitchFamily="34" charset="0"/>
          </a:defRPr>
        </a:defPPr>
      </a:lstStyle>
    </a:txDef>
  </a:objectDefaults>
  <a:extraClrSchemeLst/>
  <a:custClrLst>
    <a:custClr name="Significance red">
      <a:srgbClr val="E10000"/>
    </a:custClr>
    <a:custClr name="Significance red light">
      <a:srgbClr val="ED6666"/>
    </a:custClr>
    <a:custClr name="Significance green">
      <a:srgbClr val="00D200"/>
    </a:custClr>
    <a:custClr name="Significance green light">
      <a:srgbClr val="66E466"/>
    </a:custClr>
    <a:custClr name="Custom light blue">
      <a:srgbClr val="00B6FF"/>
    </a:custClr>
    <a:custClr name="Custom light green">
      <a:srgbClr val="9EE900"/>
    </a:custClr>
    <a:custClr name="Custom magenta">
      <a:srgbClr val="C700D3"/>
    </a:custClr>
  </a:custClrLst>
  <a:extLst>
    <a:ext uri="{05A4C25C-085E-4340-85A3-A5531E510DB2}">
      <thm15:themeFamily xmlns:thm15="http://schemas.microsoft.com/office/thememl/2012/main" name="Presentation5" id="{7C6030F0-10CF-423D-A85C-35DA25774E04}" vid="{681560CD-2F91-4611-B8D5-1C6B894CE640}"/>
    </a:ext>
  </a:extLst>
</a:theme>
</file>

<file path=ppt/theme/theme4.xml><?xml version="1.0" encoding="utf-8"?>
<a:theme xmlns:a="http://schemas.openxmlformats.org/drawingml/2006/main" name="3_ABA master template">
  <a:themeElements>
    <a:clrScheme name="ABA">
      <a:dk1>
        <a:srgbClr val="004669"/>
      </a:dk1>
      <a:lt1>
        <a:srgbClr val="FFFFFF"/>
      </a:lt1>
      <a:dk2>
        <a:srgbClr val="DCE6EB"/>
      </a:dk2>
      <a:lt2>
        <a:srgbClr val="F3EDED"/>
      </a:lt2>
      <a:accent1>
        <a:srgbClr val="BBCE01"/>
      </a:accent1>
      <a:accent2>
        <a:srgbClr val="818085"/>
      </a:accent2>
      <a:accent3>
        <a:srgbClr val="46928B"/>
      </a:accent3>
      <a:accent4>
        <a:srgbClr val="3D7997"/>
      </a:accent4>
      <a:accent5>
        <a:srgbClr val="F4AF21"/>
      </a:accent5>
      <a:accent6>
        <a:srgbClr val="31BCC0"/>
      </a:accent6>
      <a:hlink>
        <a:srgbClr val="004669"/>
      </a:hlink>
      <a:folHlink>
        <a:srgbClr val="00466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27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600" b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dirty="0" smtClean="0">
            <a:latin typeface="Corbel" panose="020B0503020204020204" pitchFamily="34" charset="0"/>
          </a:defRPr>
        </a:defPPr>
      </a:lstStyle>
    </a:txDef>
  </a:objectDefaults>
  <a:extraClrSchemeLst/>
  <a:custClrLst>
    <a:custClr name="Significance red">
      <a:srgbClr val="E10000"/>
    </a:custClr>
    <a:custClr name="Significance red light">
      <a:srgbClr val="ED6666"/>
    </a:custClr>
    <a:custClr name="Significance green">
      <a:srgbClr val="00D200"/>
    </a:custClr>
    <a:custClr name="Significance green light">
      <a:srgbClr val="66E466"/>
    </a:custClr>
    <a:custClr name="Custom light blue">
      <a:srgbClr val="00B6FF"/>
    </a:custClr>
    <a:custClr name="Custom light green">
      <a:srgbClr val="9EE900"/>
    </a:custClr>
    <a:custClr name="Custom magenta">
      <a:srgbClr val="C700D3"/>
    </a:custClr>
  </a:custClrLst>
  <a:extLst>
    <a:ext uri="{05A4C25C-085E-4340-85A3-A5531E510DB2}">
      <thm15:themeFamily xmlns:thm15="http://schemas.microsoft.com/office/thememl/2012/main" name="Presentation5" id="{7C6030F0-10CF-423D-A85C-35DA25774E04}" vid="{681560CD-2F91-4611-B8D5-1C6B894CE640}"/>
    </a:ext>
  </a:extLst>
</a:theme>
</file>

<file path=ppt/theme/theme5.xml><?xml version="1.0" encoding="utf-8"?>
<a:theme xmlns:a="http://schemas.openxmlformats.org/drawingml/2006/main" name="4_ABA master template">
  <a:themeElements>
    <a:clrScheme name="ABA">
      <a:dk1>
        <a:srgbClr val="004669"/>
      </a:dk1>
      <a:lt1>
        <a:srgbClr val="FFFFFF"/>
      </a:lt1>
      <a:dk2>
        <a:srgbClr val="DCE6EB"/>
      </a:dk2>
      <a:lt2>
        <a:srgbClr val="F3EDED"/>
      </a:lt2>
      <a:accent1>
        <a:srgbClr val="BBCE01"/>
      </a:accent1>
      <a:accent2>
        <a:srgbClr val="818085"/>
      </a:accent2>
      <a:accent3>
        <a:srgbClr val="46928B"/>
      </a:accent3>
      <a:accent4>
        <a:srgbClr val="3D7997"/>
      </a:accent4>
      <a:accent5>
        <a:srgbClr val="F4AF21"/>
      </a:accent5>
      <a:accent6>
        <a:srgbClr val="31BCC0"/>
      </a:accent6>
      <a:hlink>
        <a:srgbClr val="004669"/>
      </a:hlink>
      <a:folHlink>
        <a:srgbClr val="00466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27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600" b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dirty="0" smtClean="0">
            <a:latin typeface="Corbel" panose="020B0503020204020204" pitchFamily="34" charset="0"/>
          </a:defRPr>
        </a:defPPr>
      </a:lstStyle>
    </a:txDef>
  </a:objectDefaults>
  <a:extraClrSchemeLst/>
  <a:custClrLst>
    <a:custClr name="Significance red">
      <a:srgbClr val="E10000"/>
    </a:custClr>
    <a:custClr name="Significance red light">
      <a:srgbClr val="ED6666"/>
    </a:custClr>
    <a:custClr name="Significance green">
      <a:srgbClr val="00D200"/>
    </a:custClr>
    <a:custClr name="Significance green light">
      <a:srgbClr val="66E466"/>
    </a:custClr>
    <a:custClr name="Custom light blue">
      <a:srgbClr val="00B6FF"/>
    </a:custClr>
    <a:custClr name="Custom light green">
      <a:srgbClr val="9EE900"/>
    </a:custClr>
    <a:custClr name="Custom magenta">
      <a:srgbClr val="C700D3"/>
    </a:custClr>
  </a:custClrLst>
  <a:extLst>
    <a:ext uri="{05A4C25C-085E-4340-85A3-A5531E510DB2}">
      <thm15:themeFamily xmlns:thm15="http://schemas.microsoft.com/office/thememl/2012/main" name="Presentation5" id="{7C6030F0-10CF-423D-A85C-35DA25774E04}" vid="{681560CD-2F91-4611-B8D5-1C6B894CE640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ignificance red">
      <a:srgbClr val="E10000"/>
    </a:custClr>
    <a:custClr name="Significance red light">
      <a:srgbClr val="ED6666"/>
    </a:custClr>
    <a:custClr name="Significance green">
      <a:srgbClr val="00D200"/>
    </a:custClr>
    <a:custClr name="Significance green light">
      <a:srgbClr val="66E466"/>
    </a:custClr>
    <a:custClr name="Custom light blue">
      <a:srgbClr val="00B6FF"/>
    </a:custClr>
    <a:custClr name="Custom light green">
      <a:srgbClr val="9EE900"/>
    </a:custClr>
    <a:custClr name="Custom magenta">
      <a:srgbClr val="C700D3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ignificance red">
      <a:srgbClr val="E10000"/>
    </a:custClr>
    <a:custClr name="Significance red light">
      <a:srgbClr val="ED6666"/>
    </a:custClr>
    <a:custClr name="Significance green">
      <a:srgbClr val="00D200"/>
    </a:custClr>
    <a:custClr name="Significance green light">
      <a:srgbClr val="66E466"/>
    </a:custClr>
    <a:custClr name="Custom light blue">
      <a:srgbClr val="00B6FF"/>
    </a:custClr>
    <a:custClr name="Custom light green">
      <a:srgbClr val="9EE900"/>
    </a:custClr>
    <a:custClr name="Custom magenta">
      <a:srgbClr val="C700D3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b87fb5a-2823-467d-bc8b-da374b9db558" xsi:nil="true"/>
    <lcf76f155ced4ddcb4097134ff3c332f xmlns="890d7d38-8ccd-4a3a-a945-f7d719c9d0eb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Arbeitsdokument" ma:contentTypeID="0x0101E00101008D7CAF038DEAF945B6115D416A3E1208" ma:contentTypeVersion="20" ma:contentTypeDescription="Ein neues Dokument erstellen." ma:contentTypeScope="" ma:versionID="7aa41c5fc40f62d76ccabfe9ac3d5bb5">
  <xsd:schema xmlns:xsd="http://www.w3.org/2001/XMLSchema" xmlns:xs="http://www.w3.org/2001/XMLSchema" xmlns:p="http://schemas.microsoft.com/office/2006/metadata/properties" xmlns:ns2="890d7d38-8ccd-4a3a-a945-f7d719c9d0eb" xmlns:ns3="7b87fb5a-2823-467d-bc8b-da374b9db558" targetNamespace="http://schemas.microsoft.com/office/2006/metadata/properties" ma:root="true" ma:fieldsID="859f27b874b835bffbd11b04cf01f9d2" ns2:_="" ns3:_="">
    <xsd:import namespace="890d7d38-8ccd-4a3a-a945-f7d719c9d0eb"/>
    <xsd:import namespace="7b87fb5a-2823-467d-bc8b-da374b9db55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3:TaxCatchAll" minOccurs="0"/>
                <xsd:element ref="ns2:lcf76f155ced4ddcb4097134ff3c332f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0d7d38-8ccd-4a3a-a945-f7d719c9d0e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2ec64638-8963-4f92-acc8-9e597f517e4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87fb5a-2823-467d-bc8b-da374b9db558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423d22b0-84a9-48e9-b47a-8182f47e4b8e}" ma:internalName="TaxCatchAll" ma:showField="CatchAllData" ma:web="7b87fb5a-2823-467d-bc8b-da374b9db55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2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2193883-9DEF-4394-A746-8B0504B231C0}">
  <ds:schemaRefs>
    <ds:schemaRef ds:uri="7b87fb5a-2823-467d-bc8b-da374b9db558"/>
    <ds:schemaRef ds:uri="http://purl.org/dc/elements/1.1/"/>
    <ds:schemaRef ds:uri="http://purl.org/dc/dcmitype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890d7d38-8ccd-4a3a-a945-f7d719c9d0eb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1950705-BEDB-405C-B1CF-95223B4A52B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90d7d38-8ccd-4a3a-a945-f7d719c9d0eb"/>
    <ds:schemaRef ds:uri="7b87fb5a-2823-467d-bc8b-da374b9db55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C375B81-FBF5-4924-A5E0-F0376D8E7D5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703</Words>
  <Application>Microsoft Office PowerPoint</Application>
  <PresentationFormat>Breitbild</PresentationFormat>
  <Paragraphs>409</Paragraphs>
  <Slides>34</Slides>
  <Notes>3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5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4</vt:i4>
      </vt:variant>
    </vt:vector>
  </HeadingPairs>
  <TitlesOfParts>
    <vt:vector size="45" baseType="lpstr">
      <vt:lpstr>Arial</vt:lpstr>
      <vt:lpstr>Calibri</vt:lpstr>
      <vt:lpstr>Century Gothic</vt:lpstr>
      <vt:lpstr>Corbel</vt:lpstr>
      <vt:lpstr>Lato</vt:lpstr>
      <vt:lpstr>ABA master template</vt:lpstr>
      <vt:lpstr>1_ABA master template</vt:lpstr>
      <vt:lpstr>2_ABA master template</vt:lpstr>
      <vt:lpstr>3_ABA master template</vt:lpstr>
      <vt:lpstr>4_ABA master template</vt:lpstr>
      <vt:lpstr>think-cell Slide</vt:lpstr>
      <vt:lpstr>Avstrija – tam kjer inovacija premika gore</vt:lpstr>
      <vt:lpstr>Visoke gore in majhni kristalni kamenčki.</vt:lpstr>
      <vt:lpstr>Ste vedeli…</vt:lpstr>
      <vt:lpstr>PowerPoint-Präsentation</vt:lpstr>
      <vt:lpstr>Ocenite delež sektorja v BDP?</vt:lpstr>
      <vt:lpstr>Zakaj  Avstrija?</vt:lpstr>
      <vt:lpstr>Idealno izhodišče za vstop na nemško-govoreče trge</vt:lpstr>
      <vt:lpstr>Kupna moč nad povprečjem EU</vt:lpstr>
      <vt:lpstr>Zakaj  Avstrija?</vt:lpstr>
      <vt:lpstr>Sistem socialnega partnerstva – nizka stopnja stavk</vt:lpstr>
      <vt:lpstr>Operativni stroški za vodenje posla so zelo konkurenčni</vt:lpstr>
      <vt:lpstr>Zakaj  Avstrija?</vt:lpstr>
      <vt:lpstr>Najdem ustrezne sodelavke &amp; sodelavce? Da!!</vt:lpstr>
      <vt:lpstr>Moderno delovno pravo</vt:lpstr>
      <vt:lpstr>Zakaj  Avstrija?</vt:lpstr>
      <vt:lpstr>Izdatki  za raziskave in razvoj rastejo  nadpovprečno</vt:lpstr>
      <vt:lpstr>Močan inovator – #6 v EU</vt:lpstr>
      <vt:lpstr>Dualni sistem spodbudb za raziskave in razvoj podjetij</vt:lpstr>
      <vt:lpstr>Neposredne in posredne spodbude za raziskave in razvoj  podjetjem</vt:lpstr>
      <vt:lpstr>Zakaj  Avstrija?</vt:lpstr>
      <vt:lpstr>Prijazen davčni sistem</vt:lpstr>
      <vt:lpstr>Visoka plačilna disciplina</vt:lpstr>
      <vt:lpstr>Ustanavljanje  d.o.o. (GmbH)</vt:lpstr>
      <vt:lpstr> Nova pravna oblika kapitalske družbe  =  FlexCo Kaj je novo?</vt:lpstr>
      <vt:lpstr>Obrtno dovoljenje („Gewerbeberechtigung“)</vt:lpstr>
      <vt:lpstr>Eko-socialna davčna reforma 2022/2023</vt:lpstr>
      <vt:lpstr>Obdavčitev fizičnih oseb</vt:lpstr>
      <vt:lpstr>Obdavčitev fizičnih oseb &amp; skupni stroški dela</vt:lpstr>
      <vt:lpstr> Kako se torej pripraviti na izvoz v Avstrijo </vt:lpstr>
      <vt:lpstr> Korak za korakom do uspeha </vt:lpstr>
      <vt:lpstr>S katero strategija v Avstrijo?</vt:lpstr>
      <vt:lpstr>                                       Izkušnje slovenskih podjetji...    </vt:lpstr>
      <vt:lpstr>Naloga in cilji ABA –Invest in Austria:  dodati vrednost in pomagati</vt:lpstr>
      <vt:lpstr>    Hvala za vaše zanimanje in pozornost !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Sub-heading</dc:subject>
  <dc:creator>Russell Iden</dc:creator>
  <cp:keywords>Project reference</cp:keywords>
  <dc:description>Date</dc:description>
  <cp:lastModifiedBy>Miran Breznik</cp:lastModifiedBy>
  <cp:revision>326</cp:revision>
  <cp:lastPrinted>2022-11-23T11:30:45Z</cp:lastPrinted>
  <dcterms:created xsi:type="dcterms:W3CDTF">2021-06-24T16:29:48Z</dcterms:created>
  <dcterms:modified xsi:type="dcterms:W3CDTF">2024-03-04T14:30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02B1DB56DE677478A4D071C5666EF93</vt:lpwstr>
  </property>
  <property fmtid="{D5CDD505-2E9C-101B-9397-08002B2CF9AE}" pid="3" name="WorkflowChangePath">
    <vt:lpwstr>1df72910-661f-4c88-a873-26f87e4b7aaa,7;1df72910-661f-4c88-a873-26f87e4b7aaa,7;1df72910-661f-4c88-a873-26f87e4b7aaa,7;1df72910-661f-4c88-a873-26f87e4b7aaa,7;</vt:lpwstr>
  </property>
  <property fmtid="{D5CDD505-2E9C-101B-9397-08002B2CF9AE}" pid="4" name="MediaServiceImageTags">
    <vt:lpwstr/>
  </property>
</Properties>
</file>